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6"/>
  </p:notesMasterIdLst>
  <p:sldIdLst>
    <p:sldId id="256" r:id="rId3"/>
    <p:sldId id="305" r:id="rId4"/>
    <p:sldId id="306" r:id="rId5"/>
    <p:sldId id="308" r:id="rId6"/>
    <p:sldId id="309" r:id="rId7"/>
    <p:sldId id="272" r:id="rId8"/>
    <p:sldId id="273" r:id="rId9"/>
    <p:sldId id="310" r:id="rId10"/>
    <p:sldId id="311" r:id="rId11"/>
    <p:sldId id="270" r:id="rId12"/>
    <p:sldId id="259" r:id="rId13"/>
    <p:sldId id="261" r:id="rId14"/>
    <p:sldId id="314" r:id="rId15"/>
    <p:sldId id="315" r:id="rId16"/>
    <p:sldId id="316" r:id="rId17"/>
    <p:sldId id="317" r:id="rId18"/>
    <p:sldId id="318" r:id="rId19"/>
    <p:sldId id="321" r:id="rId20"/>
    <p:sldId id="320" r:id="rId21"/>
    <p:sldId id="319" r:id="rId22"/>
    <p:sldId id="322" r:id="rId23"/>
    <p:sldId id="312" r:id="rId24"/>
    <p:sldId id="32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 24slides4" initials="i2" lastIdx="4" clrIdx="0">
    <p:extLst>
      <p:ext uri="{19B8F6BF-5375-455C-9EA6-DF929625EA0E}">
        <p15:presenceInfo xmlns:p15="http://schemas.microsoft.com/office/powerpoint/2012/main" userId="it 24slides4" providerId="None"/>
      </p:ext>
    </p:extLst>
  </p:cmAuthor>
  <p:cmAuthor id="2" name="ANGGI" initials="A" lastIdx="1" clrIdx="1">
    <p:extLst>
      <p:ext uri="{19B8F6BF-5375-455C-9EA6-DF929625EA0E}">
        <p15:presenceInfo xmlns:p15="http://schemas.microsoft.com/office/powerpoint/2012/main" userId="ANGG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7192"/>
    <a:srgbClr val="95B7A9"/>
    <a:srgbClr val="0D616C"/>
    <a:srgbClr val="002E35"/>
    <a:srgbClr val="103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1142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5F3F61-0028-4E9F-8AE7-BC36A7766A4B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BB3F76-6466-4DE0-A501-8D20892E30B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17594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lbertdera?utm_source=unsplash&amp;utm_medium=referral&amp;utm_content=creditCopyText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ortrai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lbertdera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ortrait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lbertdera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ortrait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check'&gt;Check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32106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178945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366843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61506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00547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961518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51401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69987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989638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145209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	:	&lt;a </a:t>
            </a:r>
            <a:r>
              <a:rPr lang="en-US" dirty="0" err="1"/>
              <a:t>href</a:t>
            </a:r>
            <a:r>
              <a:rPr lang="en-US" dirty="0"/>
              <a:t>="https://storyset.com/people"&gt;People illustrations by </a:t>
            </a:r>
            <a:r>
              <a:rPr lang="en-US" dirty="0" err="1"/>
              <a:t>Storyset</a:t>
            </a:r>
            <a:r>
              <a:rPr lang="en-US" dirty="0"/>
              <a:t>&lt;/a&gt;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	:	Photo by </a:t>
            </a:r>
            <a:r>
              <a:rPr lang="en-US" dirty="0">
                <a:hlinkClick r:id="rId3"/>
              </a:rPr>
              <a:t>Albert </a:t>
            </a:r>
            <a:r>
              <a:rPr lang="en-US" dirty="0" err="1">
                <a:hlinkClick r:id="rId3"/>
              </a:rPr>
              <a:t>Der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6106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	:	&lt;a </a:t>
            </a:r>
            <a:r>
              <a:rPr lang="en-US" dirty="0" err="1"/>
              <a:t>href</a:t>
            </a:r>
            <a:r>
              <a:rPr lang="en-US" dirty="0"/>
              <a:t>="https://storyset.com/people"&gt;People illustrations by </a:t>
            </a:r>
            <a:r>
              <a:rPr lang="en-US" dirty="0" err="1"/>
              <a:t>Storyset</a:t>
            </a:r>
            <a:r>
              <a:rPr lang="en-US" dirty="0"/>
              <a:t>&lt;/a&gt;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	:	Photo by </a:t>
            </a:r>
            <a:r>
              <a:rPr lang="en-US" dirty="0">
                <a:hlinkClick r:id="rId3"/>
              </a:rPr>
              <a:t>Albert </a:t>
            </a:r>
            <a:r>
              <a:rPr lang="en-US" dirty="0" err="1">
                <a:hlinkClick r:id="rId3"/>
              </a:rPr>
              <a:t>Der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9772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	:	&lt;a </a:t>
            </a:r>
            <a:r>
              <a:rPr lang="en-US" dirty="0" err="1"/>
              <a:t>href</a:t>
            </a:r>
            <a:r>
              <a:rPr lang="en-US" dirty="0"/>
              <a:t>="https://storyset.com/people"&gt;People illustrations by </a:t>
            </a:r>
            <a:r>
              <a:rPr lang="en-US" dirty="0" err="1"/>
              <a:t>Storyset</a:t>
            </a:r>
            <a:r>
              <a:rPr lang="en-US" dirty="0"/>
              <a:t>&lt;/a&gt;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	:	Photo by </a:t>
            </a:r>
            <a:r>
              <a:rPr lang="en-US" dirty="0">
                <a:hlinkClick r:id="rId3"/>
              </a:rPr>
              <a:t>Albert </a:t>
            </a:r>
            <a:r>
              <a:rPr lang="en-US" dirty="0" err="1">
                <a:hlinkClick r:id="rId3"/>
              </a:rPr>
              <a:t>Der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83839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	:	&lt;a </a:t>
            </a:r>
            <a:r>
              <a:rPr lang="en-US" dirty="0" err="1"/>
              <a:t>href</a:t>
            </a:r>
            <a:r>
              <a:rPr lang="en-US" dirty="0"/>
              <a:t>="https://storyset.com/work"&gt;Work illustrations by </a:t>
            </a:r>
            <a:r>
              <a:rPr lang="en-US" dirty="0" err="1"/>
              <a:t>Storyset</a:t>
            </a:r>
            <a:r>
              <a:rPr lang="en-US" dirty="0"/>
              <a:t>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78578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	:	&lt;a </a:t>
            </a:r>
            <a:r>
              <a:rPr lang="en-US" dirty="0" err="1"/>
              <a:t>href</a:t>
            </a:r>
            <a:r>
              <a:rPr lang="en-US" dirty="0"/>
              <a:t>="https://storyset.com/work"&gt;Work illustrations by </a:t>
            </a:r>
            <a:r>
              <a:rPr lang="en-US" dirty="0" err="1"/>
              <a:t>Storyset</a:t>
            </a:r>
            <a:r>
              <a:rPr lang="en-US" dirty="0"/>
              <a:t>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30909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event'&gt;Event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97374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event'&gt;Event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5008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work'&gt;Work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13185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86506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C07B5-E8CC-4D6D-93B4-06CC1BC29E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D81BF-7FD3-4956-A50E-46551A0A52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1874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0FFB-48F8-4EF8-AEC4-A5CDE7FED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4B9BF6-1082-4F68-BEFF-311829D2FB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248EE-C336-42A0-B369-56070F82E8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63986-D5B5-437E-8E95-5CDB1C2B4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DBFCA8-FDF3-4C45-AA7A-13E4AFA39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57015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46A75-54A8-4BD6-A7B1-D0899E8330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C0AC64-8EF2-4ABC-B88C-4A38DEC1DF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ADE525-4407-4CFD-BA00-6B54EDB1EB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8E259-96B9-421E-9A2F-2E9B2A43A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E02314-C9C9-4B37-ACAC-7CF09A9D2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29276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7BE71E-812A-4BA9-9FEF-BD9E0A20C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58451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0530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64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0997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9731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582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6801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182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11D1E-E7B2-4813-8EE3-510D006F5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666846-3388-4B70-8B03-F91E4E09C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8C905-7908-431E-8772-42A7748BBB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A8396F-0CC9-4E2C-9B65-36CAE7333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EB53F-AD19-477D-9F4A-2F3121484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94260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962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3071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683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45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7526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7BE71E-812A-4BA9-9FEF-BD9E0A20C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33795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7CAEC-6150-488A-9BC8-0B956DE4E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A567AE-60F0-4FF7-A904-CEE7CA139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F053D-2D56-4E88-860D-BD5981C6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9C5EC-D21E-4197-83EA-C6C742651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044132-D06E-4F14-A84B-CB473E497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1318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8F56C-ADCE-4BCF-B2FD-B7012B6C2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EA2F1-ABD0-4283-8D3C-9D49F1F9F4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3A1B6-0F9B-4B43-AE76-DF3C74BE67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BF4EE-2001-4640-84A1-79CC25B45D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15E6EB-2E00-43AA-8B7F-024198974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4A98E-6A9A-42C4-A722-9F283F9F8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11463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EC4E3-057A-41A7-B875-5A247AD0B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C93FD9-42F8-4435-AFC3-FB44F5A972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7C8FC-E4F3-4199-A560-DDC48C12B7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F26A93-4F06-4AE8-874C-2983F27BC4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28910-7CE1-45BF-9B69-6AA4E7EDE8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E6F08D-FDD1-4DBA-A7A1-4735DEC70B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A9ED6C-6037-4BBB-B1E8-A36D029E1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7AF61E-B537-4A18-87AC-C2491E889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5547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84769-6E1B-432E-8F93-D04192ABF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5BEB78-24DD-4508-8053-EFE01830E2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BABCE-681E-4A8B-9AA1-A9C0008E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B1259-8F4F-466A-8FBA-C6A464E10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14818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0C0D32-858A-488E-8585-7FB362C1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0D9002-5EF1-4ED4-AB00-93FE970B5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31F401-7B0C-44FD-ACB3-3BBD5D015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1449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89493-CCFA-438C-BAE3-4FD8872A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43119-A039-4B3E-BFE3-189C90F8FD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1E0208-9D43-42E5-A0BC-60F8B8778F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10C7F-6F6A-4D99-B6F3-E5CD3E16E5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3A850-D5CB-42F4-93AC-9D973C7F1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7E5D2C-2A22-482F-BD03-B657C581D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2462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D324A-4CAC-4539-B5CB-2665F079C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29E9B1-8EE5-4525-8E8A-D01F72F3BF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F40C2F-FC59-4D2E-8557-C3133B3A8E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34144-00B0-4FAF-A37F-23409B1F8A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2/05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AEDE3E-1993-4192-988E-3C9172B30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7E2D85-E36B-4A78-B074-528CB7C83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389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FAAAAA-ABD3-4ED6-9904-45811A112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D7A0E2-693F-4637-94EC-0278E1BE2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7957" y="1553029"/>
            <a:ext cx="11136086" cy="4623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FFF65C-AFB6-41B3-BA76-BD793B209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571" y="635635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16DD451E-2FAD-41AD-BDC0-8D1DCE3571CD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24FE05E-B6B4-477D-9855-21DA54580DB0}"/>
              </a:ext>
            </a:extLst>
          </p:cNvPr>
          <p:cNvSpPr/>
          <p:nvPr userDrawn="1"/>
        </p:nvSpPr>
        <p:spPr>
          <a:xfrm>
            <a:off x="0" y="-735511"/>
            <a:ext cx="595085" cy="595085"/>
          </a:xfrm>
          <a:prstGeom prst="ellipse">
            <a:avLst/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7C7904D-6F4E-47D9-AA00-BE136E6BFF2D}"/>
              </a:ext>
            </a:extLst>
          </p:cNvPr>
          <p:cNvSpPr/>
          <p:nvPr userDrawn="1"/>
        </p:nvSpPr>
        <p:spPr>
          <a:xfrm>
            <a:off x="704850" y="-735511"/>
            <a:ext cx="595085" cy="595085"/>
          </a:xfrm>
          <a:prstGeom prst="ellipse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D65E9B-5EAC-4282-A346-C97CD4F53440}"/>
              </a:ext>
            </a:extLst>
          </p:cNvPr>
          <p:cNvSpPr/>
          <p:nvPr userDrawn="1"/>
        </p:nvSpPr>
        <p:spPr>
          <a:xfrm>
            <a:off x="1438275" y="-735511"/>
            <a:ext cx="595085" cy="595085"/>
          </a:xfrm>
          <a:prstGeom prst="ellipse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223EA73-93AD-4A36-AC34-1CF248205421}"/>
              </a:ext>
            </a:extLst>
          </p:cNvPr>
          <p:cNvSpPr/>
          <p:nvPr userDrawn="1"/>
        </p:nvSpPr>
        <p:spPr>
          <a:xfrm>
            <a:off x="2171700" y="-735511"/>
            <a:ext cx="595085" cy="595085"/>
          </a:xfrm>
          <a:prstGeom prst="ellipse">
            <a:avLst/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786B35-26B5-4107-8165-D95919C5E301}"/>
              </a:ext>
            </a:extLst>
          </p:cNvPr>
          <p:cNvSpPr/>
          <p:nvPr userDrawn="1"/>
        </p:nvSpPr>
        <p:spPr>
          <a:xfrm>
            <a:off x="2895600" y="-735511"/>
            <a:ext cx="595085" cy="595085"/>
          </a:xfrm>
          <a:prstGeom prst="ellipse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755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7546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71542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jp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61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366B17-C2D4-46B5-AA70-660C8ED32ABD}"/>
              </a:ext>
            </a:extLst>
          </p:cNvPr>
          <p:cNvSpPr/>
          <p:nvPr/>
        </p:nvSpPr>
        <p:spPr>
          <a:xfrm>
            <a:off x="0" y="4463658"/>
            <a:ext cx="12192000" cy="2438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4443DF51-C243-4A59-BBB7-16054E8E0E03}"/>
              </a:ext>
            </a:extLst>
          </p:cNvPr>
          <p:cNvSpPr/>
          <p:nvPr/>
        </p:nvSpPr>
        <p:spPr>
          <a:xfrm>
            <a:off x="5982538" y="5634234"/>
            <a:ext cx="5739561" cy="614149"/>
          </a:xfrm>
          <a:prstGeom prst="ellipse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2908-DC00-46A8-A7B5-C9C58D31F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</a:t>
            </a:fld>
            <a:endParaRPr lang="en-ID"/>
          </a:p>
        </p:txBody>
      </p:sp>
      <p:sp>
        <p:nvSpPr>
          <p:cNvPr id="177" name="Title 1">
            <a:extLst>
              <a:ext uri="{FF2B5EF4-FFF2-40B4-BE49-F238E27FC236}">
                <a16:creationId xmlns:a16="http://schemas.microsoft.com/office/drawing/2014/main" id="{49030854-1233-4FEF-AA7E-D82C7F8D0ED2}"/>
              </a:ext>
            </a:extLst>
          </p:cNvPr>
          <p:cNvSpPr txBox="1">
            <a:spLocks/>
          </p:cNvSpPr>
          <p:nvPr/>
        </p:nvSpPr>
        <p:spPr>
          <a:xfrm>
            <a:off x="371440" y="774240"/>
            <a:ext cx="11292603" cy="279942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IN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Iteration Demonstrations</a:t>
            </a:r>
          </a:p>
          <a:p>
            <a:pPr algn="l">
              <a:lnSpc>
                <a:spcPct val="100000"/>
              </a:lnSpc>
            </a:pPr>
            <a:endParaRPr lang="en-IN" dirty="0">
              <a:solidFill>
                <a:schemeClr val="accent3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00000"/>
              </a:lnSpc>
            </a:pPr>
            <a:r>
              <a:rPr lang="en-IN" sz="4800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entation 1</a:t>
            </a:r>
            <a:endParaRPr lang="en-US" sz="4800" dirty="0"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C57338C2-A6F8-47DC-864B-630AF2C2B76C}"/>
              </a:ext>
            </a:extLst>
          </p:cNvPr>
          <p:cNvSpPr/>
          <p:nvPr/>
        </p:nvSpPr>
        <p:spPr>
          <a:xfrm>
            <a:off x="359032" y="3666733"/>
            <a:ext cx="5270501" cy="3054742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: Top Corners Rounded 175">
            <a:extLst>
              <a:ext uri="{FF2B5EF4-FFF2-40B4-BE49-F238E27FC236}">
                <a16:creationId xmlns:a16="http://schemas.microsoft.com/office/drawing/2014/main" id="{7A57A12B-E0FD-4C84-A6BE-E1E095C46BBD}"/>
              </a:ext>
            </a:extLst>
          </p:cNvPr>
          <p:cNvSpPr/>
          <p:nvPr/>
        </p:nvSpPr>
        <p:spPr>
          <a:xfrm>
            <a:off x="548961" y="3865854"/>
            <a:ext cx="4864672" cy="256342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D068665D-010E-17D4-A668-C393B3E01E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865" y="1866926"/>
            <a:ext cx="3958588" cy="3958588"/>
          </a:xfrm>
          <a:prstGeom prst="rect">
            <a:avLst/>
          </a:prstGeom>
          <a:effectLst>
            <a:softEdge rad="12700"/>
          </a:effectLst>
          <a:scene3d>
            <a:camera prst="orthographicFront"/>
            <a:lightRig rig="threePt" dir="t"/>
          </a:scene3d>
          <a:sp3d>
            <a:bevelT prst="angle"/>
          </a:sp3d>
        </p:spPr>
      </p:pic>
      <p:sp>
        <p:nvSpPr>
          <p:cNvPr id="9" name="Text Box 18">
            <a:extLst>
              <a:ext uri="{FF2B5EF4-FFF2-40B4-BE49-F238E27FC236}">
                <a16:creationId xmlns:a16="http://schemas.microsoft.com/office/drawing/2014/main" id="{E708D36C-A17E-DED2-692F-2596BAF77CAE}"/>
              </a:ext>
            </a:extLst>
          </p:cNvPr>
          <p:cNvSpPr txBox="1"/>
          <p:nvPr/>
        </p:nvSpPr>
        <p:spPr>
          <a:xfrm>
            <a:off x="1301490" y="3951361"/>
            <a:ext cx="4091940" cy="23604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IN" sz="1200" b="1" u="sng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Y: PROJECT TEAM 02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AU" sz="1200" b="1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ISHA GUNVANTRAI PATEL (30391432)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AU" sz="1200" b="1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JAHANVI PRAKASHKUMAR DARJI (30391512)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AU" sz="1200" b="1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DUN (30383224)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AU" sz="1200" b="1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NDEEP KAUR (30383224)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1000"/>
              </a:spcAft>
            </a:pPr>
            <a:r>
              <a:rPr lang="en-AU" sz="1200" b="1" dirty="0">
                <a:solidFill>
                  <a:srgbClr val="D5DCE4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DHI (30362064)</a:t>
            </a:r>
            <a:endParaRPr lang="en-IN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IN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IN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767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93ED45A-6A04-408C-B9C1-5F2E493ED263}"/>
              </a:ext>
            </a:extLst>
          </p:cNvPr>
          <p:cNvCxnSpPr>
            <a:cxnSpLocks/>
          </p:cNvCxnSpPr>
          <p:nvPr/>
        </p:nvCxnSpPr>
        <p:spPr>
          <a:xfrm>
            <a:off x="5800112" y="0"/>
            <a:ext cx="0" cy="6858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tangle: Rounded Corners 377">
            <a:extLst>
              <a:ext uri="{FF2B5EF4-FFF2-40B4-BE49-F238E27FC236}">
                <a16:creationId xmlns:a16="http://schemas.microsoft.com/office/drawing/2014/main" id="{F37AAC58-C405-4C28-B18D-A601C1F88382}"/>
              </a:ext>
            </a:extLst>
          </p:cNvPr>
          <p:cNvSpPr/>
          <p:nvPr/>
        </p:nvSpPr>
        <p:spPr>
          <a:xfrm>
            <a:off x="4599725" y="1655322"/>
            <a:ext cx="7076338" cy="724084"/>
          </a:xfrm>
          <a:prstGeom prst="roundRect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79" name="Rectangle: Rounded Corners 378">
            <a:extLst>
              <a:ext uri="{FF2B5EF4-FFF2-40B4-BE49-F238E27FC236}">
                <a16:creationId xmlns:a16="http://schemas.microsoft.com/office/drawing/2014/main" id="{DADE7DF1-9C89-4DFA-ACD1-7D17D3694756}"/>
              </a:ext>
            </a:extLst>
          </p:cNvPr>
          <p:cNvSpPr/>
          <p:nvPr/>
        </p:nvSpPr>
        <p:spPr>
          <a:xfrm>
            <a:off x="4642342" y="2614965"/>
            <a:ext cx="7033721" cy="660809"/>
          </a:xfrm>
          <a:prstGeom prst="roundRect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80" name="Rectangle: Rounded Corners 379">
            <a:extLst>
              <a:ext uri="{FF2B5EF4-FFF2-40B4-BE49-F238E27FC236}">
                <a16:creationId xmlns:a16="http://schemas.microsoft.com/office/drawing/2014/main" id="{31D9A965-8476-445A-864F-146F1F478FBC}"/>
              </a:ext>
            </a:extLst>
          </p:cNvPr>
          <p:cNvSpPr/>
          <p:nvPr/>
        </p:nvSpPr>
        <p:spPr>
          <a:xfrm>
            <a:off x="4620818" y="3574609"/>
            <a:ext cx="7055245" cy="759818"/>
          </a:xfrm>
          <a:prstGeom prst="roundRect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81" name="Rectangle: Rounded Corners 380">
            <a:extLst>
              <a:ext uri="{FF2B5EF4-FFF2-40B4-BE49-F238E27FC236}">
                <a16:creationId xmlns:a16="http://schemas.microsoft.com/office/drawing/2014/main" id="{8B085C75-3AE9-4C3E-98AB-8A468594B8B7}"/>
              </a:ext>
            </a:extLst>
          </p:cNvPr>
          <p:cNvSpPr/>
          <p:nvPr/>
        </p:nvSpPr>
        <p:spPr>
          <a:xfrm>
            <a:off x="4642342" y="4534253"/>
            <a:ext cx="7033721" cy="757852"/>
          </a:xfrm>
          <a:prstGeom prst="roundRect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82" name="Rectangle: Rounded Corners 381">
            <a:extLst>
              <a:ext uri="{FF2B5EF4-FFF2-40B4-BE49-F238E27FC236}">
                <a16:creationId xmlns:a16="http://schemas.microsoft.com/office/drawing/2014/main" id="{BF8548FC-4F10-4238-820F-3AE2C698F63C}"/>
              </a:ext>
            </a:extLst>
          </p:cNvPr>
          <p:cNvSpPr/>
          <p:nvPr/>
        </p:nvSpPr>
        <p:spPr>
          <a:xfrm>
            <a:off x="4650658" y="5471565"/>
            <a:ext cx="7016216" cy="660809"/>
          </a:xfrm>
          <a:prstGeom prst="roundRect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D" sz="3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k Done</a:t>
            </a:r>
            <a:r>
              <a:rPr lang="en-ID" sz="40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     </a:t>
            </a:r>
            <a:r>
              <a:rPr lang="en-US" sz="2400" u="sng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able justification for choice of product backlog items</a:t>
            </a:r>
            <a:endParaRPr lang="en-ID" sz="4000" u="sng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7303" y="6368175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0</a:t>
            </a:fld>
            <a:endParaRPr lang="en-ID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7909F09-E757-4F48-A873-FCD0A59E6157}"/>
              </a:ext>
            </a:extLst>
          </p:cNvPr>
          <p:cNvSpPr txBox="1">
            <a:spLocks/>
          </p:cNvSpPr>
          <p:nvPr/>
        </p:nvSpPr>
        <p:spPr>
          <a:xfrm>
            <a:off x="5554718" y="1881478"/>
            <a:ext cx="3098878" cy="3170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>
                <a:solidFill>
                  <a:srgbClr val="2424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ection of product backlog items.</a:t>
            </a:r>
            <a:endParaRPr lang="en-US" sz="2000" b="0" i="0" dirty="0">
              <a:solidFill>
                <a:srgbClr val="242424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10" name="Straight Connector 609">
            <a:extLst>
              <a:ext uri="{FF2B5EF4-FFF2-40B4-BE49-F238E27FC236}">
                <a16:creationId xmlns:a16="http://schemas.microsoft.com/office/drawing/2014/main" id="{65A64AE2-1C73-4600-9108-B683E26444EC}"/>
              </a:ext>
            </a:extLst>
          </p:cNvPr>
          <p:cNvCxnSpPr>
            <a:cxnSpLocks/>
          </p:cNvCxnSpPr>
          <p:nvPr/>
        </p:nvCxnSpPr>
        <p:spPr>
          <a:xfrm>
            <a:off x="10930607" y="1785764"/>
            <a:ext cx="0" cy="399922"/>
          </a:xfrm>
          <a:prstGeom prst="line">
            <a:avLst/>
          </a:prstGeom>
          <a:ln>
            <a:solidFill>
              <a:schemeClr val="bg1">
                <a:lumMod val="75000"/>
                <a:alpha val="3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7872DB7F-1DAE-491C-B3CE-362008A07A57}"/>
              </a:ext>
            </a:extLst>
          </p:cNvPr>
          <p:cNvGrpSpPr/>
          <p:nvPr/>
        </p:nvGrpSpPr>
        <p:grpSpPr>
          <a:xfrm>
            <a:off x="11143222" y="1814817"/>
            <a:ext cx="368890" cy="341816"/>
            <a:chOff x="6283326" y="3989388"/>
            <a:chExt cx="346075" cy="320675"/>
          </a:xfrm>
          <a:noFill/>
        </p:grpSpPr>
        <p:sp>
          <p:nvSpPr>
            <p:cNvPr id="612" name="Oval 167">
              <a:extLst>
                <a:ext uri="{FF2B5EF4-FFF2-40B4-BE49-F238E27FC236}">
                  <a16:creationId xmlns:a16="http://schemas.microsoft.com/office/drawing/2014/main" id="{91D4EE27-9CDF-401B-97C9-226C152BC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3326" y="4159250"/>
              <a:ext cx="150813" cy="150813"/>
            </a:xfrm>
            <a:prstGeom prst="ellipse">
              <a:avLst/>
            </a:pr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3" name="Freeform 168">
              <a:extLst>
                <a:ext uri="{FF2B5EF4-FFF2-40B4-BE49-F238E27FC236}">
                  <a16:creationId xmlns:a16="http://schemas.microsoft.com/office/drawing/2014/main" id="{85A85D19-DF51-4ABA-A38B-A97F0B421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3989388"/>
              <a:ext cx="134938" cy="200025"/>
            </a:xfrm>
            <a:custGeom>
              <a:avLst/>
              <a:gdLst>
                <a:gd name="T0" fmla="*/ 36 w 36"/>
                <a:gd name="T1" fmla="*/ 19 h 53"/>
                <a:gd name="T2" fmla="*/ 36 w 36"/>
                <a:gd name="T3" fmla="*/ 3 h 53"/>
                <a:gd name="T4" fmla="*/ 24 w 36"/>
                <a:gd name="T5" fmla="*/ 3 h 53"/>
                <a:gd name="T6" fmla="*/ 18 w 36"/>
                <a:gd name="T7" fmla="*/ 19 h 53"/>
                <a:gd name="T8" fmla="*/ 12 w 36"/>
                <a:gd name="T9" fmla="*/ 25 h 53"/>
                <a:gd name="T10" fmla="*/ 0 w 36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3">
                  <a:moveTo>
                    <a:pt x="36" y="19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3" y="0"/>
                    <a:pt x="27" y="0"/>
                    <a:pt x="24" y="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4" name="Oval 169">
              <a:extLst>
                <a:ext uri="{FF2B5EF4-FFF2-40B4-BE49-F238E27FC236}">
                  <a16:creationId xmlns:a16="http://schemas.microsoft.com/office/drawing/2014/main" id="{455F008D-31D6-4164-AD28-D6E4468F8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8588" y="4159250"/>
              <a:ext cx="150813" cy="150813"/>
            </a:xfrm>
            <a:prstGeom prst="ellipse">
              <a:avLst/>
            </a:pr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5" name="Freeform 170">
              <a:extLst>
                <a:ext uri="{FF2B5EF4-FFF2-40B4-BE49-F238E27FC236}">
                  <a16:creationId xmlns:a16="http://schemas.microsoft.com/office/drawing/2014/main" id="{D758BF3B-2976-477C-9093-0E6EFD4A3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8588" y="3989388"/>
              <a:ext cx="136525" cy="200025"/>
            </a:xfrm>
            <a:custGeom>
              <a:avLst/>
              <a:gdLst>
                <a:gd name="T0" fmla="*/ 0 w 36"/>
                <a:gd name="T1" fmla="*/ 19 h 53"/>
                <a:gd name="T2" fmla="*/ 0 w 36"/>
                <a:gd name="T3" fmla="*/ 3 h 53"/>
                <a:gd name="T4" fmla="*/ 12 w 36"/>
                <a:gd name="T5" fmla="*/ 3 h 53"/>
                <a:gd name="T6" fmla="*/ 18 w 36"/>
                <a:gd name="T7" fmla="*/ 19 h 53"/>
                <a:gd name="T8" fmla="*/ 24 w 36"/>
                <a:gd name="T9" fmla="*/ 25 h 53"/>
                <a:gd name="T10" fmla="*/ 36 w 36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3">
                  <a:moveTo>
                    <a:pt x="0" y="19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0"/>
                    <a:pt x="9" y="0"/>
                    <a:pt x="12" y="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36" y="53"/>
                    <a:pt x="36" y="53"/>
                    <a:pt x="36" y="53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6" name="Freeform 171">
              <a:extLst>
                <a:ext uri="{FF2B5EF4-FFF2-40B4-BE49-F238E27FC236}">
                  <a16:creationId xmlns:a16="http://schemas.microsoft.com/office/drawing/2014/main" id="{A7F21471-84D4-43B5-8707-BF5E2683F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4090988"/>
              <a:ext cx="120650" cy="30163"/>
            </a:xfrm>
            <a:custGeom>
              <a:avLst/>
              <a:gdLst>
                <a:gd name="T0" fmla="*/ 0 w 32"/>
                <a:gd name="T1" fmla="*/ 8 h 8"/>
                <a:gd name="T2" fmla="*/ 16 w 32"/>
                <a:gd name="T3" fmla="*/ 0 h 8"/>
                <a:gd name="T4" fmla="*/ 32 w 3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cubicBezTo>
                    <a:pt x="0" y="4"/>
                    <a:pt x="7" y="0"/>
                    <a:pt x="16" y="0"/>
                  </a:cubicBezTo>
                  <a:cubicBezTo>
                    <a:pt x="25" y="0"/>
                    <a:pt x="32" y="4"/>
                    <a:pt x="32" y="8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7" name="Line 172">
              <a:extLst>
                <a:ext uri="{FF2B5EF4-FFF2-40B4-BE49-F238E27FC236}">
                  <a16:creationId xmlns:a16="http://schemas.microsoft.com/office/drawing/2014/main" id="{C86544F7-D53E-4358-A2A8-5760B5EBC4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34138" y="4095750"/>
              <a:ext cx="0" cy="138113"/>
            </a:xfrm>
            <a:prstGeom prst="line">
              <a:avLst/>
            </a:pr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8" name="Line 173">
              <a:extLst>
                <a:ext uri="{FF2B5EF4-FFF2-40B4-BE49-F238E27FC236}">
                  <a16:creationId xmlns:a16="http://schemas.microsoft.com/office/drawing/2014/main" id="{767063DC-6D45-41C7-8698-0856C996E7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78588" y="4095750"/>
              <a:ext cx="0" cy="138113"/>
            </a:xfrm>
            <a:prstGeom prst="line">
              <a:avLst/>
            </a:pr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9" name="Freeform 174">
              <a:extLst>
                <a:ext uri="{FF2B5EF4-FFF2-40B4-BE49-F238E27FC236}">
                  <a16:creationId xmlns:a16="http://schemas.microsoft.com/office/drawing/2014/main" id="{4E1B3C10-7F64-4799-9656-1543FE404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488" y="4189413"/>
              <a:ext cx="46038" cy="444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0" name="Freeform 175">
              <a:extLst>
                <a:ext uri="{FF2B5EF4-FFF2-40B4-BE49-F238E27FC236}">
                  <a16:creationId xmlns:a16="http://schemas.microsoft.com/office/drawing/2014/main" id="{B9952781-468E-4571-ABAC-CD27DB8F4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1" y="4189413"/>
              <a:ext cx="46038" cy="444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21" name="Group 620">
            <a:extLst>
              <a:ext uri="{FF2B5EF4-FFF2-40B4-BE49-F238E27FC236}">
                <a16:creationId xmlns:a16="http://schemas.microsoft.com/office/drawing/2014/main" id="{8CD06850-B3D6-45C3-BE78-F7E6AED2B498}"/>
              </a:ext>
            </a:extLst>
          </p:cNvPr>
          <p:cNvGrpSpPr/>
          <p:nvPr/>
        </p:nvGrpSpPr>
        <p:grpSpPr>
          <a:xfrm>
            <a:off x="11160990" y="5639856"/>
            <a:ext cx="333354" cy="368889"/>
            <a:chOff x="4856163" y="5060951"/>
            <a:chExt cx="312738" cy="346075"/>
          </a:xfrm>
          <a:noFill/>
        </p:grpSpPr>
        <p:sp>
          <p:nvSpPr>
            <p:cNvPr id="622" name="Freeform 339">
              <a:extLst>
                <a:ext uri="{FF2B5EF4-FFF2-40B4-BE49-F238E27FC236}">
                  <a16:creationId xmlns:a16="http://schemas.microsoft.com/office/drawing/2014/main" id="{ADBDA94A-686E-44E4-A75C-AE3B5FDCD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163" y="5060951"/>
              <a:ext cx="312738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grp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3" name="Freeform 340">
              <a:extLst>
                <a:ext uri="{FF2B5EF4-FFF2-40B4-BE49-F238E27FC236}">
                  <a16:creationId xmlns:a16="http://schemas.microsoft.com/office/drawing/2014/main" id="{6FCEB6BC-7DFB-4B0D-89B6-2B3CD75E6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5118101"/>
              <a:ext cx="149225" cy="153988"/>
            </a:xfrm>
            <a:custGeom>
              <a:avLst/>
              <a:gdLst>
                <a:gd name="T0" fmla="*/ 20 w 40"/>
                <a:gd name="T1" fmla="*/ 41 h 41"/>
                <a:gd name="T2" fmla="*/ 40 w 40"/>
                <a:gd name="T3" fmla="*/ 16 h 41"/>
                <a:gd name="T4" fmla="*/ 20 w 40"/>
                <a:gd name="T5" fmla="*/ 15 h 41"/>
                <a:gd name="T6" fmla="*/ 0 w 40"/>
                <a:gd name="T7" fmla="*/ 16 h 41"/>
                <a:gd name="T8" fmla="*/ 20 w 4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20" y="41"/>
                  </a:moveTo>
                  <a:cubicBezTo>
                    <a:pt x="20" y="41"/>
                    <a:pt x="40" y="27"/>
                    <a:pt x="40" y="16"/>
                  </a:cubicBezTo>
                  <a:cubicBezTo>
                    <a:pt x="40" y="4"/>
                    <a:pt x="24" y="0"/>
                    <a:pt x="20" y="15"/>
                  </a:cubicBezTo>
                  <a:cubicBezTo>
                    <a:pt x="16" y="0"/>
                    <a:pt x="0" y="4"/>
                    <a:pt x="0" y="16"/>
                  </a:cubicBezTo>
                  <a:cubicBezTo>
                    <a:pt x="0" y="27"/>
                    <a:pt x="20" y="41"/>
                    <a:pt x="20" y="41"/>
                  </a:cubicBezTo>
                  <a:close/>
                </a:path>
              </a:pathLst>
            </a:custGeom>
            <a:grp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24" name="Group 623">
            <a:extLst>
              <a:ext uri="{FF2B5EF4-FFF2-40B4-BE49-F238E27FC236}">
                <a16:creationId xmlns:a16="http://schemas.microsoft.com/office/drawing/2014/main" id="{0D6FA9A6-B6A7-44BD-A7C7-0B4ACBFD943A}"/>
              </a:ext>
            </a:extLst>
          </p:cNvPr>
          <p:cNvGrpSpPr/>
          <p:nvPr/>
        </p:nvGrpSpPr>
        <p:grpSpPr>
          <a:xfrm>
            <a:off x="11143222" y="4678520"/>
            <a:ext cx="368890" cy="372274"/>
            <a:chOff x="3427413" y="2890838"/>
            <a:chExt cx="346075" cy="349250"/>
          </a:xfrm>
          <a:noFill/>
        </p:grpSpPr>
        <p:sp>
          <p:nvSpPr>
            <p:cNvPr id="625" name="Freeform 118">
              <a:extLst>
                <a:ext uri="{FF2B5EF4-FFF2-40B4-BE49-F238E27FC236}">
                  <a16:creationId xmlns:a16="http://schemas.microsoft.com/office/drawing/2014/main" id="{B0A80485-F6D7-4525-B47A-AFE926C29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3" y="2890838"/>
              <a:ext cx="346075" cy="257175"/>
            </a:xfrm>
            <a:custGeom>
              <a:avLst/>
              <a:gdLst>
                <a:gd name="T0" fmla="*/ 28 w 92"/>
                <a:gd name="T1" fmla="*/ 68 h 68"/>
                <a:gd name="T2" fmla="*/ 8 w 92"/>
                <a:gd name="T3" fmla="*/ 68 h 68"/>
                <a:gd name="T4" fmla="*/ 0 w 92"/>
                <a:gd name="T5" fmla="*/ 60 h 68"/>
                <a:gd name="T6" fmla="*/ 0 w 92"/>
                <a:gd name="T7" fmla="*/ 8 h 68"/>
                <a:gd name="T8" fmla="*/ 8 w 92"/>
                <a:gd name="T9" fmla="*/ 0 h 68"/>
                <a:gd name="T10" fmla="*/ 84 w 92"/>
                <a:gd name="T11" fmla="*/ 0 h 68"/>
                <a:gd name="T12" fmla="*/ 92 w 92"/>
                <a:gd name="T13" fmla="*/ 8 h 68"/>
                <a:gd name="T14" fmla="*/ 92 w 92"/>
                <a:gd name="T15" fmla="*/ 4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8">
                  <a:moveTo>
                    <a:pt x="28" y="68"/>
                  </a:moveTo>
                  <a:cubicBezTo>
                    <a:pt x="8" y="68"/>
                    <a:pt x="8" y="68"/>
                    <a:pt x="8" y="68"/>
                  </a:cubicBezTo>
                  <a:cubicBezTo>
                    <a:pt x="4" y="68"/>
                    <a:pt x="0" y="64"/>
                    <a:pt x="0" y="6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44"/>
                    <a:pt x="92" y="44"/>
                    <a:pt x="92" y="44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6" name="Freeform 119">
              <a:extLst>
                <a:ext uri="{FF2B5EF4-FFF2-40B4-BE49-F238E27FC236}">
                  <a16:creationId xmlns:a16="http://schemas.microsoft.com/office/drawing/2014/main" id="{0D0FADD9-6ABB-471F-980F-3A7F44B12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2921000"/>
              <a:ext cx="239713" cy="196850"/>
            </a:xfrm>
            <a:custGeom>
              <a:avLst/>
              <a:gdLst>
                <a:gd name="T0" fmla="*/ 28 w 151"/>
                <a:gd name="T1" fmla="*/ 124 h 124"/>
                <a:gd name="T2" fmla="*/ 0 w 151"/>
                <a:gd name="T3" fmla="*/ 124 h 124"/>
                <a:gd name="T4" fmla="*/ 0 w 151"/>
                <a:gd name="T5" fmla="*/ 0 h 124"/>
                <a:gd name="T6" fmla="*/ 151 w 151"/>
                <a:gd name="T7" fmla="*/ 0 h 124"/>
                <a:gd name="T8" fmla="*/ 151 w 151"/>
                <a:gd name="T9" fmla="*/ 8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24">
                  <a:moveTo>
                    <a:pt x="28" y="124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86"/>
                  </a:ln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7" name="Oval 120">
              <a:extLst>
                <a:ext uri="{FF2B5EF4-FFF2-40B4-BE49-F238E27FC236}">
                  <a16:creationId xmlns:a16="http://schemas.microsoft.com/office/drawing/2014/main" id="{6B67188F-247B-4043-A038-D06E12E9F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3325" y="3011488"/>
              <a:ext cx="14288" cy="15875"/>
            </a:xfrm>
            <a:prstGeom prst="ellipse">
              <a:avLst/>
            </a:prstGeom>
            <a:grpFill/>
            <a:ln w="9525">
              <a:solidFill>
                <a:srgbClr val="28719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8" name="Freeform 121">
              <a:extLst>
                <a:ext uri="{FF2B5EF4-FFF2-40B4-BE49-F238E27FC236}">
                  <a16:creationId xmlns:a16="http://schemas.microsoft.com/office/drawing/2014/main" id="{8096D257-1081-4D13-9E52-883D70B8D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288" y="2989263"/>
              <a:ext cx="203200" cy="250825"/>
            </a:xfrm>
            <a:custGeom>
              <a:avLst/>
              <a:gdLst>
                <a:gd name="T0" fmla="*/ 30 w 54"/>
                <a:gd name="T1" fmla="*/ 25 h 66"/>
                <a:gd name="T2" fmla="*/ 30 w 54"/>
                <a:gd name="T3" fmla="*/ 4 h 66"/>
                <a:gd name="T4" fmla="*/ 27 w 54"/>
                <a:gd name="T5" fmla="*/ 0 h 66"/>
                <a:gd name="T6" fmla="*/ 21 w 54"/>
                <a:gd name="T7" fmla="*/ 0 h 66"/>
                <a:gd name="T8" fmla="*/ 18 w 54"/>
                <a:gd name="T9" fmla="*/ 4 h 66"/>
                <a:gd name="T10" fmla="*/ 18 w 54"/>
                <a:gd name="T11" fmla="*/ 41 h 66"/>
                <a:gd name="T12" fmla="*/ 11 w 54"/>
                <a:gd name="T13" fmla="*/ 33 h 66"/>
                <a:gd name="T14" fmla="*/ 8 w 54"/>
                <a:gd name="T15" fmla="*/ 31 h 66"/>
                <a:gd name="T16" fmla="*/ 4 w 54"/>
                <a:gd name="T17" fmla="*/ 31 h 66"/>
                <a:gd name="T18" fmla="*/ 1 w 54"/>
                <a:gd name="T19" fmla="*/ 33 h 66"/>
                <a:gd name="T20" fmla="*/ 0 w 54"/>
                <a:gd name="T21" fmla="*/ 37 h 66"/>
                <a:gd name="T22" fmla="*/ 15 w 54"/>
                <a:gd name="T23" fmla="*/ 64 h 66"/>
                <a:gd name="T24" fmla="*/ 19 w 54"/>
                <a:gd name="T25" fmla="*/ 66 h 66"/>
                <a:gd name="T26" fmla="*/ 44 w 54"/>
                <a:gd name="T27" fmla="*/ 66 h 66"/>
                <a:gd name="T28" fmla="*/ 48 w 54"/>
                <a:gd name="T29" fmla="*/ 64 h 66"/>
                <a:gd name="T30" fmla="*/ 54 w 54"/>
                <a:gd name="T31" fmla="*/ 37 h 66"/>
                <a:gd name="T32" fmla="*/ 52 w 54"/>
                <a:gd name="T33" fmla="*/ 33 h 66"/>
                <a:gd name="T34" fmla="*/ 30 w 54"/>
                <a:gd name="T35" fmla="*/ 2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66">
                  <a:moveTo>
                    <a:pt x="30" y="25"/>
                  </a:move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0"/>
                    <a:pt x="18" y="2"/>
                    <a:pt x="18" y="4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2"/>
                    <a:pt x="9" y="31"/>
                    <a:pt x="8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1" y="32"/>
                    <a:pt x="1" y="33"/>
                  </a:cubicBezTo>
                  <a:cubicBezTo>
                    <a:pt x="0" y="34"/>
                    <a:pt x="0" y="36"/>
                    <a:pt x="0" y="37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6" y="65"/>
                    <a:pt x="17" y="66"/>
                    <a:pt x="19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6"/>
                    <a:pt x="47" y="65"/>
                    <a:pt x="48" y="64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5"/>
                    <a:pt x="53" y="33"/>
                    <a:pt x="52" y="33"/>
                  </a:cubicBezTo>
                  <a:lnTo>
                    <a:pt x="30" y="25"/>
                  </a:lnTo>
                  <a:close/>
                </a:path>
              </a:pathLst>
            </a:custGeom>
            <a:grp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9" name="Freeform 122">
              <a:extLst>
                <a:ext uri="{FF2B5EF4-FFF2-40B4-BE49-F238E27FC236}">
                  <a16:creationId xmlns:a16="http://schemas.microsoft.com/office/drawing/2014/main" id="{7C2A7283-3F57-462B-A7DF-D6FE05E31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638" y="3011488"/>
              <a:ext cx="15875" cy="15875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grp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A1D69994-F9D6-4C14-84F1-5FF4820970F4}"/>
              </a:ext>
            </a:extLst>
          </p:cNvPr>
          <p:cNvGrpSpPr/>
          <p:nvPr/>
        </p:nvGrpSpPr>
        <p:grpSpPr>
          <a:xfrm>
            <a:off x="11145761" y="3720568"/>
            <a:ext cx="363813" cy="368890"/>
            <a:chOff x="1541463" y="5780088"/>
            <a:chExt cx="341312" cy="346075"/>
          </a:xfrm>
        </p:grpSpPr>
        <p:sp>
          <p:nvSpPr>
            <p:cNvPr id="631" name="Freeform 263">
              <a:extLst>
                <a:ext uri="{FF2B5EF4-FFF2-40B4-BE49-F238E27FC236}">
                  <a16:creationId xmlns:a16="http://schemas.microsoft.com/office/drawing/2014/main" id="{D2658525-1C86-45BB-8122-AB83D1E6B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463" y="5983288"/>
              <a:ext cx="127000" cy="142875"/>
            </a:xfrm>
            <a:custGeom>
              <a:avLst/>
              <a:gdLst>
                <a:gd name="T0" fmla="*/ 35 w 80"/>
                <a:gd name="T1" fmla="*/ 0 h 90"/>
                <a:gd name="T2" fmla="*/ 0 w 80"/>
                <a:gd name="T3" fmla="*/ 62 h 90"/>
                <a:gd name="T4" fmla="*/ 35 w 80"/>
                <a:gd name="T5" fmla="*/ 55 h 90"/>
                <a:gd name="T6" fmla="*/ 50 w 80"/>
                <a:gd name="T7" fmla="*/ 90 h 90"/>
                <a:gd name="T8" fmla="*/ 80 w 80"/>
                <a:gd name="T9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90">
                  <a:moveTo>
                    <a:pt x="35" y="0"/>
                  </a:moveTo>
                  <a:lnTo>
                    <a:pt x="0" y="62"/>
                  </a:lnTo>
                  <a:lnTo>
                    <a:pt x="35" y="55"/>
                  </a:lnTo>
                  <a:lnTo>
                    <a:pt x="50" y="90"/>
                  </a:lnTo>
                  <a:lnTo>
                    <a:pt x="80" y="38"/>
                  </a:lnTo>
                </a:path>
              </a:pathLst>
            </a:custGeom>
            <a:no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2" name="Freeform 264">
              <a:extLst>
                <a:ext uri="{FF2B5EF4-FFF2-40B4-BE49-F238E27FC236}">
                  <a16:creationId xmlns:a16="http://schemas.microsoft.com/office/drawing/2014/main" id="{8D99853A-08D5-4E93-9BB7-30540CB1F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775" y="5986463"/>
              <a:ext cx="127000" cy="139700"/>
            </a:xfrm>
            <a:custGeom>
              <a:avLst/>
              <a:gdLst>
                <a:gd name="T0" fmla="*/ 47 w 80"/>
                <a:gd name="T1" fmla="*/ 0 h 88"/>
                <a:gd name="T2" fmla="*/ 80 w 80"/>
                <a:gd name="T3" fmla="*/ 60 h 88"/>
                <a:gd name="T4" fmla="*/ 45 w 80"/>
                <a:gd name="T5" fmla="*/ 53 h 88"/>
                <a:gd name="T6" fmla="*/ 33 w 80"/>
                <a:gd name="T7" fmla="*/ 88 h 88"/>
                <a:gd name="T8" fmla="*/ 0 w 80"/>
                <a:gd name="T9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8">
                  <a:moveTo>
                    <a:pt x="47" y="0"/>
                  </a:moveTo>
                  <a:lnTo>
                    <a:pt x="80" y="60"/>
                  </a:lnTo>
                  <a:lnTo>
                    <a:pt x="45" y="53"/>
                  </a:lnTo>
                  <a:lnTo>
                    <a:pt x="33" y="88"/>
                  </a:lnTo>
                  <a:lnTo>
                    <a:pt x="0" y="36"/>
                  </a:lnTo>
                </a:path>
              </a:pathLst>
            </a:custGeom>
            <a:no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3" name="Oval 265">
              <a:extLst>
                <a:ext uri="{FF2B5EF4-FFF2-40B4-BE49-F238E27FC236}">
                  <a16:creationId xmlns:a16="http://schemas.microsoft.com/office/drawing/2014/main" id="{764A49BC-13D9-4077-89B7-A6F8057EE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7975" y="5780088"/>
              <a:ext cx="271463" cy="271463"/>
            </a:xfrm>
            <a:prstGeom prst="ellipse">
              <a:avLst/>
            </a:prstGeom>
            <a:noFill/>
            <a:ln w="14288" cap="flat">
              <a:solidFill>
                <a:srgbClr val="28719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4" name="Freeform 266">
              <a:extLst>
                <a:ext uri="{FF2B5EF4-FFF2-40B4-BE49-F238E27FC236}">
                  <a16:creationId xmlns:a16="http://schemas.microsoft.com/office/drawing/2014/main" id="{61936893-7491-454D-97F2-E73395472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188" y="5818188"/>
              <a:ext cx="165100" cy="157163"/>
            </a:xfrm>
            <a:custGeom>
              <a:avLst/>
              <a:gdLst>
                <a:gd name="T0" fmla="*/ 37 w 44"/>
                <a:gd name="T1" fmla="*/ 37 h 42"/>
                <a:gd name="T2" fmla="*/ 30 w 44"/>
                <a:gd name="T3" fmla="*/ 42 h 42"/>
                <a:gd name="T4" fmla="*/ 21 w 44"/>
                <a:gd name="T5" fmla="*/ 42 h 42"/>
                <a:gd name="T6" fmla="*/ 0 w 44"/>
                <a:gd name="T7" fmla="*/ 39 h 42"/>
                <a:gd name="T8" fmla="*/ 0 w 44"/>
                <a:gd name="T9" fmla="*/ 22 h 42"/>
                <a:gd name="T10" fmla="*/ 5 w 44"/>
                <a:gd name="T11" fmla="*/ 22 h 42"/>
                <a:gd name="T12" fmla="*/ 20 w 44"/>
                <a:gd name="T13" fmla="*/ 4 h 42"/>
                <a:gd name="T14" fmla="*/ 24 w 44"/>
                <a:gd name="T15" fmla="*/ 6 h 42"/>
                <a:gd name="T16" fmla="*/ 24 w 44"/>
                <a:gd name="T17" fmla="*/ 18 h 42"/>
                <a:gd name="T18" fmla="*/ 41 w 44"/>
                <a:gd name="T19" fmla="*/ 18 h 42"/>
                <a:gd name="T20" fmla="*/ 44 w 44"/>
                <a:gd name="T21" fmla="*/ 21 h 42"/>
                <a:gd name="T22" fmla="*/ 37 w 44"/>
                <a:gd name="T23" fmla="*/ 3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2">
                  <a:moveTo>
                    <a:pt x="37" y="37"/>
                  </a:moveTo>
                  <a:cubicBezTo>
                    <a:pt x="36" y="40"/>
                    <a:pt x="33" y="42"/>
                    <a:pt x="30" y="42"/>
                  </a:cubicBezTo>
                  <a:cubicBezTo>
                    <a:pt x="27" y="42"/>
                    <a:pt x="24" y="42"/>
                    <a:pt x="21" y="42"/>
                  </a:cubicBezTo>
                  <a:cubicBezTo>
                    <a:pt x="13" y="42"/>
                    <a:pt x="16" y="39"/>
                    <a:pt x="0" y="39"/>
                  </a:cubicBezTo>
                  <a:cubicBezTo>
                    <a:pt x="0" y="38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2" y="22"/>
                    <a:pt x="16" y="13"/>
                    <a:pt x="20" y="4"/>
                  </a:cubicBezTo>
                  <a:cubicBezTo>
                    <a:pt x="22" y="1"/>
                    <a:pt x="24" y="0"/>
                    <a:pt x="24" y="6"/>
                  </a:cubicBezTo>
                  <a:cubicBezTo>
                    <a:pt x="24" y="10"/>
                    <a:pt x="24" y="18"/>
                    <a:pt x="24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3" y="18"/>
                    <a:pt x="44" y="19"/>
                    <a:pt x="44" y="21"/>
                  </a:cubicBezTo>
                  <a:lnTo>
                    <a:pt x="37" y="37"/>
                  </a:lnTo>
                  <a:close/>
                </a:path>
              </a:pathLst>
            </a:custGeom>
            <a:no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35" name="Group 634">
            <a:extLst>
              <a:ext uri="{FF2B5EF4-FFF2-40B4-BE49-F238E27FC236}">
                <a16:creationId xmlns:a16="http://schemas.microsoft.com/office/drawing/2014/main" id="{E61580A2-3B32-42B6-A84B-50052A619F65}"/>
              </a:ext>
            </a:extLst>
          </p:cNvPr>
          <p:cNvGrpSpPr/>
          <p:nvPr/>
        </p:nvGrpSpPr>
        <p:grpSpPr>
          <a:xfrm>
            <a:off x="11190750" y="2759978"/>
            <a:ext cx="273835" cy="370782"/>
            <a:chOff x="5607051" y="2173289"/>
            <a:chExt cx="255588" cy="346075"/>
          </a:xfrm>
          <a:noFill/>
        </p:grpSpPr>
        <p:sp>
          <p:nvSpPr>
            <p:cNvPr id="636" name="Freeform 49">
              <a:extLst>
                <a:ext uri="{FF2B5EF4-FFF2-40B4-BE49-F238E27FC236}">
                  <a16:creationId xmlns:a16="http://schemas.microsoft.com/office/drawing/2014/main" id="{353C0EB7-B6F6-42A2-A087-9F6F098EA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1" y="2217739"/>
              <a:ext cx="90488" cy="180975"/>
            </a:xfrm>
            <a:custGeom>
              <a:avLst/>
              <a:gdLst>
                <a:gd name="T0" fmla="*/ 57 w 57"/>
                <a:gd name="T1" fmla="*/ 114 h 114"/>
                <a:gd name="T2" fmla="*/ 29 w 57"/>
                <a:gd name="T3" fmla="*/ 85 h 114"/>
                <a:gd name="T4" fmla="*/ 0 w 57"/>
                <a:gd name="T5" fmla="*/ 114 h 114"/>
                <a:gd name="T6" fmla="*/ 0 w 57"/>
                <a:gd name="T7" fmla="*/ 0 h 114"/>
                <a:gd name="T8" fmla="*/ 57 w 57"/>
                <a:gd name="T9" fmla="*/ 0 h 114"/>
                <a:gd name="T10" fmla="*/ 57 w 57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14">
                  <a:moveTo>
                    <a:pt x="57" y="114"/>
                  </a:moveTo>
                  <a:lnTo>
                    <a:pt x="29" y="85"/>
                  </a:lnTo>
                  <a:lnTo>
                    <a:pt x="0" y="114"/>
                  </a:lnTo>
                  <a:lnTo>
                    <a:pt x="0" y="0"/>
                  </a:lnTo>
                  <a:lnTo>
                    <a:pt x="57" y="0"/>
                  </a:lnTo>
                  <a:lnTo>
                    <a:pt x="57" y="114"/>
                  </a:lnTo>
                  <a:close/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7" name="Freeform 50">
              <a:extLst>
                <a:ext uri="{FF2B5EF4-FFF2-40B4-BE49-F238E27FC236}">
                  <a16:creationId xmlns:a16="http://schemas.microsoft.com/office/drawing/2014/main" id="{652F58C4-B2BE-44C3-A180-53A9DC66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1" y="2203451"/>
              <a:ext cx="255588" cy="315913"/>
            </a:xfrm>
            <a:custGeom>
              <a:avLst/>
              <a:gdLst>
                <a:gd name="T0" fmla="*/ 56 w 68"/>
                <a:gd name="T1" fmla="*/ 8 h 84"/>
                <a:gd name="T2" fmla="*/ 68 w 68"/>
                <a:gd name="T3" fmla="*/ 8 h 84"/>
                <a:gd name="T4" fmla="*/ 68 w 68"/>
                <a:gd name="T5" fmla="*/ 84 h 84"/>
                <a:gd name="T6" fmla="*/ 8 w 68"/>
                <a:gd name="T7" fmla="*/ 84 h 84"/>
                <a:gd name="T8" fmla="*/ 0 w 68"/>
                <a:gd name="T9" fmla="*/ 76 h 84"/>
                <a:gd name="T10" fmla="*/ 0 w 68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4">
                  <a:moveTo>
                    <a:pt x="56" y="8"/>
                  </a:moveTo>
                  <a:cubicBezTo>
                    <a:pt x="68" y="8"/>
                    <a:pt x="68" y="8"/>
                    <a:pt x="68" y="8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4" y="84"/>
                    <a:pt x="0" y="80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8" name="Freeform 51">
              <a:extLst>
                <a:ext uri="{FF2B5EF4-FFF2-40B4-BE49-F238E27FC236}">
                  <a16:creationId xmlns:a16="http://schemas.microsoft.com/office/drawing/2014/main" id="{C83D411F-64D6-484A-A969-AE0C4B0FA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1" y="2173289"/>
              <a:ext cx="241300" cy="60325"/>
            </a:xfrm>
            <a:custGeom>
              <a:avLst/>
              <a:gdLst>
                <a:gd name="T0" fmla="*/ 64 w 64"/>
                <a:gd name="T1" fmla="*/ 16 h 16"/>
                <a:gd name="T2" fmla="*/ 64 w 64"/>
                <a:gd name="T3" fmla="*/ 0 h 16"/>
                <a:gd name="T4" fmla="*/ 8 w 64"/>
                <a:gd name="T5" fmla="*/ 0 h 16"/>
                <a:gd name="T6" fmla="*/ 0 w 64"/>
                <a:gd name="T7" fmla="*/ 8 h 16"/>
                <a:gd name="T8" fmla="*/ 8 w 64"/>
                <a:gd name="T9" fmla="*/ 16 h 16"/>
                <a:gd name="T10" fmla="*/ 32 w 64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16">
                  <a:moveTo>
                    <a:pt x="64" y="16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32" y="16"/>
                    <a:pt x="32" y="16"/>
                    <a:pt x="32" y="16"/>
                  </a:cubicBezTo>
                </a:path>
              </a:pathLst>
            </a:custGeom>
            <a:grpFill/>
            <a:ln w="14288" cap="rnd">
              <a:solidFill>
                <a:srgbClr val="2871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2" name="Rectangle: Top Corners Snipped 2">
            <a:extLst>
              <a:ext uri="{FF2B5EF4-FFF2-40B4-BE49-F238E27FC236}">
                <a16:creationId xmlns:a16="http://schemas.microsoft.com/office/drawing/2014/main" id="{D82F5D78-A07E-4311-A70D-F2F5D0D4EC09}"/>
              </a:ext>
            </a:extLst>
          </p:cNvPr>
          <p:cNvSpPr/>
          <p:nvPr/>
        </p:nvSpPr>
        <p:spPr>
          <a:xfrm rot="5400000" flipH="1">
            <a:off x="-679636" y="2135022"/>
            <a:ext cx="5522691" cy="4163419"/>
          </a:xfrm>
          <a:custGeom>
            <a:avLst/>
            <a:gdLst>
              <a:gd name="connsiteX0" fmla="*/ 1675362 w 5522685"/>
              <a:gd name="connsiteY0" fmla="*/ 0 h 5522686"/>
              <a:gd name="connsiteX1" fmla="*/ 3847323 w 5522685"/>
              <a:gd name="connsiteY1" fmla="*/ 0 h 5522686"/>
              <a:gd name="connsiteX2" fmla="*/ 5522685 w 5522685"/>
              <a:gd name="connsiteY2" fmla="*/ 1675362 h 5522686"/>
              <a:gd name="connsiteX3" fmla="*/ 5522685 w 5522685"/>
              <a:gd name="connsiteY3" fmla="*/ 5522686 h 5522686"/>
              <a:gd name="connsiteX4" fmla="*/ 5522685 w 5522685"/>
              <a:gd name="connsiteY4" fmla="*/ 5522686 h 5522686"/>
              <a:gd name="connsiteX5" fmla="*/ 0 w 5522685"/>
              <a:gd name="connsiteY5" fmla="*/ 5522686 h 5522686"/>
              <a:gd name="connsiteX6" fmla="*/ 0 w 5522685"/>
              <a:gd name="connsiteY6" fmla="*/ 5522686 h 5522686"/>
              <a:gd name="connsiteX7" fmla="*/ 0 w 5522685"/>
              <a:gd name="connsiteY7" fmla="*/ 1675362 h 5522686"/>
              <a:gd name="connsiteX8" fmla="*/ 1675362 w 5522685"/>
              <a:gd name="connsiteY8" fmla="*/ 0 h 5522686"/>
              <a:gd name="connsiteX0" fmla="*/ 1675362 w 5522685"/>
              <a:gd name="connsiteY0" fmla="*/ 0 h 5522686"/>
              <a:gd name="connsiteX1" fmla="*/ 3847323 w 5522685"/>
              <a:gd name="connsiteY1" fmla="*/ 0 h 5522686"/>
              <a:gd name="connsiteX2" fmla="*/ 5522685 w 5522685"/>
              <a:gd name="connsiteY2" fmla="*/ 1675362 h 5522686"/>
              <a:gd name="connsiteX3" fmla="*/ 5522685 w 5522685"/>
              <a:gd name="connsiteY3" fmla="*/ 5522686 h 5522686"/>
              <a:gd name="connsiteX4" fmla="*/ 5522685 w 5522685"/>
              <a:gd name="connsiteY4" fmla="*/ 5522686 h 5522686"/>
              <a:gd name="connsiteX5" fmla="*/ 0 w 5522685"/>
              <a:gd name="connsiteY5" fmla="*/ 5522686 h 5522686"/>
              <a:gd name="connsiteX6" fmla="*/ 0 w 5522685"/>
              <a:gd name="connsiteY6" fmla="*/ 5522686 h 5522686"/>
              <a:gd name="connsiteX7" fmla="*/ 0 w 5522685"/>
              <a:gd name="connsiteY7" fmla="*/ 1675362 h 5522686"/>
              <a:gd name="connsiteX8" fmla="*/ 1675362 w 5522685"/>
              <a:gd name="connsiteY8" fmla="*/ 0 h 5522686"/>
              <a:gd name="connsiteX0" fmla="*/ 1683761 w 5531084"/>
              <a:gd name="connsiteY0" fmla="*/ 0 h 5522686"/>
              <a:gd name="connsiteX1" fmla="*/ 3855722 w 5531084"/>
              <a:gd name="connsiteY1" fmla="*/ 0 h 5522686"/>
              <a:gd name="connsiteX2" fmla="*/ 5531084 w 5531084"/>
              <a:gd name="connsiteY2" fmla="*/ 1675362 h 5522686"/>
              <a:gd name="connsiteX3" fmla="*/ 5531084 w 5531084"/>
              <a:gd name="connsiteY3" fmla="*/ 5522686 h 5522686"/>
              <a:gd name="connsiteX4" fmla="*/ 5531084 w 5531084"/>
              <a:gd name="connsiteY4" fmla="*/ 5522686 h 5522686"/>
              <a:gd name="connsiteX5" fmla="*/ 8399 w 5531084"/>
              <a:gd name="connsiteY5" fmla="*/ 5522686 h 5522686"/>
              <a:gd name="connsiteX6" fmla="*/ 8399 w 5531084"/>
              <a:gd name="connsiteY6" fmla="*/ 5522686 h 5522686"/>
              <a:gd name="connsiteX7" fmla="*/ 8399 w 5531084"/>
              <a:gd name="connsiteY7" fmla="*/ 1675362 h 5522686"/>
              <a:gd name="connsiteX8" fmla="*/ 1683761 w 5531084"/>
              <a:gd name="connsiteY8" fmla="*/ 0 h 5522686"/>
              <a:gd name="connsiteX0" fmla="*/ 1683761 w 5531084"/>
              <a:gd name="connsiteY0" fmla="*/ 322423 h 5845109"/>
              <a:gd name="connsiteX1" fmla="*/ 3855722 w 5531084"/>
              <a:gd name="connsiteY1" fmla="*/ 322423 h 5845109"/>
              <a:gd name="connsiteX2" fmla="*/ 5531084 w 5531084"/>
              <a:gd name="connsiteY2" fmla="*/ 1997785 h 5845109"/>
              <a:gd name="connsiteX3" fmla="*/ 5531084 w 5531084"/>
              <a:gd name="connsiteY3" fmla="*/ 5845109 h 5845109"/>
              <a:gd name="connsiteX4" fmla="*/ 5531084 w 5531084"/>
              <a:gd name="connsiteY4" fmla="*/ 5845109 h 5845109"/>
              <a:gd name="connsiteX5" fmla="*/ 8399 w 5531084"/>
              <a:gd name="connsiteY5" fmla="*/ 5845109 h 5845109"/>
              <a:gd name="connsiteX6" fmla="*/ 8399 w 5531084"/>
              <a:gd name="connsiteY6" fmla="*/ 5845109 h 5845109"/>
              <a:gd name="connsiteX7" fmla="*/ 8399 w 5531084"/>
              <a:gd name="connsiteY7" fmla="*/ 1997785 h 5845109"/>
              <a:gd name="connsiteX8" fmla="*/ 1683761 w 5531084"/>
              <a:gd name="connsiteY8" fmla="*/ 322423 h 5845109"/>
              <a:gd name="connsiteX0" fmla="*/ 1683761 w 5531084"/>
              <a:gd name="connsiteY0" fmla="*/ 418840 h 5941526"/>
              <a:gd name="connsiteX1" fmla="*/ 3855722 w 5531084"/>
              <a:gd name="connsiteY1" fmla="*/ 418840 h 5941526"/>
              <a:gd name="connsiteX2" fmla="*/ 5531084 w 5531084"/>
              <a:gd name="connsiteY2" fmla="*/ 2094202 h 5941526"/>
              <a:gd name="connsiteX3" fmla="*/ 5531084 w 5531084"/>
              <a:gd name="connsiteY3" fmla="*/ 5941526 h 5941526"/>
              <a:gd name="connsiteX4" fmla="*/ 5531084 w 5531084"/>
              <a:gd name="connsiteY4" fmla="*/ 5941526 h 5941526"/>
              <a:gd name="connsiteX5" fmla="*/ 8399 w 5531084"/>
              <a:gd name="connsiteY5" fmla="*/ 5941526 h 5941526"/>
              <a:gd name="connsiteX6" fmla="*/ 8399 w 5531084"/>
              <a:gd name="connsiteY6" fmla="*/ 5941526 h 5941526"/>
              <a:gd name="connsiteX7" fmla="*/ 8399 w 5531084"/>
              <a:gd name="connsiteY7" fmla="*/ 2094202 h 5941526"/>
              <a:gd name="connsiteX8" fmla="*/ 1683761 w 5531084"/>
              <a:gd name="connsiteY8" fmla="*/ 418840 h 5941526"/>
              <a:gd name="connsiteX0" fmla="*/ 1683761 w 5531084"/>
              <a:gd name="connsiteY0" fmla="*/ 418840 h 5941526"/>
              <a:gd name="connsiteX1" fmla="*/ 3855722 w 5531084"/>
              <a:gd name="connsiteY1" fmla="*/ 418840 h 5941526"/>
              <a:gd name="connsiteX2" fmla="*/ 5531084 w 5531084"/>
              <a:gd name="connsiteY2" fmla="*/ 2094202 h 5941526"/>
              <a:gd name="connsiteX3" fmla="*/ 5531084 w 5531084"/>
              <a:gd name="connsiteY3" fmla="*/ 5941526 h 5941526"/>
              <a:gd name="connsiteX4" fmla="*/ 5531084 w 5531084"/>
              <a:gd name="connsiteY4" fmla="*/ 5941526 h 5941526"/>
              <a:gd name="connsiteX5" fmla="*/ 8399 w 5531084"/>
              <a:gd name="connsiteY5" fmla="*/ 5941526 h 5941526"/>
              <a:gd name="connsiteX6" fmla="*/ 8399 w 5531084"/>
              <a:gd name="connsiteY6" fmla="*/ 5941526 h 5941526"/>
              <a:gd name="connsiteX7" fmla="*/ 8399 w 5531084"/>
              <a:gd name="connsiteY7" fmla="*/ 2094202 h 5941526"/>
              <a:gd name="connsiteX8" fmla="*/ 1683761 w 5531084"/>
              <a:gd name="connsiteY8" fmla="*/ 418840 h 5941526"/>
              <a:gd name="connsiteX0" fmla="*/ 2552314 w 5527767"/>
              <a:gd name="connsiteY0" fmla="*/ 1531516 h 5523114"/>
              <a:gd name="connsiteX1" fmla="*/ 3852405 w 5527767"/>
              <a:gd name="connsiteY1" fmla="*/ 428 h 5523114"/>
              <a:gd name="connsiteX2" fmla="*/ 5527767 w 5527767"/>
              <a:gd name="connsiteY2" fmla="*/ 1675790 h 5523114"/>
              <a:gd name="connsiteX3" fmla="*/ 5527767 w 5527767"/>
              <a:gd name="connsiteY3" fmla="*/ 5523114 h 5523114"/>
              <a:gd name="connsiteX4" fmla="*/ 5527767 w 5527767"/>
              <a:gd name="connsiteY4" fmla="*/ 5523114 h 5523114"/>
              <a:gd name="connsiteX5" fmla="*/ 5082 w 5527767"/>
              <a:gd name="connsiteY5" fmla="*/ 5523114 h 5523114"/>
              <a:gd name="connsiteX6" fmla="*/ 5082 w 5527767"/>
              <a:gd name="connsiteY6" fmla="*/ 5523114 h 5523114"/>
              <a:gd name="connsiteX7" fmla="*/ 5082 w 5527767"/>
              <a:gd name="connsiteY7" fmla="*/ 1675790 h 5523114"/>
              <a:gd name="connsiteX8" fmla="*/ 2552314 w 5527767"/>
              <a:gd name="connsiteY8" fmla="*/ 1531516 h 5523114"/>
              <a:gd name="connsiteX0" fmla="*/ 2547232 w 5522685"/>
              <a:gd name="connsiteY0" fmla="*/ 1531485 h 5523083"/>
              <a:gd name="connsiteX1" fmla="*/ 3847323 w 5522685"/>
              <a:gd name="connsiteY1" fmla="*/ 397 h 5523083"/>
              <a:gd name="connsiteX2" fmla="*/ 5522685 w 5522685"/>
              <a:gd name="connsiteY2" fmla="*/ 1675759 h 5523083"/>
              <a:gd name="connsiteX3" fmla="*/ 5522685 w 5522685"/>
              <a:gd name="connsiteY3" fmla="*/ 5523083 h 5523083"/>
              <a:gd name="connsiteX4" fmla="*/ 5522685 w 5522685"/>
              <a:gd name="connsiteY4" fmla="*/ 5523083 h 5523083"/>
              <a:gd name="connsiteX5" fmla="*/ 0 w 5522685"/>
              <a:gd name="connsiteY5" fmla="*/ 5523083 h 5523083"/>
              <a:gd name="connsiteX6" fmla="*/ 0 w 5522685"/>
              <a:gd name="connsiteY6" fmla="*/ 5523083 h 5523083"/>
              <a:gd name="connsiteX7" fmla="*/ 414673 w 5522685"/>
              <a:gd name="connsiteY7" fmla="*/ 2877238 h 5523083"/>
              <a:gd name="connsiteX8" fmla="*/ 2547232 w 5522685"/>
              <a:gd name="connsiteY8" fmla="*/ 1531485 h 5523083"/>
              <a:gd name="connsiteX0" fmla="*/ 2547232 w 5522685"/>
              <a:gd name="connsiteY0" fmla="*/ 24325 h 4015923"/>
              <a:gd name="connsiteX1" fmla="*/ 4006812 w 5522685"/>
              <a:gd name="connsiteY1" fmla="*/ 757972 h 4015923"/>
              <a:gd name="connsiteX2" fmla="*/ 5522685 w 5522685"/>
              <a:gd name="connsiteY2" fmla="*/ 168599 h 4015923"/>
              <a:gd name="connsiteX3" fmla="*/ 5522685 w 5522685"/>
              <a:gd name="connsiteY3" fmla="*/ 4015923 h 4015923"/>
              <a:gd name="connsiteX4" fmla="*/ 5522685 w 5522685"/>
              <a:gd name="connsiteY4" fmla="*/ 4015923 h 4015923"/>
              <a:gd name="connsiteX5" fmla="*/ 0 w 5522685"/>
              <a:gd name="connsiteY5" fmla="*/ 4015923 h 4015923"/>
              <a:gd name="connsiteX6" fmla="*/ 0 w 5522685"/>
              <a:gd name="connsiteY6" fmla="*/ 4015923 h 4015923"/>
              <a:gd name="connsiteX7" fmla="*/ 414673 w 5522685"/>
              <a:gd name="connsiteY7" fmla="*/ 1370078 h 4015923"/>
              <a:gd name="connsiteX8" fmla="*/ 2547232 w 5522685"/>
              <a:gd name="connsiteY8" fmla="*/ 24325 h 4015923"/>
              <a:gd name="connsiteX0" fmla="*/ 2547232 w 5522685"/>
              <a:gd name="connsiteY0" fmla="*/ 123143 h 4114741"/>
              <a:gd name="connsiteX1" fmla="*/ 4006812 w 5522685"/>
              <a:gd name="connsiteY1" fmla="*/ 856790 h 4114741"/>
              <a:gd name="connsiteX2" fmla="*/ 5522685 w 5522685"/>
              <a:gd name="connsiteY2" fmla="*/ 267417 h 4114741"/>
              <a:gd name="connsiteX3" fmla="*/ 5522685 w 5522685"/>
              <a:gd name="connsiteY3" fmla="*/ 4114741 h 4114741"/>
              <a:gd name="connsiteX4" fmla="*/ 5522685 w 5522685"/>
              <a:gd name="connsiteY4" fmla="*/ 4114741 h 4114741"/>
              <a:gd name="connsiteX5" fmla="*/ 0 w 5522685"/>
              <a:gd name="connsiteY5" fmla="*/ 4114741 h 4114741"/>
              <a:gd name="connsiteX6" fmla="*/ 0 w 5522685"/>
              <a:gd name="connsiteY6" fmla="*/ 4114741 h 4114741"/>
              <a:gd name="connsiteX7" fmla="*/ 414673 w 5522685"/>
              <a:gd name="connsiteY7" fmla="*/ 1468896 h 4114741"/>
              <a:gd name="connsiteX8" fmla="*/ 2547232 w 5522685"/>
              <a:gd name="connsiteY8" fmla="*/ 123143 h 4114741"/>
              <a:gd name="connsiteX0" fmla="*/ 2547232 w 5522685"/>
              <a:gd name="connsiteY0" fmla="*/ 123143 h 4114741"/>
              <a:gd name="connsiteX1" fmla="*/ 4006812 w 5522685"/>
              <a:gd name="connsiteY1" fmla="*/ 856790 h 4114741"/>
              <a:gd name="connsiteX2" fmla="*/ 5522685 w 5522685"/>
              <a:gd name="connsiteY2" fmla="*/ 267417 h 4114741"/>
              <a:gd name="connsiteX3" fmla="*/ 5522685 w 5522685"/>
              <a:gd name="connsiteY3" fmla="*/ 4114741 h 4114741"/>
              <a:gd name="connsiteX4" fmla="*/ 5522685 w 5522685"/>
              <a:gd name="connsiteY4" fmla="*/ 4114741 h 4114741"/>
              <a:gd name="connsiteX5" fmla="*/ 0 w 5522685"/>
              <a:gd name="connsiteY5" fmla="*/ 4114741 h 4114741"/>
              <a:gd name="connsiteX6" fmla="*/ 0 w 5522685"/>
              <a:gd name="connsiteY6" fmla="*/ 4114741 h 4114741"/>
              <a:gd name="connsiteX7" fmla="*/ 414673 w 5522685"/>
              <a:gd name="connsiteY7" fmla="*/ 1468896 h 4114741"/>
              <a:gd name="connsiteX8" fmla="*/ 2547232 w 5522685"/>
              <a:gd name="connsiteY8" fmla="*/ 123143 h 4114741"/>
              <a:gd name="connsiteX0" fmla="*/ 2547232 w 5522685"/>
              <a:gd name="connsiteY0" fmla="*/ 139792 h 4131390"/>
              <a:gd name="connsiteX1" fmla="*/ 4006812 w 5522685"/>
              <a:gd name="connsiteY1" fmla="*/ 873439 h 4131390"/>
              <a:gd name="connsiteX2" fmla="*/ 5522685 w 5522685"/>
              <a:gd name="connsiteY2" fmla="*/ 1496178 h 4131390"/>
              <a:gd name="connsiteX3" fmla="*/ 5522685 w 5522685"/>
              <a:gd name="connsiteY3" fmla="*/ 4131390 h 4131390"/>
              <a:gd name="connsiteX4" fmla="*/ 5522685 w 5522685"/>
              <a:gd name="connsiteY4" fmla="*/ 4131390 h 4131390"/>
              <a:gd name="connsiteX5" fmla="*/ 0 w 5522685"/>
              <a:gd name="connsiteY5" fmla="*/ 4131390 h 4131390"/>
              <a:gd name="connsiteX6" fmla="*/ 0 w 5522685"/>
              <a:gd name="connsiteY6" fmla="*/ 4131390 h 4131390"/>
              <a:gd name="connsiteX7" fmla="*/ 414673 w 5522685"/>
              <a:gd name="connsiteY7" fmla="*/ 1485545 h 4131390"/>
              <a:gd name="connsiteX8" fmla="*/ 2547232 w 5522685"/>
              <a:gd name="connsiteY8" fmla="*/ 139792 h 4131390"/>
              <a:gd name="connsiteX0" fmla="*/ 2547232 w 5522688"/>
              <a:gd name="connsiteY0" fmla="*/ 128843 h 4120441"/>
              <a:gd name="connsiteX1" fmla="*/ 4006812 w 5522688"/>
              <a:gd name="connsiteY1" fmla="*/ 862490 h 4120441"/>
              <a:gd name="connsiteX2" fmla="*/ 5522688 w 5522688"/>
              <a:gd name="connsiteY2" fmla="*/ 719685 h 4120441"/>
              <a:gd name="connsiteX3" fmla="*/ 5522685 w 5522688"/>
              <a:gd name="connsiteY3" fmla="*/ 4120441 h 4120441"/>
              <a:gd name="connsiteX4" fmla="*/ 5522685 w 5522688"/>
              <a:gd name="connsiteY4" fmla="*/ 4120441 h 4120441"/>
              <a:gd name="connsiteX5" fmla="*/ 0 w 5522688"/>
              <a:gd name="connsiteY5" fmla="*/ 4120441 h 4120441"/>
              <a:gd name="connsiteX6" fmla="*/ 0 w 5522688"/>
              <a:gd name="connsiteY6" fmla="*/ 4120441 h 4120441"/>
              <a:gd name="connsiteX7" fmla="*/ 414673 w 5522688"/>
              <a:gd name="connsiteY7" fmla="*/ 1474596 h 4120441"/>
              <a:gd name="connsiteX8" fmla="*/ 2547232 w 5522688"/>
              <a:gd name="connsiteY8" fmla="*/ 128843 h 4120441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71821 h 4163419"/>
              <a:gd name="connsiteX1" fmla="*/ 4006812 w 5522691"/>
              <a:gd name="connsiteY1" fmla="*/ 905468 h 4163419"/>
              <a:gd name="connsiteX2" fmla="*/ 5522691 w 5522691"/>
              <a:gd name="connsiteY2" fmla="*/ 2187426 h 4163419"/>
              <a:gd name="connsiteX3" fmla="*/ 5522685 w 5522691"/>
              <a:gd name="connsiteY3" fmla="*/ 4163419 h 4163419"/>
              <a:gd name="connsiteX4" fmla="*/ 5522685 w 5522691"/>
              <a:gd name="connsiteY4" fmla="*/ 4163419 h 4163419"/>
              <a:gd name="connsiteX5" fmla="*/ 0 w 5522691"/>
              <a:gd name="connsiteY5" fmla="*/ 4163419 h 4163419"/>
              <a:gd name="connsiteX6" fmla="*/ 0 w 5522691"/>
              <a:gd name="connsiteY6" fmla="*/ 4163419 h 4163419"/>
              <a:gd name="connsiteX7" fmla="*/ 414673 w 5522691"/>
              <a:gd name="connsiteY7" fmla="*/ 1517574 h 4163419"/>
              <a:gd name="connsiteX8" fmla="*/ 2547232 w 5522691"/>
              <a:gd name="connsiteY8" fmla="*/ 171821 h 4163419"/>
              <a:gd name="connsiteX0" fmla="*/ 2547232 w 5522691"/>
              <a:gd name="connsiteY0" fmla="*/ 171821 h 4163419"/>
              <a:gd name="connsiteX1" fmla="*/ 4006812 w 5522691"/>
              <a:gd name="connsiteY1" fmla="*/ 905468 h 4163419"/>
              <a:gd name="connsiteX2" fmla="*/ 5522691 w 5522691"/>
              <a:gd name="connsiteY2" fmla="*/ 2187426 h 4163419"/>
              <a:gd name="connsiteX3" fmla="*/ 5522685 w 5522691"/>
              <a:gd name="connsiteY3" fmla="*/ 4163419 h 4163419"/>
              <a:gd name="connsiteX4" fmla="*/ 5522685 w 5522691"/>
              <a:gd name="connsiteY4" fmla="*/ 4163419 h 4163419"/>
              <a:gd name="connsiteX5" fmla="*/ 0 w 5522691"/>
              <a:gd name="connsiteY5" fmla="*/ 4163419 h 4163419"/>
              <a:gd name="connsiteX6" fmla="*/ 0 w 5522691"/>
              <a:gd name="connsiteY6" fmla="*/ 4163419 h 4163419"/>
              <a:gd name="connsiteX7" fmla="*/ 414673 w 5522691"/>
              <a:gd name="connsiteY7" fmla="*/ 1517574 h 4163419"/>
              <a:gd name="connsiteX8" fmla="*/ 2547232 w 5522691"/>
              <a:gd name="connsiteY8" fmla="*/ 171821 h 4163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2691" h="4163419">
                <a:moveTo>
                  <a:pt x="2547232" y="171821"/>
                </a:moveTo>
                <a:cubicBezTo>
                  <a:pt x="3135290" y="-334235"/>
                  <a:pt x="3659757" y="388780"/>
                  <a:pt x="4006812" y="905468"/>
                </a:cubicBezTo>
                <a:cubicBezTo>
                  <a:pt x="4353867" y="1422156"/>
                  <a:pt x="5522692" y="1053841"/>
                  <a:pt x="5522691" y="2187426"/>
                </a:cubicBezTo>
                <a:cubicBezTo>
                  <a:pt x="5522690" y="3321011"/>
                  <a:pt x="5522686" y="3029834"/>
                  <a:pt x="5522685" y="4163419"/>
                </a:cubicBezTo>
                <a:lnTo>
                  <a:pt x="5522685" y="4163419"/>
                </a:lnTo>
                <a:lnTo>
                  <a:pt x="0" y="4163419"/>
                </a:lnTo>
                <a:lnTo>
                  <a:pt x="0" y="4163419"/>
                </a:lnTo>
                <a:cubicBezTo>
                  <a:pt x="69112" y="3722445"/>
                  <a:pt x="536699" y="3394466"/>
                  <a:pt x="414673" y="1517574"/>
                </a:cubicBezTo>
                <a:cubicBezTo>
                  <a:pt x="292647" y="-359318"/>
                  <a:pt x="1959174" y="677877"/>
                  <a:pt x="2547232" y="171821"/>
                </a:cubicBezTo>
                <a:close/>
              </a:path>
            </a:pathLst>
          </a:cu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E024FD5-AFB6-4598-85B2-A54DEE2ABDA6}"/>
              </a:ext>
            </a:extLst>
          </p:cNvPr>
          <p:cNvGrpSpPr/>
          <p:nvPr/>
        </p:nvGrpSpPr>
        <p:grpSpPr>
          <a:xfrm>
            <a:off x="906246" y="2074460"/>
            <a:ext cx="3923801" cy="3739347"/>
            <a:chOff x="909505" y="2074460"/>
            <a:chExt cx="3923801" cy="373934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ED8C612-ABAE-47E6-A5D1-C97BA5AD795A}"/>
                </a:ext>
              </a:extLst>
            </p:cNvPr>
            <p:cNvSpPr/>
            <p:nvPr/>
          </p:nvSpPr>
          <p:spPr>
            <a:xfrm>
              <a:off x="909505" y="2074460"/>
              <a:ext cx="3700733" cy="370073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06" name="Graphic 179">
              <a:extLst>
                <a:ext uri="{FF2B5EF4-FFF2-40B4-BE49-F238E27FC236}">
                  <a16:creationId xmlns:a16="http://schemas.microsoft.com/office/drawing/2014/main" id="{24F4F156-EC6F-4DE6-B234-047C362A06D1}"/>
                </a:ext>
              </a:extLst>
            </p:cNvPr>
            <p:cNvGrpSpPr/>
            <p:nvPr/>
          </p:nvGrpSpPr>
          <p:grpSpPr>
            <a:xfrm>
              <a:off x="1279266" y="2265003"/>
              <a:ext cx="3517193" cy="3536967"/>
              <a:chOff x="6024114" y="-2437811"/>
              <a:chExt cx="2315816" cy="2328836"/>
            </a:xfrm>
          </p:grpSpPr>
          <p:grpSp>
            <p:nvGrpSpPr>
              <p:cNvPr id="975" name="Graphic 179">
                <a:extLst>
                  <a:ext uri="{FF2B5EF4-FFF2-40B4-BE49-F238E27FC236}">
                    <a16:creationId xmlns:a16="http://schemas.microsoft.com/office/drawing/2014/main" id="{9F2A5DA4-8615-41BC-9191-B06E76C53BFE}"/>
                  </a:ext>
                </a:extLst>
              </p:cNvPr>
              <p:cNvGrpSpPr/>
              <p:nvPr/>
            </p:nvGrpSpPr>
            <p:grpSpPr>
              <a:xfrm>
                <a:off x="7152252" y="-751054"/>
                <a:ext cx="440649" cy="642079"/>
                <a:chOff x="7152252" y="-751054"/>
                <a:chExt cx="440649" cy="642079"/>
              </a:xfrm>
            </p:grpSpPr>
            <p:sp>
              <p:nvSpPr>
                <p:cNvPr id="1000" name="Freeform: Shape 999">
                  <a:extLst>
                    <a:ext uri="{FF2B5EF4-FFF2-40B4-BE49-F238E27FC236}">
                      <a16:creationId xmlns:a16="http://schemas.microsoft.com/office/drawing/2014/main" id="{F98D4AB3-BCD3-4B0C-B0BE-FE5DD3D4FE1D}"/>
                    </a:ext>
                  </a:extLst>
                </p:cNvPr>
                <p:cNvSpPr/>
                <p:nvPr/>
              </p:nvSpPr>
              <p:spPr>
                <a:xfrm>
                  <a:off x="7152252" y="-751054"/>
                  <a:ext cx="440649" cy="642079"/>
                </a:xfrm>
                <a:custGeom>
                  <a:avLst/>
                  <a:gdLst>
                    <a:gd name="connsiteX0" fmla="*/ 150555 w 440649"/>
                    <a:gd name="connsiteY0" fmla="*/ 638599 h 642079"/>
                    <a:gd name="connsiteX1" fmla="*/ 4092 w 440649"/>
                    <a:gd name="connsiteY1" fmla="*/ 386843 h 642079"/>
                    <a:gd name="connsiteX2" fmla="*/ 2492 w 440649"/>
                    <a:gd name="connsiteY2" fmla="*/ 337231 h 642079"/>
                    <a:gd name="connsiteX3" fmla="*/ 40570 w 440649"/>
                    <a:gd name="connsiteY3" fmla="*/ 312839 h 642079"/>
                    <a:gd name="connsiteX4" fmla="*/ 70480 w 440649"/>
                    <a:gd name="connsiteY4" fmla="*/ 340597 h 642079"/>
                    <a:gd name="connsiteX5" fmla="*/ 115567 w 440649"/>
                    <a:gd name="connsiteY5" fmla="*/ 371115 h 642079"/>
                    <a:gd name="connsiteX6" fmla="*/ 150058 w 440649"/>
                    <a:gd name="connsiteY6" fmla="*/ 368466 h 642079"/>
                    <a:gd name="connsiteX7" fmla="*/ 158446 w 440649"/>
                    <a:gd name="connsiteY7" fmla="*/ 321724 h 642079"/>
                    <a:gd name="connsiteX8" fmla="*/ 142277 w 440649"/>
                    <a:gd name="connsiteY8" fmla="*/ 229785 h 642079"/>
                    <a:gd name="connsiteX9" fmla="*/ 138966 w 440649"/>
                    <a:gd name="connsiteY9" fmla="*/ 180062 h 642079"/>
                    <a:gd name="connsiteX10" fmla="*/ 165234 w 440649"/>
                    <a:gd name="connsiteY10" fmla="*/ 140108 h 642079"/>
                    <a:gd name="connsiteX11" fmla="*/ 207065 w 440649"/>
                    <a:gd name="connsiteY11" fmla="*/ 154401 h 642079"/>
                    <a:gd name="connsiteX12" fmla="*/ 210983 w 440649"/>
                    <a:gd name="connsiteY12" fmla="*/ 174820 h 642079"/>
                    <a:gd name="connsiteX13" fmla="*/ 223896 w 440649"/>
                    <a:gd name="connsiteY13" fmla="*/ 189389 h 642079"/>
                    <a:gd name="connsiteX14" fmla="*/ 240673 w 440649"/>
                    <a:gd name="connsiteY14" fmla="*/ 178793 h 642079"/>
                    <a:gd name="connsiteX15" fmla="*/ 269921 w 440649"/>
                    <a:gd name="connsiteY15" fmla="*/ 112846 h 642079"/>
                    <a:gd name="connsiteX16" fmla="*/ 296189 w 440649"/>
                    <a:gd name="connsiteY16" fmla="*/ 45410 h 642079"/>
                    <a:gd name="connsiteX17" fmla="*/ 350768 w 440649"/>
                    <a:gd name="connsiteY17" fmla="*/ 1371 h 642079"/>
                    <a:gd name="connsiteX18" fmla="*/ 411582 w 440649"/>
                    <a:gd name="connsiteY18" fmla="*/ 28468 h 642079"/>
                    <a:gd name="connsiteX19" fmla="*/ 400380 w 440649"/>
                    <a:gd name="connsiteY19" fmla="*/ 97781 h 642079"/>
                    <a:gd name="connsiteX20" fmla="*/ 336199 w 440649"/>
                    <a:gd name="connsiteY20" fmla="*/ 183649 h 642079"/>
                    <a:gd name="connsiteX21" fmla="*/ 325714 w 440649"/>
                    <a:gd name="connsiteY21" fmla="*/ 199598 h 642079"/>
                    <a:gd name="connsiteX22" fmla="*/ 347678 w 440649"/>
                    <a:gd name="connsiteY22" fmla="*/ 222114 h 642079"/>
                    <a:gd name="connsiteX23" fmla="*/ 386804 w 440649"/>
                    <a:gd name="connsiteY23" fmla="*/ 219962 h 642079"/>
                    <a:gd name="connsiteX24" fmla="*/ 421681 w 440649"/>
                    <a:gd name="connsiteY24" fmla="*/ 233924 h 642079"/>
                    <a:gd name="connsiteX25" fmla="*/ 408271 w 440649"/>
                    <a:gd name="connsiteY25" fmla="*/ 283535 h 642079"/>
                    <a:gd name="connsiteX26" fmla="*/ 324224 w 440649"/>
                    <a:gd name="connsiteY26" fmla="*/ 353069 h 642079"/>
                    <a:gd name="connsiteX27" fmla="*/ 292437 w 440649"/>
                    <a:gd name="connsiteY27" fmla="*/ 375750 h 642079"/>
                    <a:gd name="connsiteX28" fmla="*/ 288574 w 440649"/>
                    <a:gd name="connsiteY28" fmla="*/ 412283 h 642079"/>
                    <a:gd name="connsiteX29" fmla="*/ 324500 w 440649"/>
                    <a:gd name="connsiteY29" fmla="*/ 419568 h 642079"/>
                    <a:gd name="connsiteX30" fmla="*/ 358273 w 440649"/>
                    <a:gd name="connsiteY30" fmla="*/ 399646 h 642079"/>
                    <a:gd name="connsiteX31" fmla="*/ 426703 w 440649"/>
                    <a:gd name="connsiteY31" fmla="*/ 400970 h 642079"/>
                    <a:gd name="connsiteX32" fmla="*/ 440058 w 440649"/>
                    <a:gd name="connsiteY32" fmla="*/ 446112 h 642079"/>
                    <a:gd name="connsiteX33" fmla="*/ 422013 w 440649"/>
                    <a:gd name="connsiteY33" fmla="*/ 491033 h 642079"/>
                    <a:gd name="connsiteX34" fmla="*/ 302922 w 440649"/>
                    <a:gd name="connsiteY34" fmla="*/ 608854 h 642079"/>
                    <a:gd name="connsiteX35" fmla="*/ 150555 w 440649"/>
                    <a:gd name="connsiteY35" fmla="*/ 638599 h 642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440649" h="642079">
                      <a:moveTo>
                        <a:pt x="150555" y="638599"/>
                      </a:moveTo>
                      <a:cubicBezTo>
                        <a:pt x="55470" y="593568"/>
                        <a:pt x="17502" y="486508"/>
                        <a:pt x="4092" y="386843"/>
                      </a:cubicBezTo>
                      <a:cubicBezTo>
                        <a:pt x="1830" y="370177"/>
                        <a:pt x="-2916" y="353069"/>
                        <a:pt x="2492" y="337231"/>
                      </a:cubicBezTo>
                      <a:cubicBezTo>
                        <a:pt x="7900" y="321393"/>
                        <a:pt x="24621" y="308369"/>
                        <a:pt x="40570" y="312839"/>
                      </a:cubicBezTo>
                      <a:cubicBezTo>
                        <a:pt x="53814" y="316536"/>
                        <a:pt x="61596" y="329946"/>
                        <a:pt x="70480" y="340597"/>
                      </a:cubicBezTo>
                      <a:cubicBezTo>
                        <a:pt x="82290" y="354780"/>
                        <a:pt x="98128" y="365486"/>
                        <a:pt x="115567" y="371115"/>
                      </a:cubicBezTo>
                      <a:cubicBezTo>
                        <a:pt x="127046" y="374812"/>
                        <a:pt x="140621" y="375916"/>
                        <a:pt x="150058" y="368466"/>
                      </a:cubicBezTo>
                      <a:cubicBezTo>
                        <a:pt x="163027" y="358201"/>
                        <a:pt x="161371" y="338169"/>
                        <a:pt x="158446" y="321724"/>
                      </a:cubicBezTo>
                      <a:cubicBezTo>
                        <a:pt x="153038" y="291096"/>
                        <a:pt x="147685" y="260413"/>
                        <a:pt x="142277" y="229785"/>
                      </a:cubicBezTo>
                      <a:cubicBezTo>
                        <a:pt x="139407" y="213339"/>
                        <a:pt x="136482" y="196563"/>
                        <a:pt x="138966" y="180062"/>
                      </a:cubicBezTo>
                      <a:cubicBezTo>
                        <a:pt x="141449" y="163562"/>
                        <a:pt x="150279" y="147172"/>
                        <a:pt x="165234" y="140108"/>
                      </a:cubicBezTo>
                      <a:cubicBezTo>
                        <a:pt x="180134" y="133099"/>
                        <a:pt x="201049" y="138839"/>
                        <a:pt x="207065" y="154401"/>
                      </a:cubicBezTo>
                      <a:cubicBezTo>
                        <a:pt x="209603" y="160858"/>
                        <a:pt x="209383" y="168087"/>
                        <a:pt x="210983" y="174820"/>
                      </a:cubicBezTo>
                      <a:cubicBezTo>
                        <a:pt x="212583" y="181552"/>
                        <a:pt x="217053" y="188616"/>
                        <a:pt x="223896" y="189389"/>
                      </a:cubicBezTo>
                      <a:cubicBezTo>
                        <a:pt x="230795" y="190216"/>
                        <a:pt x="236589" y="184422"/>
                        <a:pt x="240673" y="178793"/>
                      </a:cubicBezTo>
                      <a:cubicBezTo>
                        <a:pt x="254855" y="159313"/>
                        <a:pt x="262747" y="135914"/>
                        <a:pt x="269921" y="112846"/>
                      </a:cubicBezTo>
                      <a:cubicBezTo>
                        <a:pt x="277095" y="89724"/>
                        <a:pt x="283883" y="66159"/>
                        <a:pt x="296189" y="45410"/>
                      </a:cubicBezTo>
                      <a:cubicBezTo>
                        <a:pt x="308551" y="24660"/>
                        <a:pt x="327424" y="6724"/>
                        <a:pt x="350768" y="1371"/>
                      </a:cubicBezTo>
                      <a:cubicBezTo>
                        <a:pt x="374112" y="-3926"/>
                        <a:pt x="401704" y="6338"/>
                        <a:pt x="411582" y="28468"/>
                      </a:cubicBezTo>
                      <a:cubicBezTo>
                        <a:pt x="421461" y="50652"/>
                        <a:pt x="411914" y="76479"/>
                        <a:pt x="400380" y="97781"/>
                      </a:cubicBezTo>
                      <a:cubicBezTo>
                        <a:pt x="383217" y="129347"/>
                        <a:pt x="361529" y="158374"/>
                        <a:pt x="336199" y="183649"/>
                      </a:cubicBezTo>
                      <a:cubicBezTo>
                        <a:pt x="331619" y="188230"/>
                        <a:pt x="326707" y="193141"/>
                        <a:pt x="325714" y="199598"/>
                      </a:cubicBezTo>
                      <a:cubicBezTo>
                        <a:pt x="324003" y="211187"/>
                        <a:pt x="336254" y="220293"/>
                        <a:pt x="347678" y="222114"/>
                      </a:cubicBezTo>
                      <a:cubicBezTo>
                        <a:pt x="360646" y="224101"/>
                        <a:pt x="373725" y="220624"/>
                        <a:pt x="386804" y="219962"/>
                      </a:cubicBezTo>
                      <a:cubicBezTo>
                        <a:pt x="399883" y="219299"/>
                        <a:pt x="414783" y="222610"/>
                        <a:pt x="421681" y="233924"/>
                      </a:cubicBezTo>
                      <a:cubicBezTo>
                        <a:pt x="431284" y="249596"/>
                        <a:pt x="420191" y="269629"/>
                        <a:pt x="408271" y="283535"/>
                      </a:cubicBezTo>
                      <a:cubicBezTo>
                        <a:pt x="384486" y="311349"/>
                        <a:pt x="355900" y="334968"/>
                        <a:pt x="324224" y="353069"/>
                      </a:cubicBezTo>
                      <a:cubicBezTo>
                        <a:pt x="312855" y="359526"/>
                        <a:pt x="300770" y="365596"/>
                        <a:pt x="292437" y="375750"/>
                      </a:cubicBezTo>
                      <a:cubicBezTo>
                        <a:pt x="284104" y="385905"/>
                        <a:pt x="280737" y="401688"/>
                        <a:pt x="288574" y="412283"/>
                      </a:cubicBezTo>
                      <a:cubicBezTo>
                        <a:pt x="296465" y="422879"/>
                        <a:pt x="312193" y="424038"/>
                        <a:pt x="324500" y="419568"/>
                      </a:cubicBezTo>
                      <a:cubicBezTo>
                        <a:pt x="336806" y="415098"/>
                        <a:pt x="346960" y="406268"/>
                        <a:pt x="358273" y="399646"/>
                      </a:cubicBezTo>
                      <a:cubicBezTo>
                        <a:pt x="379465" y="387284"/>
                        <a:pt x="408934" y="383918"/>
                        <a:pt x="426703" y="400970"/>
                      </a:cubicBezTo>
                      <a:cubicBezTo>
                        <a:pt x="438403" y="412228"/>
                        <a:pt x="442266" y="429943"/>
                        <a:pt x="440058" y="446112"/>
                      </a:cubicBezTo>
                      <a:cubicBezTo>
                        <a:pt x="437851" y="462226"/>
                        <a:pt x="430290" y="477071"/>
                        <a:pt x="422013" y="491033"/>
                      </a:cubicBezTo>
                      <a:cubicBezTo>
                        <a:pt x="392930" y="539707"/>
                        <a:pt x="352313" y="581813"/>
                        <a:pt x="302922" y="608854"/>
                      </a:cubicBezTo>
                      <a:cubicBezTo>
                        <a:pt x="253697" y="635675"/>
                        <a:pt x="205906" y="648864"/>
                        <a:pt x="150555" y="638599"/>
                      </a:cubicBezTo>
                    </a:path>
                  </a:pathLst>
                </a:custGeom>
                <a:solidFill>
                  <a:srgbClr val="287192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1" name="Freeform: Shape 1000">
                  <a:extLst>
                    <a:ext uri="{FF2B5EF4-FFF2-40B4-BE49-F238E27FC236}">
                      <a16:creationId xmlns:a16="http://schemas.microsoft.com/office/drawing/2014/main" id="{F8484035-9913-43FC-A9C1-1125E8419055}"/>
                    </a:ext>
                  </a:extLst>
                </p:cNvPr>
                <p:cNvSpPr/>
                <p:nvPr/>
              </p:nvSpPr>
              <p:spPr>
                <a:xfrm>
                  <a:off x="7317873" y="-741243"/>
                  <a:ext cx="218429" cy="562565"/>
                </a:xfrm>
                <a:custGeom>
                  <a:avLst/>
                  <a:gdLst>
                    <a:gd name="connsiteX0" fmla="*/ 0 w 218429"/>
                    <a:gd name="connsiteY0" fmla="*/ 562290 h 562565"/>
                    <a:gd name="connsiteX1" fmla="*/ 31676 w 218429"/>
                    <a:gd name="connsiteY1" fmla="*/ 393587 h 562565"/>
                    <a:gd name="connsiteX2" fmla="*/ 42272 w 218429"/>
                    <a:gd name="connsiteY2" fmla="*/ 349770 h 562565"/>
                    <a:gd name="connsiteX3" fmla="*/ 53530 w 218429"/>
                    <a:gd name="connsiteY3" fmla="*/ 307443 h 562565"/>
                    <a:gd name="connsiteX4" fmla="*/ 82502 w 218429"/>
                    <a:gd name="connsiteY4" fmla="*/ 229962 h 562565"/>
                    <a:gd name="connsiteX5" fmla="*/ 113903 w 218429"/>
                    <a:gd name="connsiteY5" fmla="*/ 162139 h 562565"/>
                    <a:gd name="connsiteX6" fmla="*/ 143924 w 218429"/>
                    <a:gd name="connsiteY6" fmla="*/ 104415 h 562565"/>
                    <a:gd name="connsiteX7" fmla="*/ 196240 w 218429"/>
                    <a:gd name="connsiteY7" fmla="*/ 26272 h 562565"/>
                    <a:gd name="connsiteX8" fmla="*/ 212520 w 218429"/>
                    <a:gd name="connsiteY8" fmla="*/ 6571 h 562565"/>
                    <a:gd name="connsiteX9" fmla="*/ 216879 w 218429"/>
                    <a:gd name="connsiteY9" fmla="*/ 1604 h 562565"/>
                    <a:gd name="connsiteX10" fmla="*/ 218424 w 218429"/>
                    <a:gd name="connsiteY10" fmla="*/ 4 h 562565"/>
                    <a:gd name="connsiteX11" fmla="*/ 217100 w 218429"/>
                    <a:gd name="connsiteY11" fmla="*/ 1825 h 562565"/>
                    <a:gd name="connsiteX12" fmla="*/ 212961 w 218429"/>
                    <a:gd name="connsiteY12" fmla="*/ 7012 h 562565"/>
                    <a:gd name="connsiteX13" fmla="*/ 197178 w 218429"/>
                    <a:gd name="connsiteY13" fmla="*/ 27045 h 562565"/>
                    <a:gd name="connsiteX14" fmla="*/ 145800 w 218429"/>
                    <a:gd name="connsiteY14" fmla="*/ 105519 h 562565"/>
                    <a:gd name="connsiteX15" fmla="*/ 116166 w 218429"/>
                    <a:gd name="connsiteY15" fmla="*/ 163298 h 562565"/>
                    <a:gd name="connsiteX16" fmla="*/ 85096 w 218429"/>
                    <a:gd name="connsiteY16" fmla="*/ 231121 h 562565"/>
                    <a:gd name="connsiteX17" fmla="*/ 56400 w 218429"/>
                    <a:gd name="connsiteY17" fmla="*/ 308326 h 562565"/>
                    <a:gd name="connsiteX18" fmla="*/ 45252 w 218429"/>
                    <a:gd name="connsiteY18" fmla="*/ 350487 h 562565"/>
                    <a:gd name="connsiteX19" fmla="*/ 34712 w 218429"/>
                    <a:gd name="connsiteY19" fmla="*/ 394250 h 562565"/>
                    <a:gd name="connsiteX20" fmla="*/ 2870 w 218429"/>
                    <a:gd name="connsiteY20" fmla="*/ 562566 h 562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8429" h="562565">
                      <a:moveTo>
                        <a:pt x="0" y="562290"/>
                      </a:moveTo>
                      <a:cubicBezTo>
                        <a:pt x="6126" y="509808"/>
                        <a:pt x="17604" y="452802"/>
                        <a:pt x="31676" y="393587"/>
                      </a:cubicBezTo>
                      <a:cubicBezTo>
                        <a:pt x="35263" y="378798"/>
                        <a:pt x="38795" y="364173"/>
                        <a:pt x="42272" y="349770"/>
                      </a:cubicBezTo>
                      <a:cubicBezTo>
                        <a:pt x="45804" y="335422"/>
                        <a:pt x="49225" y="321184"/>
                        <a:pt x="53530" y="307443"/>
                      </a:cubicBezTo>
                      <a:cubicBezTo>
                        <a:pt x="61918" y="279960"/>
                        <a:pt x="72127" y="254189"/>
                        <a:pt x="82502" y="229962"/>
                      </a:cubicBezTo>
                      <a:cubicBezTo>
                        <a:pt x="92933" y="205791"/>
                        <a:pt x="103694" y="183220"/>
                        <a:pt x="113903" y="162139"/>
                      </a:cubicBezTo>
                      <a:cubicBezTo>
                        <a:pt x="124168" y="141113"/>
                        <a:pt x="134101" y="121688"/>
                        <a:pt x="143924" y="104415"/>
                      </a:cubicBezTo>
                      <a:cubicBezTo>
                        <a:pt x="163460" y="69703"/>
                        <a:pt x="182499" y="43656"/>
                        <a:pt x="196240" y="26272"/>
                      </a:cubicBezTo>
                      <a:cubicBezTo>
                        <a:pt x="203138" y="17553"/>
                        <a:pt x="208657" y="10986"/>
                        <a:pt x="212520" y="6571"/>
                      </a:cubicBezTo>
                      <a:cubicBezTo>
                        <a:pt x="214341" y="4474"/>
                        <a:pt x="215831" y="2818"/>
                        <a:pt x="216879" y="1604"/>
                      </a:cubicBezTo>
                      <a:cubicBezTo>
                        <a:pt x="217873" y="500"/>
                        <a:pt x="218424" y="-51"/>
                        <a:pt x="218424" y="4"/>
                      </a:cubicBezTo>
                      <a:cubicBezTo>
                        <a:pt x="218480" y="59"/>
                        <a:pt x="218038" y="666"/>
                        <a:pt x="217100" y="1825"/>
                      </a:cubicBezTo>
                      <a:cubicBezTo>
                        <a:pt x="216052" y="3094"/>
                        <a:pt x="214672" y="4805"/>
                        <a:pt x="212961" y="7012"/>
                      </a:cubicBezTo>
                      <a:cubicBezTo>
                        <a:pt x="209319" y="11538"/>
                        <a:pt x="203911" y="18270"/>
                        <a:pt x="197178" y="27045"/>
                      </a:cubicBezTo>
                      <a:cubicBezTo>
                        <a:pt x="183713" y="44594"/>
                        <a:pt x="165005" y="70807"/>
                        <a:pt x="145800" y="105519"/>
                      </a:cubicBezTo>
                      <a:cubicBezTo>
                        <a:pt x="136143" y="122847"/>
                        <a:pt x="126320" y="142272"/>
                        <a:pt x="116166" y="163298"/>
                      </a:cubicBezTo>
                      <a:cubicBezTo>
                        <a:pt x="106067" y="184379"/>
                        <a:pt x="95416" y="206950"/>
                        <a:pt x="85096" y="231121"/>
                      </a:cubicBezTo>
                      <a:cubicBezTo>
                        <a:pt x="74776" y="255292"/>
                        <a:pt x="64678" y="281009"/>
                        <a:pt x="56400" y="308326"/>
                      </a:cubicBezTo>
                      <a:cubicBezTo>
                        <a:pt x="52206" y="321956"/>
                        <a:pt x="48729" y="336084"/>
                        <a:pt x="45252" y="350487"/>
                      </a:cubicBezTo>
                      <a:cubicBezTo>
                        <a:pt x="41775" y="364891"/>
                        <a:pt x="38244" y="379460"/>
                        <a:pt x="34712" y="394250"/>
                      </a:cubicBezTo>
                      <a:cubicBezTo>
                        <a:pt x="20639" y="453409"/>
                        <a:pt x="9106" y="510250"/>
                        <a:pt x="2870" y="562566"/>
                      </a:cubicBezTo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2" name="Freeform: Shape 1001">
                  <a:extLst>
                    <a:ext uri="{FF2B5EF4-FFF2-40B4-BE49-F238E27FC236}">
                      <a16:creationId xmlns:a16="http://schemas.microsoft.com/office/drawing/2014/main" id="{87C90752-2FF4-4321-B647-164AFCFE4B11}"/>
                    </a:ext>
                  </a:extLst>
                </p:cNvPr>
                <p:cNvSpPr/>
                <p:nvPr/>
              </p:nvSpPr>
              <p:spPr>
                <a:xfrm>
                  <a:off x="7317519" y="-611057"/>
                  <a:ext cx="54737" cy="177037"/>
                </a:xfrm>
                <a:custGeom>
                  <a:avLst/>
                  <a:gdLst>
                    <a:gd name="connsiteX0" fmla="*/ 54711 w 54737"/>
                    <a:gd name="connsiteY0" fmla="*/ 177036 h 177037"/>
                    <a:gd name="connsiteX1" fmla="*/ 51897 w 54737"/>
                    <a:gd name="connsiteY1" fmla="*/ 170304 h 177037"/>
                    <a:gd name="connsiteX2" fmla="*/ 45550 w 54737"/>
                    <a:gd name="connsiteY2" fmla="*/ 151430 h 177037"/>
                    <a:gd name="connsiteX3" fmla="*/ 27339 w 54737"/>
                    <a:gd name="connsiteY3" fmla="*/ 88463 h 177037"/>
                    <a:gd name="connsiteX4" fmla="*/ 8576 w 54737"/>
                    <a:gd name="connsiteY4" fmla="*/ 25773 h 177037"/>
                    <a:gd name="connsiteX5" fmla="*/ 2174 w 54737"/>
                    <a:gd name="connsiteY5" fmla="*/ 7010 h 177037"/>
                    <a:gd name="connsiteX6" fmla="*/ 22 w 54737"/>
                    <a:gd name="connsiteY6" fmla="*/ 1 h 177037"/>
                    <a:gd name="connsiteX7" fmla="*/ 3278 w 54737"/>
                    <a:gd name="connsiteY7" fmla="*/ 6568 h 177037"/>
                    <a:gd name="connsiteX8" fmla="*/ 10618 w 54737"/>
                    <a:gd name="connsiteY8" fmla="*/ 25055 h 177037"/>
                    <a:gd name="connsiteX9" fmla="*/ 30264 w 54737"/>
                    <a:gd name="connsiteY9" fmla="*/ 87636 h 177037"/>
                    <a:gd name="connsiteX10" fmla="*/ 47647 w 54737"/>
                    <a:gd name="connsiteY10" fmla="*/ 150823 h 177037"/>
                    <a:gd name="connsiteX11" fmla="*/ 53055 w 54737"/>
                    <a:gd name="connsiteY11" fmla="*/ 169917 h 177037"/>
                    <a:gd name="connsiteX12" fmla="*/ 54711 w 54737"/>
                    <a:gd name="connsiteY12" fmla="*/ 177036 h 177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4737" h="177037">
                      <a:moveTo>
                        <a:pt x="54711" y="177036"/>
                      </a:moveTo>
                      <a:cubicBezTo>
                        <a:pt x="54490" y="177091"/>
                        <a:pt x="53552" y="174719"/>
                        <a:pt x="51897" y="170304"/>
                      </a:cubicBezTo>
                      <a:cubicBezTo>
                        <a:pt x="50241" y="165889"/>
                        <a:pt x="48089" y="159432"/>
                        <a:pt x="45550" y="151430"/>
                      </a:cubicBezTo>
                      <a:cubicBezTo>
                        <a:pt x="40473" y="135426"/>
                        <a:pt x="34182" y="113131"/>
                        <a:pt x="27339" y="88463"/>
                      </a:cubicBezTo>
                      <a:cubicBezTo>
                        <a:pt x="20496" y="63795"/>
                        <a:pt x="13929" y="41611"/>
                        <a:pt x="8576" y="25773"/>
                      </a:cubicBezTo>
                      <a:cubicBezTo>
                        <a:pt x="5927" y="17826"/>
                        <a:pt x="3720" y="11424"/>
                        <a:pt x="2174" y="7010"/>
                      </a:cubicBezTo>
                      <a:cubicBezTo>
                        <a:pt x="629" y="2595"/>
                        <a:pt x="-144" y="111"/>
                        <a:pt x="22" y="1"/>
                      </a:cubicBezTo>
                      <a:cubicBezTo>
                        <a:pt x="243" y="-54"/>
                        <a:pt x="1347" y="2264"/>
                        <a:pt x="3278" y="6568"/>
                      </a:cubicBezTo>
                      <a:cubicBezTo>
                        <a:pt x="5209" y="10873"/>
                        <a:pt x="7748" y="17164"/>
                        <a:pt x="10618" y="25055"/>
                      </a:cubicBezTo>
                      <a:cubicBezTo>
                        <a:pt x="16523" y="40783"/>
                        <a:pt x="23421" y="62968"/>
                        <a:pt x="30264" y="87636"/>
                      </a:cubicBezTo>
                      <a:cubicBezTo>
                        <a:pt x="36941" y="111973"/>
                        <a:pt x="43012" y="133992"/>
                        <a:pt x="47647" y="150823"/>
                      </a:cubicBezTo>
                      <a:cubicBezTo>
                        <a:pt x="49800" y="158384"/>
                        <a:pt x="51566" y="164785"/>
                        <a:pt x="53055" y="169917"/>
                      </a:cubicBezTo>
                      <a:cubicBezTo>
                        <a:pt x="54270" y="174443"/>
                        <a:pt x="54877" y="176981"/>
                        <a:pt x="54711" y="177036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3" name="Freeform: Shape 1002">
                  <a:extLst>
                    <a:ext uri="{FF2B5EF4-FFF2-40B4-BE49-F238E27FC236}">
                      <a16:creationId xmlns:a16="http://schemas.microsoft.com/office/drawing/2014/main" id="{53F6C554-0B56-4EC2-A309-A45AC5759B4C}"/>
                    </a:ext>
                  </a:extLst>
                </p:cNvPr>
                <p:cNvSpPr/>
                <p:nvPr/>
              </p:nvSpPr>
              <p:spPr>
                <a:xfrm>
                  <a:off x="7372282" y="-509456"/>
                  <a:ext cx="204852" cy="75395"/>
                </a:xfrm>
                <a:custGeom>
                  <a:avLst/>
                  <a:gdLst>
                    <a:gd name="connsiteX0" fmla="*/ 204852 w 204852"/>
                    <a:gd name="connsiteY0" fmla="*/ 52 h 75395"/>
                    <a:gd name="connsiteX1" fmla="*/ 196574 w 204852"/>
                    <a:gd name="connsiteY1" fmla="*/ 2480 h 75395"/>
                    <a:gd name="connsiteX2" fmla="*/ 174003 w 204852"/>
                    <a:gd name="connsiteY2" fmla="*/ 8605 h 75395"/>
                    <a:gd name="connsiteX3" fmla="*/ 100662 w 204852"/>
                    <a:gd name="connsiteY3" fmla="*/ 32777 h 75395"/>
                    <a:gd name="connsiteX4" fmla="*/ 29141 w 204852"/>
                    <a:gd name="connsiteY4" fmla="*/ 62080 h 75395"/>
                    <a:gd name="connsiteX5" fmla="*/ 7895 w 204852"/>
                    <a:gd name="connsiteY5" fmla="*/ 71959 h 75395"/>
                    <a:gd name="connsiteX6" fmla="*/ 3 w 204852"/>
                    <a:gd name="connsiteY6" fmla="*/ 75380 h 75395"/>
                    <a:gd name="connsiteX7" fmla="*/ 7398 w 204852"/>
                    <a:gd name="connsiteY7" fmla="*/ 70855 h 75395"/>
                    <a:gd name="connsiteX8" fmla="*/ 28314 w 204852"/>
                    <a:gd name="connsiteY8" fmla="*/ 60094 h 75395"/>
                    <a:gd name="connsiteX9" fmla="*/ 99668 w 204852"/>
                    <a:gd name="connsiteY9" fmla="*/ 29852 h 75395"/>
                    <a:gd name="connsiteX10" fmla="*/ 173507 w 204852"/>
                    <a:gd name="connsiteY10" fmla="*/ 6508 h 75395"/>
                    <a:gd name="connsiteX11" fmla="*/ 196409 w 204852"/>
                    <a:gd name="connsiteY11" fmla="*/ 1321 h 75395"/>
                    <a:gd name="connsiteX12" fmla="*/ 204852 w 204852"/>
                    <a:gd name="connsiteY12" fmla="*/ 52 h 75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4852" h="75395">
                      <a:moveTo>
                        <a:pt x="204852" y="52"/>
                      </a:moveTo>
                      <a:cubicBezTo>
                        <a:pt x="204907" y="273"/>
                        <a:pt x="201927" y="1100"/>
                        <a:pt x="196574" y="2480"/>
                      </a:cubicBezTo>
                      <a:cubicBezTo>
                        <a:pt x="191221" y="3860"/>
                        <a:pt x="183495" y="5846"/>
                        <a:pt x="174003" y="8605"/>
                      </a:cubicBezTo>
                      <a:cubicBezTo>
                        <a:pt x="154964" y="13959"/>
                        <a:pt x="128972" y="22292"/>
                        <a:pt x="100662" y="32777"/>
                      </a:cubicBezTo>
                      <a:cubicBezTo>
                        <a:pt x="72352" y="43262"/>
                        <a:pt x="47132" y="53913"/>
                        <a:pt x="29141" y="62080"/>
                      </a:cubicBezTo>
                      <a:cubicBezTo>
                        <a:pt x="20091" y="66109"/>
                        <a:pt x="12861" y="69586"/>
                        <a:pt x="7895" y="71959"/>
                      </a:cubicBezTo>
                      <a:cubicBezTo>
                        <a:pt x="2873" y="74332"/>
                        <a:pt x="59" y="75546"/>
                        <a:pt x="3" y="75380"/>
                      </a:cubicBezTo>
                      <a:cubicBezTo>
                        <a:pt x="-107" y="75159"/>
                        <a:pt x="2542" y="73614"/>
                        <a:pt x="7398" y="70855"/>
                      </a:cubicBezTo>
                      <a:cubicBezTo>
                        <a:pt x="12255" y="68151"/>
                        <a:pt x="19374" y="64398"/>
                        <a:pt x="28314" y="60094"/>
                      </a:cubicBezTo>
                      <a:cubicBezTo>
                        <a:pt x="46139" y="51374"/>
                        <a:pt x="71303" y="40392"/>
                        <a:pt x="99668" y="29852"/>
                      </a:cubicBezTo>
                      <a:cubicBezTo>
                        <a:pt x="128089" y="19367"/>
                        <a:pt x="154302" y="11310"/>
                        <a:pt x="173507" y="6508"/>
                      </a:cubicBezTo>
                      <a:cubicBezTo>
                        <a:pt x="183109" y="4025"/>
                        <a:pt x="190945" y="2314"/>
                        <a:pt x="196409" y="1321"/>
                      </a:cubicBezTo>
                      <a:cubicBezTo>
                        <a:pt x="201817" y="328"/>
                        <a:pt x="204797" y="-169"/>
                        <a:pt x="204852" y="52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4" name="Freeform: Shape 1003">
                  <a:extLst>
                    <a:ext uri="{FF2B5EF4-FFF2-40B4-BE49-F238E27FC236}">
                      <a16:creationId xmlns:a16="http://schemas.microsoft.com/office/drawing/2014/main" id="{268EE272-DE09-4B42-AD5B-75FCFCB895C6}"/>
                    </a:ext>
                  </a:extLst>
                </p:cNvPr>
                <p:cNvSpPr/>
                <p:nvPr/>
              </p:nvSpPr>
              <p:spPr>
                <a:xfrm>
                  <a:off x="7167598" y="-435514"/>
                  <a:ext cx="152221" cy="252258"/>
                </a:xfrm>
                <a:custGeom>
                  <a:avLst/>
                  <a:gdLst>
                    <a:gd name="connsiteX0" fmla="*/ 152206 w 152221"/>
                    <a:gd name="connsiteY0" fmla="*/ 252256 h 252258"/>
                    <a:gd name="connsiteX1" fmla="*/ 150330 w 152221"/>
                    <a:gd name="connsiteY1" fmla="*/ 249938 h 252258"/>
                    <a:gd name="connsiteX2" fmla="*/ 145419 w 152221"/>
                    <a:gd name="connsiteY2" fmla="*/ 242874 h 252258"/>
                    <a:gd name="connsiteX3" fmla="*/ 128146 w 152221"/>
                    <a:gd name="connsiteY3" fmla="*/ 216440 h 252258"/>
                    <a:gd name="connsiteX4" fmla="*/ 74781 w 152221"/>
                    <a:gd name="connsiteY4" fmla="*/ 126929 h 252258"/>
                    <a:gd name="connsiteX5" fmla="*/ 22244 w 152221"/>
                    <a:gd name="connsiteY5" fmla="*/ 36977 h 252258"/>
                    <a:gd name="connsiteX6" fmla="*/ 5799 w 152221"/>
                    <a:gd name="connsiteY6" fmla="*/ 10046 h 252258"/>
                    <a:gd name="connsiteX7" fmla="*/ 1384 w 152221"/>
                    <a:gd name="connsiteY7" fmla="*/ 2707 h 252258"/>
                    <a:gd name="connsiteX8" fmla="*/ 5 w 152221"/>
                    <a:gd name="connsiteY8" fmla="*/ 3 h 252258"/>
                    <a:gd name="connsiteX9" fmla="*/ 1881 w 152221"/>
                    <a:gd name="connsiteY9" fmla="*/ 2320 h 252258"/>
                    <a:gd name="connsiteX10" fmla="*/ 6792 w 152221"/>
                    <a:gd name="connsiteY10" fmla="*/ 9384 h 252258"/>
                    <a:gd name="connsiteX11" fmla="*/ 24065 w 152221"/>
                    <a:gd name="connsiteY11" fmla="*/ 35818 h 252258"/>
                    <a:gd name="connsiteX12" fmla="*/ 77430 w 152221"/>
                    <a:gd name="connsiteY12" fmla="*/ 125384 h 252258"/>
                    <a:gd name="connsiteX13" fmla="*/ 129967 w 152221"/>
                    <a:gd name="connsiteY13" fmla="*/ 215337 h 252258"/>
                    <a:gd name="connsiteX14" fmla="*/ 146412 w 152221"/>
                    <a:gd name="connsiteY14" fmla="*/ 242267 h 252258"/>
                    <a:gd name="connsiteX15" fmla="*/ 150827 w 152221"/>
                    <a:gd name="connsiteY15" fmla="*/ 249607 h 252258"/>
                    <a:gd name="connsiteX16" fmla="*/ 152206 w 152221"/>
                    <a:gd name="connsiteY16" fmla="*/ 252256 h 2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2221" h="252258">
                      <a:moveTo>
                        <a:pt x="152206" y="252256"/>
                      </a:moveTo>
                      <a:cubicBezTo>
                        <a:pt x="152096" y="252311"/>
                        <a:pt x="151489" y="251539"/>
                        <a:pt x="150330" y="249938"/>
                      </a:cubicBezTo>
                      <a:cubicBezTo>
                        <a:pt x="149006" y="248007"/>
                        <a:pt x="147405" y="245689"/>
                        <a:pt x="145419" y="242874"/>
                      </a:cubicBezTo>
                      <a:cubicBezTo>
                        <a:pt x="141169" y="236749"/>
                        <a:pt x="135265" y="227698"/>
                        <a:pt x="128146" y="216440"/>
                      </a:cubicBezTo>
                      <a:cubicBezTo>
                        <a:pt x="113852" y="193925"/>
                        <a:pt x="95034" y="162193"/>
                        <a:pt x="74781" y="126929"/>
                      </a:cubicBezTo>
                      <a:cubicBezTo>
                        <a:pt x="54528" y="91611"/>
                        <a:pt x="36041" y="59769"/>
                        <a:pt x="22244" y="36977"/>
                      </a:cubicBezTo>
                      <a:cubicBezTo>
                        <a:pt x="15512" y="25885"/>
                        <a:pt x="9938" y="16779"/>
                        <a:pt x="5799" y="10046"/>
                      </a:cubicBezTo>
                      <a:cubicBezTo>
                        <a:pt x="4033" y="7122"/>
                        <a:pt x="2543" y="4693"/>
                        <a:pt x="1384" y="2707"/>
                      </a:cubicBezTo>
                      <a:cubicBezTo>
                        <a:pt x="391" y="996"/>
                        <a:pt x="-51" y="113"/>
                        <a:pt x="5" y="3"/>
                      </a:cubicBezTo>
                      <a:cubicBezTo>
                        <a:pt x="115" y="-52"/>
                        <a:pt x="722" y="775"/>
                        <a:pt x="1881" y="2320"/>
                      </a:cubicBezTo>
                      <a:cubicBezTo>
                        <a:pt x="3205" y="4252"/>
                        <a:pt x="4806" y="6570"/>
                        <a:pt x="6792" y="9384"/>
                      </a:cubicBezTo>
                      <a:cubicBezTo>
                        <a:pt x="11042" y="15510"/>
                        <a:pt x="16947" y="24560"/>
                        <a:pt x="24065" y="35818"/>
                      </a:cubicBezTo>
                      <a:cubicBezTo>
                        <a:pt x="38359" y="58334"/>
                        <a:pt x="57177" y="90065"/>
                        <a:pt x="77430" y="125384"/>
                      </a:cubicBezTo>
                      <a:cubicBezTo>
                        <a:pt x="97683" y="160648"/>
                        <a:pt x="116170" y="192545"/>
                        <a:pt x="129967" y="215337"/>
                      </a:cubicBezTo>
                      <a:cubicBezTo>
                        <a:pt x="136754" y="226374"/>
                        <a:pt x="142273" y="235535"/>
                        <a:pt x="146412" y="242267"/>
                      </a:cubicBezTo>
                      <a:cubicBezTo>
                        <a:pt x="148178" y="245192"/>
                        <a:pt x="149668" y="247620"/>
                        <a:pt x="150827" y="249607"/>
                      </a:cubicBezTo>
                      <a:cubicBezTo>
                        <a:pt x="151820" y="251263"/>
                        <a:pt x="152317" y="252201"/>
                        <a:pt x="152206" y="252256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5" name="Freeform: Shape 1004">
                  <a:extLst>
                    <a:ext uri="{FF2B5EF4-FFF2-40B4-BE49-F238E27FC236}">
                      <a16:creationId xmlns:a16="http://schemas.microsoft.com/office/drawing/2014/main" id="{2BE70F25-17C3-4B0E-BEC2-DA6BDA98D944}"/>
                    </a:ext>
                  </a:extLst>
                </p:cNvPr>
                <p:cNvSpPr/>
                <p:nvPr/>
              </p:nvSpPr>
              <p:spPr>
                <a:xfrm>
                  <a:off x="7319801" y="-321516"/>
                  <a:ext cx="265889" cy="138221"/>
                </a:xfrm>
                <a:custGeom>
                  <a:avLst/>
                  <a:gdLst>
                    <a:gd name="connsiteX0" fmla="*/ 265887 w 265889"/>
                    <a:gd name="connsiteY0" fmla="*/ 19 h 138221"/>
                    <a:gd name="connsiteX1" fmla="*/ 263293 w 265889"/>
                    <a:gd name="connsiteY1" fmla="*/ 1619 h 138221"/>
                    <a:gd name="connsiteX2" fmla="*/ 255567 w 265889"/>
                    <a:gd name="connsiteY2" fmla="*/ 5758 h 138221"/>
                    <a:gd name="connsiteX3" fmla="*/ 227091 w 265889"/>
                    <a:gd name="connsiteY3" fmla="*/ 20603 h 138221"/>
                    <a:gd name="connsiteX4" fmla="*/ 133662 w 265889"/>
                    <a:gd name="connsiteY4" fmla="*/ 70491 h 138221"/>
                    <a:gd name="connsiteX5" fmla="*/ 39736 w 265889"/>
                    <a:gd name="connsiteY5" fmla="*/ 119606 h 138221"/>
                    <a:gd name="connsiteX6" fmla="*/ 10819 w 265889"/>
                    <a:gd name="connsiteY6" fmla="*/ 133568 h 138221"/>
                    <a:gd name="connsiteX7" fmla="*/ 2872 w 265889"/>
                    <a:gd name="connsiteY7" fmla="*/ 137155 h 138221"/>
                    <a:gd name="connsiteX8" fmla="*/ 2 w 265889"/>
                    <a:gd name="connsiteY8" fmla="*/ 138203 h 138221"/>
                    <a:gd name="connsiteX9" fmla="*/ 2596 w 265889"/>
                    <a:gd name="connsiteY9" fmla="*/ 136548 h 138221"/>
                    <a:gd name="connsiteX10" fmla="*/ 10322 w 265889"/>
                    <a:gd name="connsiteY10" fmla="*/ 132409 h 138221"/>
                    <a:gd name="connsiteX11" fmla="*/ 38798 w 265889"/>
                    <a:gd name="connsiteY11" fmla="*/ 117564 h 138221"/>
                    <a:gd name="connsiteX12" fmla="*/ 132282 w 265889"/>
                    <a:gd name="connsiteY12" fmla="*/ 67676 h 138221"/>
                    <a:gd name="connsiteX13" fmla="*/ 226208 w 265889"/>
                    <a:gd name="connsiteY13" fmla="*/ 18561 h 138221"/>
                    <a:gd name="connsiteX14" fmla="*/ 255125 w 265889"/>
                    <a:gd name="connsiteY14" fmla="*/ 4599 h 138221"/>
                    <a:gd name="connsiteX15" fmla="*/ 263072 w 265889"/>
                    <a:gd name="connsiteY15" fmla="*/ 1012 h 138221"/>
                    <a:gd name="connsiteX16" fmla="*/ 265887 w 265889"/>
                    <a:gd name="connsiteY16" fmla="*/ 19 h 138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65889" h="138221">
                      <a:moveTo>
                        <a:pt x="265887" y="19"/>
                      </a:moveTo>
                      <a:cubicBezTo>
                        <a:pt x="265942" y="129"/>
                        <a:pt x="265059" y="681"/>
                        <a:pt x="263293" y="1619"/>
                      </a:cubicBezTo>
                      <a:cubicBezTo>
                        <a:pt x="261196" y="2723"/>
                        <a:pt x="258657" y="4102"/>
                        <a:pt x="255567" y="5758"/>
                      </a:cubicBezTo>
                      <a:cubicBezTo>
                        <a:pt x="248448" y="9455"/>
                        <a:pt x="238791" y="14477"/>
                        <a:pt x="227091" y="20603"/>
                      </a:cubicBezTo>
                      <a:cubicBezTo>
                        <a:pt x="203085" y="33130"/>
                        <a:pt x="170084" y="50845"/>
                        <a:pt x="133662" y="70491"/>
                      </a:cubicBezTo>
                      <a:cubicBezTo>
                        <a:pt x="97240" y="90137"/>
                        <a:pt x="64018" y="107520"/>
                        <a:pt x="39736" y="119606"/>
                      </a:cubicBezTo>
                      <a:cubicBezTo>
                        <a:pt x="27595" y="125621"/>
                        <a:pt x="17717" y="130422"/>
                        <a:pt x="10819" y="133568"/>
                      </a:cubicBezTo>
                      <a:cubicBezTo>
                        <a:pt x="7618" y="135003"/>
                        <a:pt x="5024" y="136217"/>
                        <a:pt x="2872" y="137155"/>
                      </a:cubicBezTo>
                      <a:cubicBezTo>
                        <a:pt x="1051" y="137927"/>
                        <a:pt x="58" y="138314"/>
                        <a:pt x="2" y="138203"/>
                      </a:cubicBezTo>
                      <a:cubicBezTo>
                        <a:pt x="-53" y="138093"/>
                        <a:pt x="830" y="137541"/>
                        <a:pt x="2596" y="136548"/>
                      </a:cubicBezTo>
                      <a:cubicBezTo>
                        <a:pt x="4693" y="135444"/>
                        <a:pt x="7232" y="134064"/>
                        <a:pt x="10322" y="132409"/>
                      </a:cubicBezTo>
                      <a:cubicBezTo>
                        <a:pt x="17441" y="128711"/>
                        <a:pt x="27099" y="123690"/>
                        <a:pt x="38798" y="117564"/>
                      </a:cubicBezTo>
                      <a:cubicBezTo>
                        <a:pt x="62804" y="105037"/>
                        <a:pt x="95805" y="87322"/>
                        <a:pt x="132282" y="67676"/>
                      </a:cubicBezTo>
                      <a:cubicBezTo>
                        <a:pt x="168705" y="48030"/>
                        <a:pt x="201871" y="30647"/>
                        <a:pt x="226208" y="18561"/>
                      </a:cubicBezTo>
                      <a:cubicBezTo>
                        <a:pt x="238349" y="12546"/>
                        <a:pt x="248227" y="7745"/>
                        <a:pt x="255125" y="4599"/>
                      </a:cubicBezTo>
                      <a:cubicBezTo>
                        <a:pt x="258326" y="3164"/>
                        <a:pt x="260920" y="1950"/>
                        <a:pt x="263072" y="1012"/>
                      </a:cubicBezTo>
                      <a:cubicBezTo>
                        <a:pt x="264838" y="295"/>
                        <a:pt x="265831" y="-92"/>
                        <a:pt x="265887" y="19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76" name="Graphic 179">
                <a:extLst>
                  <a:ext uri="{FF2B5EF4-FFF2-40B4-BE49-F238E27FC236}">
                    <a16:creationId xmlns:a16="http://schemas.microsoft.com/office/drawing/2014/main" id="{D906FABB-07F6-4890-A100-DBB2BE1BA72B}"/>
                  </a:ext>
                </a:extLst>
              </p:cNvPr>
              <p:cNvGrpSpPr/>
              <p:nvPr/>
            </p:nvGrpSpPr>
            <p:grpSpPr>
              <a:xfrm>
                <a:off x="6525167" y="-1298574"/>
                <a:ext cx="607452" cy="1165645"/>
                <a:chOff x="6525167" y="-1298574"/>
                <a:chExt cx="607452" cy="1165645"/>
              </a:xfrm>
            </p:grpSpPr>
            <p:sp>
              <p:nvSpPr>
                <p:cNvPr id="992" name="Freeform: Shape 991">
                  <a:extLst>
                    <a:ext uri="{FF2B5EF4-FFF2-40B4-BE49-F238E27FC236}">
                      <a16:creationId xmlns:a16="http://schemas.microsoft.com/office/drawing/2014/main" id="{2D3C84EF-7CA3-450C-A7B1-3FBC7CE816C4}"/>
                    </a:ext>
                  </a:extLst>
                </p:cNvPr>
                <p:cNvSpPr/>
                <p:nvPr/>
              </p:nvSpPr>
              <p:spPr>
                <a:xfrm>
                  <a:off x="6525167" y="-1298574"/>
                  <a:ext cx="607452" cy="1141805"/>
                </a:xfrm>
                <a:custGeom>
                  <a:avLst/>
                  <a:gdLst>
                    <a:gd name="connsiteX0" fmla="*/ 87600 w 607452"/>
                    <a:gd name="connsiteY0" fmla="*/ 1561 h 1141805"/>
                    <a:gd name="connsiteX1" fmla="*/ 58848 w 607452"/>
                    <a:gd name="connsiteY1" fmla="*/ 154259 h 1141805"/>
                    <a:gd name="connsiteX2" fmla="*/ 126892 w 607452"/>
                    <a:gd name="connsiteY2" fmla="*/ 371856 h 1141805"/>
                    <a:gd name="connsiteX3" fmla="*/ 105590 w 607452"/>
                    <a:gd name="connsiteY3" fmla="*/ 403367 h 1141805"/>
                    <a:gd name="connsiteX4" fmla="*/ 7746 w 607452"/>
                    <a:gd name="connsiteY4" fmla="*/ 409382 h 1141805"/>
                    <a:gd name="connsiteX5" fmla="*/ 46486 w 607452"/>
                    <a:gd name="connsiteY5" fmla="*/ 511089 h 1141805"/>
                    <a:gd name="connsiteX6" fmla="*/ 182574 w 607452"/>
                    <a:gd name="connsiteY6" fmla="*/ 640169 h 1141805"/>
                    <a:gd name="connsiteX7" fmla="*/ 178159 w 607452"/>
                    <a:gd name="connsiteY7" fmla="*/ 665775 h 1141805"/>
                    <a:gd name="connsiteX8" fmla="*/ 29048 w 607452"/>
                    <a:gd name="connsiteY8" fmla="*/ 713952 h 1141805"/>
                    <a:gd name="connsiteX9" fmla="*/ 171261 w 607452"/>
                    <a:gd name="connsiteY9" fmla="*/ 868692 h 1141805"/>
                    <a:gd name="connsiteX10" fmla="*/ 184506 w 607452"/>
                    <a:gd name="connsiteY10" fmla="*/ 893857 h 1141805"/>
                    <a:gd name="connsiteX11" fmla="*/ 102445 w 607452"/>
                    <a:gd name="connsiteY11" fmla="*/ 890270 h 1141805"/>
                    <a:gd name="connsiteX12" fmla="*/ 24136 w 607452"/>
                    <a:gd name="connsiteY12" fmla="*/ 926030 h 1141805"/>
                    <a:gd name="connsiteX13" fmla="*/ 295594 w 607452"/>
                    <a:gd name="connsiteY13" fmla="*/ 1117138 h 1141805"/>
                    <a:gd name="connsiteX14" fmla="*/ 390955 w 607452"/>
                    <a:gd name="connsiteY14" fmla="*/ 1141806 h 1141805"/>
                    <a:gd name="connsiteX15" fmla="*/ 461427 w 607452"/>
                    <a:gd name="connsiteY15" fmla="*/ 1072382 h 1141805"/>
                    <a:gd name="connsiteX16" fmla="*/ 602040 w 607452"/>
                    <a:gd name="connsiteY16" fmla="*/ 771621 h 1141805"/>
                    <a:gd name="connsiteX17" fmla="*/ 516281 w 607452"/>
                    <a:gd name="connsiteY17" fmla="*/ 779512 h 1141805"/>
                    <a:gd name="connsiteX18" fmla="*/ 446858 w 607452"/>
                    <a:gd name="connsiteY18" fmla="*/ 823440 h 1141805"/>
                    <a:gd name="connsiteX19" fmla="*/ 445865 w 607452"/>
                    <a:gd name="connsiteY19" fmla="*/ 795019 h 1141805"/>
                    <a:gd name="connsiteX20" fmla="*/ 492386 w 607452"/>
                    <a:gd name="connsiteY20" fmla="*/ 590060 h 1141805"/>
                    <a:gd name="connsiteX21" fmla="*/ 339080 w 607452"/>
                    <a:gd name="connsiteY21" fmla="*/ 622344 h 1141805"/>
                    <a:gd name="connsiteX22" fmla="*/ 322525 w 607452"/>
                    <a:gd name="connsiteY22" fmla="*/ 602311 h 1141805"/>
                    <a:gd name="connsiteX23" fmla="*/ 376496 w 607452"/>
                    <a:gd name="connsiteY23" fmla="*/ 422682 h 1141805"/>
                    <a:gd name="connsiteX24" fmla="*/ 359609 w 607452"/>
                    <a:gd name="connsiteY24" fmla="*/ 315181 h 1141805"/>
                    <a:gd name="connsiteX25" fmla="*/ 271754 w 607452"/>
                    <a:gd name="connsiteY25" fmla="*/ 358557 h 1141805"/>
                    <a:gd name="connsiteX26" fmla="*/ 237649 w 607452"/>
                    <a:gd name="connsiteY26" fmla="*/ 341780 h 1141805"/>
                    <a:gd name="connsiteX27" fmla="*/ 188534 w 607452"/>
                    <a:gd name="connsiteY27" fmla="*/ 119106 h 1141805"/>
                    <a:gd name="connsiteX28" fmla="*/ 86275 w 607452"/>
                    <a:gd name="connsiteY28" fmla="*/ 1782 h 1141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607452" h="1141805">
                      <a:moveTo>
                        <a:pt x="87600" y="1561"/>
                      </a:moveTo>
                      <a:cubicBezTo>
                        <a:pt x="87600" y="1561"/>
                        <a:pt x="22039" y="10667"/>
                        <a:pt x="58848" y="154259"/>
                      </a:cubicBezTo>
                      <a:cubicBezTo>
                        <a:pt x="95657" y="297852"/>
                        <a:pt x="126892" y="371856"/>
                        <a:pt x="126892" y="371856"/>
                      </a:cubicBezTo>
                      <a:cubicBezTo>
                        <a:pt x="126892" y="371856"/>
                        <a:pt x="131859" y="404361"/>
                        <a:pt x="105590" y="403367"/>
                      </a:cubicBezTo>
                      <a:cubicBezTo>
                        <a:pt x="79377" y="402374"/>
                        <a:pt x="25902" y="381072"/>
                        <a:pt x="7746" y="409382"/>
                      </a:cubicBezTo>
                      <a:cubicBezTo>
                        <a:pt x="-11072" y="438741"/>
                        <a:pt x="5373" y="474060"/>
                        <a:pt x="46486" y="511089"/>
                      </a:cubicBezTo>
                      <a:cubicBezTo>
                        <a:pt x="87600" y="548119"/>
                        <a:pt x="174738" y="632498"/>
                        <a:pt x="182574" y="640169"/>
                      </a:cubicBezTo>
                      <a:cubicBezTo>
                        <a:pt x="190300" y="647674"/>
                        <a:pt x="196150" y="663622"/>
                        <a:pt x="178159" y="665775"/>
                      </a:cubicBezTo>
                      <a:cubicBezTo>
                        <a:pt x="160169" y="667927"/>
                        <a:pt x="32580" y="652972"/>
                        <a:pt x="29048" y="713952"/>
                      </a:cubicBezTo>
                      <a:cubicBezTo>
                        <a:pt x="25571" y="774932"/>
                        <a:pt x="157078" y="859200"/>
                        <a:pt x="171261" y="868692"/>
                      </a:cubicBezTo>
                      <a:cubicBezTo>
                        <a:pt x="185444" y="878184"/>
                        <a:pt x="187706" y="885579"/>
                        <a:pt x="184506" y="893857"/>
                      </a:cubicBezTo>
                      <a:cubicBezTo>
                        <a:pt x="181305" y="902079"/>
                        <a:pt x="138922" y="893029"/>
                        <a:pt x="102445" y="890270"/>
                      </a:cubicBezTo>
                      <a:cubicBezTo>
                        <a:pt x="65967" y="887510"/>
                        <a:pt x="23198" y="890656"/>
                        <a:pt x="24136" y="926030"/>
                      </a:cubicBezTo>
                      <a:cubicBezTo>
                        <a:pt x="25075" y="961404"/>
                        <a:pt x="94112" y="1050749"/>
                        <a:pt x="295594" y="1117138"/>
                      </a:cubicBezTo>
                      <a:lnTo>
                        <a:pt x="390955" y="1141806"/>
                      </a:lnTo>
                      <a:lnTo>
                        <a:pt x="461427" y="1072382"/>
                      </a:lnTo>
                      <a:cubicBezTo>
                        <a:pt x="603254" y="914606"/>
                        <a:pt x="618761" y="802801"/>
                        <a:pt x="602040" y="771621"/>
                      </a:cubicBezTo>
                      <a:cubicBezTo>
                        <a:pt x="585263" y="740496"/>
                        <a:pt x="546578" y="758983"/>
                        <a:pt x="516281" y="779512"/>
                      </a:cubicBezTo>
                      <a:cubicBezTo>
                        <a:pt x="485984" y="800041"/>
                        <a:pt x="453701" y="829014"/>
                        <a:pt x="446858" y="823440"/>
                      </a:cubicBezTo>
                      <a:cubicBezTo>
                        <a:pt x="440015" y="817866"/>
                        <a:pt x="438249" y="810306"/>
                        <a:pt x="445865" y="795019"/>
                      </a:cubicBezTo>
                      <a:cubicBezTo>
                        <a:pt x="453480" y="779733"/>
                        <a:pt x="525718" y="641217"/>
                        <a:pt x="492386" y="590060"/>
                      </a:cubicBezTo>
                      <a:cubicBezTo>
                        <a:pt x="459054" y="538848"/>
                        <a:pt x="355747" y="615280"/>
                        <a:pt x="339080" y="622344"/>
                      </a:cubicBezTo>
                      <a:cubicBezTo>
                        <a:pt x="322414" y="629407"/>
                        <a:pt x="319545" y="612631"/>
                        <a:pt x="322525" y="602311"/>
                      </a:cubicBezTo>
                      <a:cubicBezTo>
                        <a:pt x="325505" y="591771"/>
                        <a:pt x="359223" y="475219"/>
                        <a:pt x="376496" y="422682"/>
                      </a:cubicBezTo>
                      <a:cubicBezTo>
                        <a:pt x="393769" y="370146"/>
                        <a:pt x="390513" y="331295"/>
                        <a:pt x="359609" y="315181"/>
                      </a:cubicBezTo>
                      <a:cubicBezTo>
                        <a:pt x="329809" y="299618"/>
                        <a:pt x="293994" y="344705"/>
                        <a:pt x="271754" y="358557"/>
                      </a:cubicBezTo>
                      <a:cubicBezTo>
                        <a:pt x="249514" y="372463"/>
                        <a:pt x="237649" y="341780"/>
                        <a:pt x="237649" y="341780"/>
                      </a:cubicBezTo>
                      <a:cubicBezTo>
                        <a:pt x="237649" y="341780"/>
                        <a:pt x="227992" y="262037"/>
                        <a:pt x="188534" y="119106"/>
                      </a:cubicBezTo>
                      <a:cubicBezTo>
                        <a:pt x="149132" y="-23824"/>
                        <a:pt x="86275" y="1782"/>
                        <a:pt x="86275" y="1782"/>
                      </a:cubicBezTo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3" name="Freeform: Shape 992">
                  <a:extLst>
                    <a:ext uri="{FF2B5EF4-FFF2-40B4-BE49-F238E27FC236}">
                      <a16:creationId xmlns:a16="http://schemas.microsoft.com/office/drawing/2014/main" id="{C5D3F43A-54AD-44A0-B56A-47FF9B2D9640}"/>
                    </a:ext>
                  </a:extLst>
                </p:cNvPr>
                <p:cNvSpPr/>
                <p:nvPr/>
              </p:nvSpPr>
              <p:spPr>
                <a:xfrm>
                  <a:off x="6645491" y="-1168320"/>
                  <a:ext cx="272671" cy="1035391"/>
                </a:xfrm>
                <a:custGeom>
                  <a:avLst/>
                  <a:gdLst>
                    <a:gd name="connsiteX0" fmla="*/ 270630 w 272671"/>
                    <a:gd name="connsiteY0" fmla="*/ 1035392 h 1035391"/>
                    <a:gd name="connsiteX1" fmla="*/ 152809 w 272671"/>
                    <a:gd name="connsiteY1" fmla="*/ 581877 h 1035391"/>
                    <a:gd name="connsiteX2" fmla="*/ 45252 w 272671"/>
                    <a:gd name="connsiteY2" fmla="*/ 170303 h 1035391"/>
                    <a:gd name="connsiteX3" fmla="*/ 11975 w 272671"/>
                    <a:gd name="connsiteY3" fmla="*/ 45749 h 1035391"/>
                    <a:gd name="connsiteX4" fmla="*/ 2925 w 272671"/>
                    <a:gd name="connsiteY4" fmla="*/ 11865 h 1035391"/>
                    <a:gd name="connsiteX5" fmla="*/ 662 w 272671"/>
                    <a:gd name="connsiteY5" fmla="*/ 3035 h 1035391"/>
                    <a:gd name="connsiteX6" fmla="*/ 0 w 272671"/>
                    <a:gd name="connsiteY6" fmla="*/ 0 h 1035391"/>
                    <a:gd name="connsiteX7" fmla="*/ 993 w 272671"/>
                    <a:gd name="connsiteY7" fmla="*/ 2980 h 1035391"/>
                    <a:gd name="connsiteX8" fmla="*/ 3532 w 272671"/>
                    <a:gd name="connsiteY8" fmla="*/ 11754 h 1035391"/>
                    <a:gd name="connsiteX9" fmla="*/ 13134 w 272671"/>
                    <a:gd name="connsiteY9" fmla="*/ 45473 h 1035391"/>
                    <a:gd name="connsiteX10" fmla="*/ 47349 w 272671"/>
                    <a:gd name="connsiteY10" fmla="*/ 169806 h 1035391"/>
                    <a:gd name="connsiteX11" fmla="*/ 155734 w 272671"/>
                    <a:gd name="connsiteY11" fmla="*/ 581159 h 1035391"/>
                    <a:gd name="connsiteX12" fmla="*/ 272672 w 272671"/>
                    <a:gd name="connsiteY12" fmla="*/ 1034895 h 1035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72671" h="1035391">
                      <a:moveTo>
                        <a:pt x="270630" y="1035392"/>
                      </a:moveTo>
                      <a:cubicBezTo>
                        <a:pt x="242099" y="930318"/>
                        <a:pt x="194529" y="742743"/>
                        <a:pt x="152809" y="581877"/>
                      </a:cubicBezTo>
                      <a:cubicBezTo>
                        <a:pt x="111144" y="421066"/>
                        <a:pt x="73286" y="275542"/>
                        <a:pt x="45252" y="170303"/>
                      </a:cubicBezTo>
                      <a:cubicBezTo>
                        <a:pt x="31235" y="117821"/>
                        <a:pt x="19867" y="75273"/>
                        <a:pt x="11975" y="45749"/>
                      </a:cubicBezTo>
                      <a:cubicBezTo>
                        <a:pt x="8057" y="31125"/>
                        <a:pt x="5022" y="19756"/>
                        <a:pt x="2925" y="11865"/>
                      </a:cubicBezTo>
                      <a:cubicBezTo>
                        <a:pt x="1931" y="8057"/>
                        <a:pt x="1214" y="5132"/>
                        <a:pt x="662" y="3035"/>
                      </a:cubicBezTo>
                      <a:cubicBezTo>
                        <a:pt x="166" y="1049"/>
                        <a:pt x="0" y="0"/>
                        <a:pt x="0" y="0"/>
                      </a:cubicBezTo>
                      <a:cubicBezTo>
                        <a:pt x="0" y="0"/>
                        <a:pt x="386" y="993"/>
                        <a:pt x="993" y="2980"/>
                      </a:cubicBezTo>
                      <a:cubicBezTo>
                        <a:pt x="1600" y="5077"/>
                        <a:pt x="2483" y="8002"/>
                        <a:pt x="3532" y="11754"/>
                      </a:cubicBezTo>
                      <a:cubicBezTo>
                        <a:pt x="5739" y="19591"/>
                        <a:pt x="8995" y="30959"/>
                        <a:pt x="13134" y="45473"/>
                      </a:cubicBezTo>
                      <a:cubicBezTo>
                        <a:pt x="21412" y="74776"/>
                        <a:pt x="33111" y="117269"/>
                        <a:pt x="47349" y="169806"/>
                      </a:cubicBezTo>
                      <a:cubicBezTo>
                        <a:pt x="75880" y="274879"/>
                        <a:pt x="114069" y="420348"/>
                        <a:pt x="155734" y="581159"/>
                      </a:cubicBezTo>
                      <a:cubicBezTo>
                        <a:pt x="197399" y="742025"/>
                        <a:pt x="244693" y="929712"/>
                        <a:pt x="272672" y="1034895"/>
                      </a:cubicBezTo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4" name="Freeform: Shape 993">
                  <a:extLst>
                    <a:ext uri="{FF2B5EF4-FFF2-40B4-BE49-F238E27FC236}">
                      <a16:creationId xmlns:a16="http://schemas.microsoft.com/office/drawing/2014/main" id="{E9AA6E81-6385-4232-80F1-624A1AA8803F}"/>
                    </a:ext>
                  </a:extLst>
                </p:cNvPr>
                <p:cNvSpPr/>
                <p:nvPr/>
              </p:nvSpPr>
              <p:spPr>
                <a:xfrm>
                  <a:off x="6606526" y="-856371"/>
                  <a:ext cx="149119" cy="102234"/>
                </a:xfrm>
                <a:custGeom>
                  <a:avLst/>
                  <a:gdLst>
                    <a:gd name="connsiteX0" fmla="*/ 4 w 149119"/>
                    <a:gd name="connsiteY0" fmla="*/ 15 h 102234"/>
                    <a:gd name="connsiteX1" fmla="*/ 6296 w 149119"/>
                    <a:gd name="connsiteY1" fmla="*/ 3381 h 102234"/>
                    <a:gd name="connsiteX2" fmla="*/ 22741 w 149119"/>
                    <a:gd name="connsiteY2" fmla="*/ 13646 h 102234"/>
                    <a:gd name="connsiteX3" fmla="*/ 75553 w 149119"/>
                    <a:gd name="connsiteY3" fmla="*/ 49682 h 102234"/>
                    <a:gd name="connsiteX4" fmla="*/ 127593 w 149119"/>
                    <a:gd name="connsiteY4" fmla="*/ 86767 h 102234"/>
                    <a:gd name="connsiteX5" fmla="*/ 143432 w 149119"/>
                    <a:gd name="connsiteY5" fmla="*/ 97914 h 102234"/>
                    <a:gd name="connsiteX6" fmla="*/ 149116 w 149119"/>
                    <a:gd name="connsiteY6" fmla="*/ 102219 h 102234"/>
                    <a:gd name="connsiteX7" fmla="*/ 142825 w 149119"/>
                    <a:gd name="connsiteY7" fmla="*/ 98907 h 102234"/>
                    <a:gd name="connsiteX8" fmla="*/ 126434 w 149119"/>
                    <a:gd name="connsiteY8" fmla="*/ 88533 h 102234"/>
                    <a:gd name="connsiteX9" fmla="*/ 73898 w 149119"/>
                    <a:gd name="connsiteY9" fmla="*/ 52110 h 102234"/>
                    <a:gd name="connsiteX10" fmla="*/ 21637 w 149119"/>
                    <a:gd name="connsiteY10" fmla="*/ 15412 h 102234"/>
                    <a:gd name="connsiteX11" fmla="*/ 5744 w 149119"/>
                    <a:gd name="connsiteY11" fmla="*/ 4319 h 102234"/>
                    <a:gd name="connsiteX12" fmla="*/ 4 w 149119"/>
                    <a:gd name="connsiteY12" fmla="*/ 15 h 102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9119" h="102234">
                      <a:moveTo>
                        <a:pt x="4" y="15"/>
                      </a:moveTo>
                      <a:cubicBezTo>
                        <a:pt x="115" y="-151"/>
                        <a:pt x="2322" y="1063"/>
                        <a:pt x="6296" y="3381"/>
                      </a:cubicBezTo>
                      <a:cubicBezTo>
                        <a:pt x="10269" y="5699"/>
                        <a:pt x="15843" y="9231"/>
                        <a:pt x="22741" y="13646"/>
                      </a:cubicBezTo>
                      <a:cubicBezTo>
                        <a:pt x="36482" y="22531"/>
                        <a:pt x="55190" y="35223"/>
                        <a:pt x="75553" y="49682"/>
                      </a:cubicBezTo>
                      <a:cubicBezTo>
                        <a:pt x="95586" y="63975"/>
                        <a:pt x="113687" y="76888"/>
                        <a:pt x="127593" y="86767"/>
                      </a:cubicBezTo>
                      <a:cubicBezTo>
                        <a:pt x="133885" y="91181"/>
                        <a:pt x="139182" y="94934"/>
                        <a:pt x="143432" y="97914"/>
                      </a:cubicBezTo>
                      <a:cubicBezTo>
                        <a:pt x="147184" y="100508"/>
                        <a:pt x="149226" y="102053"/>
                        <a:pt x="149116" y="102219"/>
                      </a:cubicBezTo>
                      <a:cubicBezTo>
                        <a:pt x="149005" y="102384"/>
                        <a:pt x="146743" y="101225"/>
                        <a:pt x="142825" y="98907"/>
                      </a:cubicBezTo>
                      <a:cubicBezTo>
                        <a:pt x="138906" y="96590"/>
                        <a:pt x="133278" y="93058"/>
                        <a:pt x="126434" y="88533"/>
                      </a:cubicBezTo>
                      <a:cubicBezTo>
                        <a:pt x="112748" y="79537"/>
                        <a:pt x="94261" y="66569"/>
                        <a:pt x="73898" y="52110"/>
                      </a:cubicBezTo>
                      <a:cubicBezTo>
                        <a:pt x="53755" y="37983"/>
                        <a:pt x="35544" y="25180"/>
                        <a:pt x="21637" y="15412"/>
                      </a:cubicBezTo>
                      <a:cubicBezTo>
                        <a:pt x="15346" y="10997"/>
                        <a:pt x="10048" y="7299"/>
                        <a:pt x="5744" y="4319"/>
                      </a:cubicBezTo>
                      <a:cubicBezTo>
                        <a:pt x="1881" y="1726"/>
                        <a:pt x="-106" y="181"/>
                        <a:pt x="4" y="15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5" name="Freeform: Shape 994">
                  <a:extLst>
                    <a:ext uri="{FF2B5EF4-FFF2-40B4-BE49-F238E27FC236}">
                      <a16:creationId xmlns:a16="http://schemas.microsoft.com/office/drawing/2014/main" id="{874567CF-144F-421C-949D-8EC031AF9B5B}"/>
                    </a:ext>
                  </a:extLst>
                </p:cNvPr>
                <p:cNvSpPr/>
                <p:nvPr/>
              </p:nvSpPr>
              <p:spPr>
                <a:xfrm>
                  <a:off x="6763518" y="-934448"/>
                  <a:ext cx="112222" cy="175663"/>
                </a:xfrm>
                <a:custGeom>
                  <a:avLst/>
                  <a:gdLst>
                    <a:gd name="connsiteX0" fmla="*/ 15 w 112222"/>
                    <a:gd name="connsiteY0" fmla="*/ 175660 h 175663"/>
                    <a:gd name="connsiteX1" fmla="*/ 54815 w 112222"/>
                    <a:gd name="connsiteY1" fmla="*/ 87031 h 175663"/>
                    <a:gd name="connsiteX2" fmla="*/ 112208 w 112222"/>
                    <a:gd name="connsiteY2" fmla="*/ 4 h 175663"/>
                    <a:gd name="connsiteX3" fmla="*/ 57353 w 112222"/>
                    <a:gd name="connsiteY3" fmla="*/ 88632 h 175663"/>
                    <a:gd name="connsiteX4" fmla="*/ 15 w 112222"/>
                    <a:gd name="connsiteY4" fmla="*/ 175660 h 175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222" h="175663">
                      <a:moveTo>
                        <a:pt x="15" y="175660"/>
                      </a:moveTo>
                      <a:cubicBezTo>
                        <a:pt x="-702" y="175218"/>
                        <a:pt x="23855" y="135540"/>
                        <a:pt x="54815" y="87031"/>
                      </a:cubicBezTo>
                      <a:cubicBezTo>
                        <a:pt x="85829" y="38523"/>
                        <a:pt x="111490" y="-438"/>
                        <a:pt x="112208" y="4"/>
                      </a:cubicBezTo>
                      <a:cubicBezTo>
                        <a:pt x="112925" y="445"/>
                        <a:pt x="88367" y="40124"/>
                        <a:pt x="57353" y="88632"/>
                      </a:cubicBezTo>
                      <a:cubicBezTo>
                        <a:pt x="26394" y="137140"/>
                        <a:pt x="733" y="176101"/>
                        <a:pt x="15" y="175660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6" name="Freeform: Shape 995">
                  <a:extLst>
                    <a:ext uri="{FF2B5EF4-FFF2-40B4-BE49-F238E27FC236}">
                      <a16:creationId xmlns:a16="http://schemas.microsoft.com/office/drawing/2014/main" id="{26F12DBE-1CC4-4441-A87A-647B7AD86755}"/>
                    </a:ext>
                  </a:extLst>
                </p:cNvPr>
                <p:cNvSpPr/>
                <p:nvPr/>
              </p:nvSpPr>
              <p:spPr>
                <a:xfrm>
                  <a:off x="6816396" y="-635900"/>
                  <a:ext cx="133675" cy="127004"/>
                </a:xfrm>
                <a:custGeom>
                  <a:avLst/>
                  <a:gdLst>
                    <a:gd name="connsiteX0" fmla="*/ 5 w 133675"/>
                    <a:gd name="connsiteY0" fmla="*/ 126992 h 127004"/>
                    <a:gd name="connsiteX1" fmla="*/ 5247 w 133675"/>
                    <a:gd name="connsiteY1" fmla="*/ 121915 h 127004"/>
                    <a:gd name="connsiteX2" fmla="*/ 20147 w 133675"/>
                    <a:gd name="connsiteY2" fmla="*/ 108892 h 127004"/>
                    <a:gd name="connsiteX3" fmla="*/ 68380 w 133675"/>
                    <a:gd name="connsiteY3" fmla="*/ 65074 h 127004"/>
                    <a:gd name="connsiteX4" fmla="*/ 114625 w 133675"/>
                    <a:gd name="connsiteY4" fmla="*/ 19160 h 127004"/>
                    <a:gd name="connsiteX5" fmla="*/ 128366 w 133675"/>
                    <a:gd name="connsiteY5" fmla="*/ 4977 h 127004"/>
                    <a:gd name="connsiteX6" fmla="*/ 133664 w 133675"/>
                    <a:gd name="connsiteY6" fmla="*/ 10 h 127004"/>
                    <a:gd name="connsiteX7" fmla="*/ 129249 w 133675"/>
                    <a:gd name="connsiteY7" fmla="*/ 5805 h 127004"/>
                    <a:gd name="connsiteX8" fmla="*/ 116170 w 133675"/>
                    <a:gd name="connsiteY8" fmla="*/ 20650 h 127004"/>
                    <a:gd name="connsiteX9" fmla="*/ 70477 w 133675"/>
                    <a:gd name="connsiteY9" fmla="*/ 67337 h 127004"/>
                    <a:gd name="connsiteX10" fmla="*/ 21527 w 133675"/>
                    <a:gd name="connsiteY10" fmla="*/ 110602 h 127004"/>
                    <a:gd name="connsiteX11" fmla="*/ 6020 w 133675"/>
                    <a:gd name="connsiteY11" fmla="*/ 122909 h 127004"/>
                    <a:gd name="connsiteX12" fmla="*/ 5 w 133675"/>
                    <a:gd name="connsiteY12" fmla="*/ 126992 h 127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3675" h="127004">
                      <a:moveTo>
                        <a:pt x="5" y="126992"/>
                      </a:moveTo>
                      <a:cubicBezTo>
                        <a:pt x="-106" y="126827"/>
                        <a:pt x="1771" y="125061"/>
                        <a:pt x="5247" y="121915"/>
                      </a:cubicBezTo>
                      <a:cubicBezTo>
                        <a:pt x="9221" y="118439"/>
                        <a:pt x="14187" y="114079"/>
                        <a:pt x="20147" y="108892"/>
                      </a:cubicBezTo>
                      <a:cubicBezTo>
                        <a:pt x="32674" y="97910"/>
                        <a:pt x="49948" y="82623"/>
                        <a:pt x="68380" y="65074"/>
                      </a:cubicBezTo>
                      <a:cubicBezTo>
                        <a:pt x="86867" y="47580"/>
                        <a:pt x="103036" y="31135"/>
                        <a:pt x="114625" y="19160"/>
                      </a:cubicBezTo>
                      <a:cubicBezTo>
                        <a:pt x="120088" y="13531"/>
                        <a:pt x="124724" y="8785"/>
                        <a:pt x="128366" y="4977"/>
                      </a:cubicBezTo>
                      <a:cubicBezTo>
                        <a:pt x="131622" y="1666"/>
                        <a:pt x="133499" y="-155"/>
                        <a:pt x="133664" y="10"/>
                      </a:cubicBezTo>
                      <a:cubicBezTo>
                        <a:pt x="133830" y="176"/>
                        <a:pt x="132229" y="2218"/>
                        <a:pt x="129249" y="5805"/>
                      </a:cubicBezTo>
                      <a:cubicBezTo>
                        <a:pt x="126269" y="9392"/>
                        <a:pt x="121799" y="14469"/>
                        <a:pt x="116170" y="20650"/>
                      </a:cubicBezTo>
                      <a:cubicBezTo>
                        <a:pt x="104968" y="33011"/>
                        <a:pt x="88964" y="49733"/>
                        <a:pt x="70477" y="67337"/>
                      </a:cubicBezTo>
                      <a:cubicBezTo>
                        <a:pt x="51989" y="84941"/>
                        <a:pt x="34440" y="100007"/>
                        <a:pt x="21527" y="110602"/>
                      </a:cubicBezTo>
                      <a:cubicBezTo>
                        <a:pt x="15070" y="115900"/>
                        <a:pt x="9772" y="120094"/>
                        <a:pt x="6020" y="122909"/>
                      </a:cubicBezTo>
                      <a:cubicBezTo>
                        <a:pt x="2267" y="125668"/>
                        <a:pt x="115" y="127158"/>
                        <a:pt x="5" y="126992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7" name="Freeform: Shape 996">
                  <a:extLst>
                    <a:ext uri="{FF2B5EF4-FFF2-40B4-BE49-F238E27FC236}">
                      <a16:creationId xmlns:a16="http://schemas.microsoft.com/office/drawing/2014/main" id="{B4A153E1-F962-4C3B-8C92-CDC9AFCC3554}"/>
                    </a:ext>
                  </a:extLst>
                </p:cNvPr>
                <p:cNvSpPr/>
                <p:nvPr/>
              </p:nvSpPr>
              <p:spPr>
                <a:xfrm>
                  <a:off x="6654979" y="-565959"/>
                  <a:ext cx="161477" cy="54833"/>
                </a:xfrm>
                <a:custGeom>
                  <a:avLst/>
                  <a:gdLst>
                    <a:gd name="connsiteX0" fmla="*/ 4 w 161477"/>
                    <a:gd name="connsiteY0" fmla="*/ 45 h 54833"/>
                    <a:gd name="connsiteX1" fmla="*/ 6516 w 161477"/>
                    <a:gd name="connsiteY1" fmla="*/ 1645 h 54833"/>
                    <a:gd name="connsiteX2" fmla="*/ 23954 w 161477"/>
                    <a:gd name="connsiteY2" fmla="*/ 7053 h 54833"/>
                    <a:gd name="connsiteX3" fmla="*/ 81182 w 161477"/>
                    <a:gd name="connsiteY3" fmla="*/ 25982 h 54833"/>
                    <a:gd name="connsiteX4" fmla="*/ 138133 w 161477"/>
                    <a:gd name="connsiteY4" fmla="*/ 45738 h 54833"/>
                    <a:gd name="connsiteX5" fmla="*/ 155296 w 161477"/>
                    <a:gd name="connsiteY5" fmla="*/ 52085 h 54833"/>
                    <a:gd name="connsiteX6" fmla="*/ 161477 w 161477"/>
                    <a:gd name="connsiteY6" fmla="*/ 54789 h 54833"/>
                    <a:gd name="connsiteX7" fmla="*/ 154965 w 161477"/>
                    <a:gd name="connsiteY7" fmla="*/ 53188 h 54833"/>
                    <a:gd name="connsiteX8" fmla="*/ 137526 w 161477"/>
                    <a:gd name="connsiteY8" fmla="*/ 47780 h 54833"/>
                    <a:gd name="connsiteX9" fmla="*/ 80299 w 161477"/>
                    <a:gd name="connsiteY9" fmla="*/ 28851 h 54833"/>
                    <a:gd name="connsiteX10" fmla="*/ 23347 w 161477"/>
                    <a:gd name="connsiteY10" fmla="*/ 9095 h 54833"/>
                    <a:gd name="connsiteX11" fmla="*/ 6185 w 161477"/>
                    <a:gd name="connsiteY11" fmla="*/ 2749 h 54833"/>
                    <a:gd name="connsiteX12" fmla="*/ 4 w 161477"/>
                    <a:gd name="connsiteY12" fmla="*/ 45 h 54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1477" h="54833">
                      <a:moveTo>
                        <a:pt x="4" y="45"/>
                      </a:moveTo>
                      <a:cubicBezTo>
                        <a:pt x="59" y="-176"/>
                        <a:pt x="2377" y="431"/>
                        <a:pt x="6516" y="1645"/>
                      </a:cubicBezTo>
                      <a:cubicBezTo>
                        <a:pt x="11262" y="3135"/>
                        <a:pt x="17111" y="4901"/>
                        <a:pt x="23954" y="7053"/>
                      </a:cubicBezTo>
                      <a:cubicBezTo>
                        <a:pt x="38634" y="11744"/>
                        <a:pt x="58887" y="18421"/>
                        <a:pt x="81182" y="25982"/>
                      </a:cubicBezTo>
                      <a:cubicBezTo>
                        <a:pt x="103477" y="33542"/>
                        <a:pt x="123620" y="40551"/>
                        <a:pt x="138133" y="45738"/>
                      </a:cubicBezTo>
                      <a:cubicBezTo>
                        <a:pt x="144866" y="48222"/>
                        <a:pt x="150605" y="50319"/>
                        <a:pt x="155296" y="52085"/>
                      </a:cubicBezTo>
                      <a:cubicBezTo>
                        <a:pt x="159325" y="53630"/>
                        <a:pt x="161532" y="54623"/>
                        <a:pt x="161477" y="54789"/>
                      </a:cubicBezTo>
                      <a:cubicBezTo>
                        <a:pt x="161422" y="55009"/>
                        <a:pt x="159104" y="54402"/>
                        <a:pt x="154965" y="53188"/>
                      </a:cubicBezTo>
                      <a:cubicBezTo>
                        <a:pt x="150219" y="51698"/>
                        <a:pt x="144369" y="49932"/>
                        <a:pt x="137526" y="47780"/>
                      </a:cubicBezTo>
                      <a:cubicBezTo>
                        <a:pt x="122847" y="43089"/>
                        <a:pt x="102594" y="36412"/>
                        <a:pt x="80299" y="28851"/>
                      </a:cubicBezTo>
                      <a:cubicBezTo>
                        <a:pt x="58004" y="21291"/>
                        <a:pt x="37861" y="14283"/>
                        <a:pt x="23347" y="9095"/>
                      </a:cubicBezTo>
                      <a:cubicBezTo>
                        <a:pt x="16615" y="6612"/>
                        <a:pt x="10876" y="4515"/>
                        <a:pt x="6185" y="2749"/>
                      </a:cubicBezTo>
                      <a:cubicBezTo>
                        <a:pt x="2101" y="1204"/>
                        <a:pt x="-106" y="265"/>
                        <a:pt x="4" y="45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8" name="Freeform: Shape 997">
                  <a:extLst>
                    <a:ext uri="{FF2B5EF4-FFF2-40B4-BE49-F238E27FC236}">
                      <a16:creationId xmlns:a16="http://schemas.microsoft.com/office/drawing/2014/main" id="{2332D490-43BA-45AE-A36C-E6CC0E8A8F8D}"/>
                    </a:ext>
                  </a:extLst>
                </p:cNvPr>
                <p:cNvSpPr/>
                <p:nvPr/>
              </p:nvSpPr>
              <p:spPr>
                <a:xfrm>
                  <a:off x="6673633" y="-339415"/>
                  <a:ext cx="207614" cy="68228"/>
                </a:xfrm>
                <a:custGeom>
                  <a:avLst/>
                  <a:gdLst>
                    <a:gd name="connsiteX0" fmla="*/ 3 w 207614"/>
                    <a:gd name="connsiteY0" fmla="*/ 37 h 68228"/>
                    <a:gd name="connsiteX1" fmla="*/ 8336 w 207614"/>
                    <a:gd name="connsiteY1" fmla="*/ 2134 h 68228"/>
                    <a:gd name="connsiteX2" fmla="*/ 30741 w 207614"/>
                    <a:gd name="connsiteY2" fmla="*/ 8977 h 68228"/>
                    <a:gd name="connsiteX3" fmla="*/ 104304 w 207614"/>
                    <a:gd name="connsiteY3" fmla="*/ 32652 h 68228"/>
                    <a:gd name="connsiteX4" fmla="*/ 177590 w 207614"/>
                    <a:gd name="connsiteY4" fmla="*/ 57154 h 68228"/>
                    <a:gd name="connsiteX5" fmla="*/ 199665 w 207614"/>
                    <a:gd name="connsiteY5" fmla="*/ 64935 h 68228"/>
                    <a:gd name="connsiteX6" fmla="*/ 207611 w 207614"/>
                    <a:gd name="connsiteY6" fmla="*/ 68191 h 68228"/>
                    <a:gd name="connsiteX7" fmla="*/ 199278 w 207614"/>
                    <a:gd name="connsiteY7" fmla="*/ 66094 h 68228"/>
                    <a:gd name="connsiteX8" fmla="*/ 176873 w 207614"/>
                    <a:gd name="connsiteY8" fmla="*/ 59251 h 68228"/>
                    <a:gd name="connsiteX9" fmla="*/ 103310 w 207614"/>
                    <a:gd name="connsiteY9" fmla="*/ 35577 h 68228"/>
                    <a:gd name="connsiteX10" fmla="*/ 30024 w 207614"/>
                    <a:gd name="connsiteY10" fmla="*/ 11074 h 68228"/>
                    <a:gd name="connsiteX11" fmla="*/ 7950 w 207614"/>
                    <a:gd name="connsiteY11" fmla="*/ 3293 h 68228"/>
                    <a:gd name="connsiteX12" fmla="*/ 3 w 207614"/>
                    <a:gd name="connsiteY12" fmla="*/ 37 h 68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07614" h="68228">
                      <a:moveTo>
                        <a:pt x="3" y="37"/>
                      </a:moveTo>
                      <a:cubicBezTo>
                        <a:pt x="58" y="-184"/>
                        <a:pt x="3038" y="589"/>
                        <a:pt x="8336" y="2134"/>
                      </a:cubicBezTo>
                      <a:cubicBezTo>
                        <a:pt x="14186" y="3900"/>
                        <a:pt x="21691" y="6218"/>
                        <a:pt x="30741" y="8977"/>
                      </a:cubicBezTo>
                      <a:cubicBezTo>
                        <a:pt x="49615" y="14882"/>
                        <a:pt x="75607" y="23215"/>
                        <a:pt x="104304" y="32652"/>
                      </a:cubicBezTo>
                      <a:cubicBezTo>
                        <a:pt x="133000" y="42033"/>
                        <a:pt x="158882" y="50753"/>
                        <a:pt x="177590" y="57154"/>
                      </a:cubicBezTo>
                      <a:cubicBezTo>
                        <a:pt x="186530" y="60300"/>
                        <a:pt x="193925" y="62893"/>
                        <a:pt x="199665" y="64935"/>
                      </a:cubicBezTo>
                      <a:cubicBezTo>
                        <a:pt x="204852" y="66812"/>
                        <a:pt x="207722" y="67971"/>
                        <a:pt x="207611" y="68191"/>
                      </a:cubicBezTo>
                      <a:cubicBezTo>
                        <a:pt x="207556" y="68412"/>
                        <a:pt x="204576" y="67639"/>
                        <a:pt x="199278" y="66094"/>
                      </a:cubicBezTo>
                      <a:cubicBezTo>
                        <a:pt x="193429" y="64328"/>
                        <a:pt x="185923" y="62011"/>
                        <a:pt x="176873" y="59251"/>
                      </a:cubicBezTo>
                      <a:cubicBezTo>
                        <a:pt x="157999" y="53346"/>
                        <a:pt x="132007" y="45013"/>
                        <a:pt x="103310" y="35577"/>
                      </a:cubicBezTo>
                      <a:cubicBezTo>
                        <a:pt x="74669" y="26195"/>
                        <a:pt x="48732" y="17476"/>
                        <a:pt x="30024" y="11074"/>
                      </a:cubicBezTo>
                      <a:cubicBezTo>
                        <a:pt x="21084" y="7929"/>
                        <a:pt x="13689" y="5335"/>
                        <a:pt x="7950" y="3293"/>
                      </a:cubicBezTo>
                      <a:cubicBezTo>
                        <a:pt x="2762" y="1362"/>
                        <a:pt x="-107" y="203"/>
                        <a:pt x="3" y="37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9" name="Freeform: Shape 998">
                  <a:extLst>
                    <a:ext uri="{FF2B5EF4-FFF2-40B4-BE49-F238E27FC236}">
                      <a16:creationId xmlns:a16="http://schemas.microsoft.com/office/drawing/2014/main" id="{E5100D98-183D-4102-9B41-2B1E927752D6}"/>
                    </a:ext>
                  </a:extLst>
                </p:cNvPr>
                <p:cNvSpPr/>
                <p:nvPr/>
              </p:nvSpPr>
              <p:spPr>
                <a:xfrm>
                  <a:off x="6876766" y="-440040"/>
                  <a:ext cx="165188" cy="165735"/>
                </a:xfrm>
                <a:custGeom>
                  <a:avLst/>
                  <a:gdLst>
                    <a:gd name="connsiteX0" fmla="*/ 8 w 165188"/>
                    <a:gd name="connsiteY0" fmla="*/ 165726 h 165735"/>
                    <a:gd name="connsiteX1" fmla="*/ 6465 w 165188"/>
                    <a:gd name="connsiteY1" fmla="*/ 159159 h 165735"/>
                    <a:gd name="connsiteX2" fmla="*/ 24731 w 165188"/>
                    <a:gd name="connsiteY2" fmla="*/ 141996 h 165735"/>
                    <a:gd name="connsiteX3" fmla="*/ 84111 w 165188"/>
                    <a:gd name="connsiteY3" fmla="*/ 84438 h 165735"/>
                    <a:gd name="connsiteX4" fmla="*/ 141504 w 165188"/>
                    <a:gd name="connsiteY4" fmla="*/ 24837 h 165735"/>
                    <a:gd name="connsiteX5" fmla="*/ 158612 w 165188"/>
                    <a:gd name="connsiteY5" fmla="*/ 6516 h 165735"/>
                    <a:gd name="connsiteX6" fmla="*/ 165179 w 165188"/>
                    <a:gd name="connsiteY6" fmla="*/ 4 h 165735"/>
                    <a:gd name="connsiteX7" fmla="*/ 159550 w 165188"/>
                    <a:gd name="connsiteY7" fmla="*/ 7288 h 165735"/>
                    <a:gd name="connsiteX8" fmla="*/ 143104 w 165188"/>
                    <a:gd name="connsiteY8" fmla="*/ 26272 h 165735"/>
                    <a:gd name="connsiteX9" fmla="*/ 86319 w 165188"/>
                    <a:gd name="connsiteY9" fmla="*/ 86590 h 165735"/>
                    <a:gd name="connsiteX10" fmla="*/ 26221 w 165188"/>
                    <a:gd name="connsiteY10" fmla="*/ 143597 h 165735"/>
                    <a:gd name="connsiteX11" fmla="*/ 7293 w 165188"/>
                    <a:gd name="connsiteY11" fmla="*/ 160097 h 165735"/>
                    <a:gd name="connsiteX12" fmla="*/ 8 w 165188"/>
                    <a:gd name="connsiteY12" fmla="*/ 165726 h 165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5188" h="165735">
                      <a:moveTo>
                        <a:pt x="8" y="165726"/>
                      </a:moveTo>
                      <a:cubicBezTo>
                        <a:pt x="-157" y="165561"/>
                        <a:pt x="2161" y="163243"/>
                        <a:pt x="6465" y="159159"/>
                      </a:cubicBezTo>
                      <a:cubicBezTo>
                        <a:pt x="11156" y="154744"/>
                        <a:pt x="17337" y="148950"/>
                        <a:pt x="24731" y="141996"/>
                      </a:cubicBezTo>
                      <a:cubicBezTo>
                        <a:pt x="40128" y="127482"/>
                        <a:pt x="61319" y="107340"/>
                        <a:pt x="84111" y="84438"/>
                      </a:cubicBezTo>
                      <a:cubicBezTo>
                        <a:pt x="106903" y="61591"/>
                        <a:pt x="127045" y="40344"/>
                        <a:pt x="141504" y="24837"/>
                      </a:cubicBezTo>
                      <a:cubicBezTo>
                        <a:pt x="148457" y="17387"/>
                        <a:pt x="154197" y="11262"/>
                        <a:pt x="158612" y="6516"/>
                      </a:cubicBezTo>
                      <a:cubicBezTo>
                        <a:pt x="162695" y="2211"/>
                        <a:pt x="165013" y="-107"/>
                        <a:pt x="165179" y="4"/>
                      </a:cubicBezTo>
                      <a:cubicBezTo>
                        <a:pt x="165344" y="169"/>
                        <a:pt x="163302" y="2708"/>
                        <a:pt x="159550" y="7288"/>
                      </a:cubicBezTo>
                      <a:cubicBezTo>
                        <a:pt x="155742" y="11869"/>
                        <a:pt x="150168" y="18380"/>
                        <a:pt x="143104" y="26272"/>
                      </a:cubicBezTo>
                      <a:cubicBezTo>
                        <a:pt x="129032" y="42165"/>
                        <a:pt x="109165" y="63633"/>
                        <a:pt x="86319" y="86590"/>
                      </a:cubicBezTo>
                      <a:cubicBezTo>
                        <a:pt x="63527" y="109547"/>
                        <a:pt x="42005" y="129469"/>
                        <a:pt x="26221" y="143597"/>
                      </a:cubicBezTo>
                      <a:cubicBezTo>
                        <a:pt x="18330" y="150660"/>
                        <a:pt x="11818" y="156289"/>
                        <a:pt x="7293" y="160097"/>
                      </a:cubicBezTo>
                      <a:cubicBezTo>
                        <a:pt x="2712" y="163850"/>
                        <a:pt x="119" y="165892"/>
                        <a:pt x="8" y="165726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77" name="Graphic 179">
                <a:extLst>
                  <a:ext uri="{FF2B5EF4-FFF2-40B4-BE49-F238E27FC236}">
                    <a16:creationId xmlns:a16="http://schemas.microsoft.com/office/drawing/2014/main" id="{D6491126-2B1A-4908-80EC-E2C394B20390}"/>
                  </a:ext>
                </a:extLst>
              </p:cNvPr>
              <p:cNvGrpSpPr/>
              <p:nvPr/>
            </p:nvGrpSpPr>
            <p:grpSpPr>
              <a:xfrm>
                <a:off x="6119712" y="-2437811"/>
                <a:ext cx="211004" cy="360097"/>
                <a:chOff x="6119712" y="-2437811"/>
                <a:chExt cx="211004" cy="360097"/>
              </a:xfrm>
              <a:solidFill>
                <a:srgbClr val="F5F5F5"/>
              </a:solidFill>
            </p:grpSpPr>
            <p:sp>
              <p:nvSpPr>
                <p:cNvPr id="990" name="Freeform: Shape 989">
                  <a:extLst>
                    <a:ext uri="{FF2B5EF4-FFF2-40B4-BE49-F238E27FC236}">
                      <a16:creationId xmlns:a16="http://schemas.microsoft.com/office/drawing/2014/main" id="{84988B5C-EFB2-4F89-B4B9-3B74CDE5052C}"/>
                    </a:ext>
                  </a:extLst>
                </p:cNvPr>
                <p:cNvSpPr/>
                <p:nvPr/>
              </p:nvSpPr>
              <p:spPr>
                <a:xfrm>
                  <a:off x="6119712" y="-2362150"/>
                  <a:ext cx="208296" cy="284436"/>
                </a:xfrm>
                <a:custGeom>
                  <a:avLst/>
                  <a:gdLst>
                    <a:gd name="connsiteX0" fmla="*/ 208297 w 208296"/>
                    <a:gd name="connsiteY0" fmla="*/ 208822 h 284436"/>
                    <a:gd name="connsiteX1" fmla="*/ 154435 w 208296"/>
                    <a:gd name="connsiteY1" fmla="*/ 192046 h 284436"/>
                    <a:gd name="connsiteX2" fmla="*/ 93069 w 208296"/>
                    <a:gd name="connsiteY2" fmla="*/ 223391 h 284436"/>
                    <a:gd name="connsiteX3" fmla="*/ 59571 w 208296"/>
                    <a:gd name="connsiteY3" fmla="*/ 182388 h 284436"/>
                    <a:gd name="connsiteX4" fmla="*/ 77010 w 208296"/>
                    <a:gd name="connsiteY4" fmla="*/ 139951 h 284436"/>
                    <a:gd name="connsiteX5" fmla="*/ 149413 w 208296"/>
                    <a:gd name="connsiteY5" fmla="*/ 138019 h 284436"/>
                    <a:gd name="connsiteX6" fmla="*/ 187271 w 208296"/>
                    <a:gd name="connsiteY6" fmla="*/ 16611 h 284436"/>
                    <a:gd name="connsiteX7" fmla="*/ 134017 w 208296"/>
                    <a:gd name="connsiteY7" fmla="*/ 0 h 284436"/>
                    <a:gd name="connsiteX8" fmla="*/ 111832 w 208296"/>
                    <a:gd name="connsiteY8" fmla="*/ 71134 h 284436"/>
                    <a:gd name="connsiteX9" fmla="*/ 5434 w 208296"/>
                    <a:gd name="connsiteY9" fmla="*/ 149443 h 284436"/>
                    <a:gd name="connsiteX10" fmla="*/ 76017 w 208296"/>
                    <a:gd name="connsiteY10" fmla="*/ 277970 h 284436"/>
                    <a:gd name="connsiteX11" fmla="*/ 208297 w 208296"/>
                    <a:gd name="connsiteY11" fmla="*/ 208822 h 28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8296" h="284436">
                      <a:moveTo>
                        <a:pt x="208297" y="208822"/>
                      </a:moveTo>
                      <a:lnTo>
                        <a:pt x="154435" y="192046"/>
                      </a:lnTo>
                      <a:cubicBezTo>
                        <a:pt x="154435" y="192046"/>
                        <a:pt x="140308" y="237243"/>
                        <a:pt x="93069" y="223391"/>
                      </a:cubicBezTo>
                      <a:cubicBezTo>
                        <a:pt x="68511" y="216217"/>
                        <a:pt x="60841" y="196240"/>
                        <a:pt x="59571" y="182388"/>
                      </a:cubicBezTo>
                      <a:cubicBezTo>
                        <a:pt x="58026" y="166329"/>
                        <a:pt x="64924" y="150657"/>
                        <a:pt x="77010" y="139951"/>
                      </a:cubicBezTo>
                      <a:cubicBezTo>
                        <a:pt x="90862" y="127755"/>
                        <a:pt x="115143" y="120305"/>
                        <a:pt x="149413" y="138019"/>
                      </a:cubicBezTo>
                      <a:lnTo>
                        <a:pt x="187271" y="16611"/>
                      </a:lnTo>
                      <a:lnTo>
                        <a:pt x="134017" y="0"/>
                      </a:lnTo>
                      <a:lnTo>
                        <a:pt x="111832" y="71134"/>
                      </a:lnTo>
                      <a:cubicBezTo>
                        <a:pt x="111832" y="71134"/>
                        <a:pt x="31096" y="67161"/>
                        <a:pt x="5434" y="149443"/>
                      </a:cubicBezTo>
                      <a:cubicBezTo>
                        <a:pt x="-19123" y="228192"/>
                        <a:pt x="45775" y="268533"/>
                        <a:pt x="76017" y="277970"/>
                      </a:cubicBezTo>
                      <a:cubicBezTo>
                        <a:pt x="99195" y="285144"/>
                        <a:pt x="179655" y="304128"/>
                        <a:pt x="208297" y="208822"/>
                      </a:cubicBez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1" name="Freeform: Shape 990">
                  <a:extLst>
                    <a:ext uri="{FF2B5EF4-FFF2-40B4-BE49-F238E27FC236}">
                      <a16:creationId xmlns:a16="http://schemas.microsoft.com/office/drawing/2014/main" id="{93D7629A-B1A9-4137-9884-3E16EF534E67}"/>
                    </a:ext>
                  </a:extLst>
                </p:cNvPr>
                <p:cNvSpPr/>
                <p:nvPr/>
              </p:nvSpPr>
              <p:spPr>
                <a:xfrm rot="-9760440">
                  <a:off x="6267510" y="-2430580"/>
                  <a:ext cx="56618" cy="52866"/>
                </a:xfrm>
                <a:custGeom>
                  <a:avLst/>
                  <a:gdLst>
                    <a:gd name="connsiteX0" fmla="*/ 0 w 56618"/>
                    <a:gd name="connsiteY0" fmla="*/ 0 h 52866"/>
                    <a:gd name="connsiteX1" fmla="*/ 56619 w 56618"/>
                    <a:gd name="connsiteY1" fmla="*/ 0 h 52866"/>
                    <a:gd name="connsiteX2" fmla="*/ 56619 w 56618"/>
                    <a:gd name="connsiteY2" fmla="*/ 52866 h 52866"/>
                    <a:gd name="connsiteX3" fmla="*/ 0 w 56618"/>
                    <a:gd name="connsiteY3" fmla="*/ 52866 h 5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618" h="52866">
                      <a:moveTo>
                        <a:pt x="0" y="0"/>
                      </a:moveTo>
                      <a:lnTo>
                        <a:pt x="56619" y="0"/>
                      </a:lnTo>
                      <a:lnTo>
                        <a:pt x="56619" y="52866"/>
                      </a:lnTo>
                      <a:lnTo>
                        <a:pt x="0" y="52866"/>
                      </a:ln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78" name="Graphic 179">
                <a:extLst>
                  <a:ext uri="{FF2B5EF4-FFF2-40B4-BE49-F238E27FC236}">
                    <a16:creationId xmlns:a16="http://schemas.microsoft.com/office/drawing/2014/main" id="{43CFCCCE-727C-44E6-A4FF-C4C1ECC59C72}"/>
                  </a:ext>
                </a:extLst>
              </p:cNvPr>
              <p:cNvGrpSpPr/>
              <p:nvPr/>
            </p:nvGrpSpPr>
            <p:grpSpPr>
              <a:xfrm>
                <a:off x="6474503" y="-2342722"/>
                <a:ext cx="84160" cy="142465"/>
                <a:chOff x="6474503" y="-2342722"/>
                <a:chExt cx="84160" cy="142465"/>
              </a:xfrm>
              <a:solidFill>
                <a:srgbClr val="EBEBEB"/>
              </a:solidFill>
            </p:grpSpPr>
            <p:sp>
              <p:nvSpPr>
                <p:cNvPr id="988" name="Freeform: Shape 987">
                  <a:extLst>
                    <a:ext uri="{FF2B5EF4-FFF2-40B4-BE49-F238E27FC236}">
                      <a16:creationId xmlns:a16="http://schemas.microsoft.com/office/drawing/2014/main" id="{9D456D8D-30F9-4ACC-90E6-E503E4825CDF}"/>
                    </a:ext>
                  </a:extLst>
                </p:cNvPr>
                <p:cNvSpPr/>
                <p:nvPr/>
              </p:nvSpPr>
              <p:spPr>
                <a:xfrm>
                  <a:off x="6474503" y="-2342722"/>
                  <a:ext cx="84160" cy="112244"/>
                </a:xfrm>
                <a:custGeom>
                  <a:avLst/>
                  <a:gdLst>
                    <a:gd name="connsiteX0" fmla="*/ 2120 w 84160"/>
                    <a:gd name="connsiteY0" fmla="*/ 52313 h 112244"/>
                    <a:gd name="connsiteX1" fmla="*/ 23698 w 84160"/>
                    <a:gd name="connsiteY1" fmla="*/ 46629 h 112244"/>
                    <a:gd name="connsiteX2" fmla="*/ 37660 w 84160"/>
                    <a:gd name="connsiteY2" fmla="*/ 23230 h 112244"/>
                    <a:gd name="connsiteX3" fmla="*/ 57472 w 84160"/>
                    <a:gd name="connsiteY3" fmla="*/ 29907 h 112244"/>
                    <a:gd name="connsiteX4" fmla="*/ 60562 w 84160"/>
                    <a:gd name="connsiteY4" fmla="*/ 47788 h 112244"/>
                    <a:gd name="connsiteX5" fmla="*/ 36722 w 84160"/>
                    <a:gd name="connsiteY5" fmla="*/ 63626 h 112244"/>
                    <a:gd name="connsiteX6" fmla="*/ 49525 w 84160"/>
                    <a:gd name="connsiteY6" fmla="*/ 112244 h 112244"/>
                    <a:gd name="connsiteX7" fmla="*/ 70827 w 84160"/>
                    <a:gd name="connsiteY7" fmla="*/ 106615 h 112244"/>
                    <a:gd name="connsiteX8" fmla="*/ 63321 w 84160"/>
                    <a:gd name="connsiteY8" fmla="*/ 78140 h 112244"/>
                    <a:gd name="connsiteX9" fmla="*/ 82471 w 84160"/>
                    <a:gd name="connsiteY9" fmla="*/ 29576 h 112244"/>
                    <a:gd name="connsiteX10" fmla="*/ 31810 w 84160"/>
                    <a:gd name="connsiteY10" fmla="*/ 1377 h 112244"/>
                    <a:gd name="connsiteX11" fmla="*/ 2120 w 84160"/>
                    <a:gd name="connsiteY11" fmla="*/ 52313 h 1122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4160" h="112244">
                      <a:moveTo>
                        <a:pt x="2120" y="52313"/>
                      </a:moveTo>
                      <a:lnTo>
                        <a:pt x="23698" y="46629"/>
                      </a:lnTo>
                      <a:cubicBezTo>
                        <a:pt x="23698" y="46629"/>
                        <a:pt x="18897" y="28528"/>
                        <a:pt x="37660" y="23230"/>
                      </a:cubicBezTo>
                      <a:cubicBezTo>
                        <a:pt x="47373" y="20471"/>
                        <a:pt x="54161" y="25548"/>
                        <a:pt x="57472" y="29907"/>
                      </a:cubicBezTo>
                      <a:cubicBezTo>
                        <a:pt x="61390" y="34985"/>
                        <a:pt x="62328" y="41662"/>
                        <a:pt x="60562" y="47788"/>
                      </a:cubicBezTo>
                      <a:cubicBezTo>
                        <a:pt x="58520" y="54796"/>
                        <a:pt x="51898" y="62357"/>
                        <a:pt x="36722" y="63626"/>
                      </a:cubicBezTo>
                      <a:lnTo>
                        <a:pt x="49525" y="112244"/>
                      </a:lnTo>
                      <a:lnTo>
                        <a:pt x="70827" y="106615"/>
                      </a:lnTo>
                      <a:lnTo>
                        <a:pt x="63321" y="78140"/>
                      </a:lnTo>
                      <a:cubicBezTo>
                        <a:pt x="63321" y="78140"/>
                        <a:pt x="91190" y="62522"/>
                        <a:pt x="82471" y="29576"/>
                      </a:cubicBezTo>
                      <a:cubicBezTo>
                        <a:pt x="74138" y="-1935"/>
                        <a:pt x="43951" y="-1824"/>
                        <a:pt x="31810" y="1377"/>
                      </a:cubicBezTo>
                      <a:cubicBezTo>
                        <a:pt x="22650" y="3805"/>
                        <a:pt x="-8310" y="14345"/>
                        <a:pt x="2120" y="52313"/>
                      </a:cubicBez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989" name="Freeform: Shape 988">
                  <a:extLst>
                    <a:ext uri="{FF2B5EF4-FFF2-40B4-BE49-F238E27FC236}">
                      <a16:creationId xmlns:a16="http://schemas.microsoft.com/office/drawing/2014/main" id="{F6588315-04A5-4C71-86FA-88CE188465E6}"/>
                    </a:ext>
                  </a:extLst>
                </p:cNvPr>
                <p:cNvSpPr/>
                <p:nvPr/>
              </p:nvSpPr>
              <p:spPr>
                <a:xfrm rot="-886784">
                  <a:off x="6528941" y="-2223683"/>
                  <a:ext cx="22405" cy="20915"/>
                </a:xfrm>
                <a:custGeom>
                  <a:avLst/>
                  <a:gdLst>
                    <a:gd name="connsiteX0" fmla="*/ 0 w 22405"/>
                    <a:gd name="connsiteY0" fmla="*/ 0 h 20915"/>
                    <a:gd name="connsiteX1" fmla="*/ 22405 w 22405"/>
                    <a:gd name="connsiteY1" fmla="*/ 0 h 20915"/>
                    <a:gd name="connsiteX2" fmla="*/ 22405 w 22405"/>
                    <a:gd name="connsiteY2" fmla="*/ 20915 h 20915"/>
                    <a:gd name="connsiteX3" fmla="*/ 0 w 22405"/>
                    <a:gd name="connsiteY3" fmla="*/ 20915 h 20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405" h="20915">
                      <a:moveTo>
                        <a:pt x="0" y="0"/>
                      </a:moveTo>
                      <a:lnTo>
                        <a:pt x="22405" y="0"/>
                      </a:lnTo>
                      <a:lnTo>
                        <a:pt x="22405" y="20915"/>
                      </a:lnTo>
                      <a:lnTo>
                        <a:pt x="0" y="20915"/>
                      </a:ln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79" name="Graphic 179">
                <a:extLst>
                  <a:ext uri="{FF2B5EF4-FFF2-40B4-BE49-F238E27FC236}">
                    <a16:creationId xmlns:a16="http://schemas.microsoft.com/office/drawing/2014/main" id="{90E21A2F-758B-450E-B647-86D1D73C01C2}"/>
                  </a:ext>
                </a:extLst>
              </p:cNvPr>
              <p:cNvGrpSpPr/>
              <p:nvPr/>
            </p:nvGrpSpPr>
            <p:grpSpPr>
              <a:xfrm>
                <a:off x="8252249" y="-1760191"/>
                <a:ext cx="87682" cy="141572"/>
                <a:chOff x="8252249" y="-1760191"/>
                <a:chExt cx="87682" cy="141572"/>
              </a:xfrm>
              <a:solidFill>
                <a:srgbClr val="EBEBEB"/>
              </a:solidFill>
            </p:grpSpPr>
            <p:sp>
              <p:nvSpPr>
                <p:cNvPr id="986" name="Freeform: Shape 985">
                  <a:extLst>
                    <a:ext uri="{FF2B5EF4-FFF2-40B4-BE49-F238E27FC236}">
                      <a16:creationId xmlns:a16="http://schemas.microsoft.com/office/drawing/2014/main" id="{3C9E9ABB-0D26-4847-9D30-CBDA8FA30D7B}"/>
                    </a:ext>
                  </a:extLst>
                </p:cNvPr>
                <p:cNvSpPr/>
                <p:nvPr/>
              </p:nvSpPr>
              <p:spPr>
                <a:xfrm>
                  <a:off x="8258069" y="-1760191"/>
                  <a:ext cx="81861" cy="112086"/>
                </a:xfrm>
                <a:custGeom>
                  <a:avLst/>
                  <a:gdLst>
                    <a:gd name="connsiteX0" fmla="*/ 0 w 81861"/>
                    <a:gd name="connsiteY0" fmla="*/ 28315 h 112086"/>
                    <a:gd name="connsiteX1" fmla="*/ 20970 w 81861"/>
                    <a:gd name="connsiteY1" fmla="*/ 35931 h 112086"/>
                    <a:gd name="connsiteX2" fmla="*/ 45749 w 81861"/>
                    <a:gd name="connsiteY2" fmla="*/ 24618 h 112086"/>
                    <a:gd name="connsiteX3" fmla="*/ 58276 w 81861"/>
                    <a:gd name="connsiteY3" fmla="*/ 41394 h 112086"/>
                    <a:gd name="connsiteX4" fmla="*/ 50605 w 81861"/>
                    <a:gd name="connsiteY4" fmla="*/ 57840 h 112086"/>
                    <a:gd name="connsiteX5" fmla="*/ 21964 w 81861"/>
                    <a:gd name="connsiteY5" fmla="*/ 57288 h 112086"/>
                    <a:gd name="connsiteX6" fmla="*/ 4856 w 81861"/>
                    <a:gd name="connsiteY6" fmla="*/ 104582 h 112086"/>
                    <a:gd name="connsiteX7" fmla="*/ 25606 w 81861"/>
                    <a:gd name="connsiteY7" fmla="*/ 112087 h 112086"/>
                    <a:gd name="connsiteX8" fmla="*/ 35650 w 81861"/>
                    <a:gd name="connsiteY8" fmla="*/ 84384 h 112086"/>
                    <a:gd name="connsiteX9" fmla="*/ 79081 w 81861"/>
                    <a:gd name="connsiteY9" fmla="*/ 55356 h 112086"/>
                    <a:gd name="connsiteX10" fmla="*/ 53475 w 81861"/>
                    <a:gd name="connsiteY10" fmla="*/ 3316 h 112086"/>
                    <a:gd name="connsiteX11" fmla="*/ 0 w 81861"/>
                    <a:gd name="connsiteY11" fmla="*/ 28315 h 112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1861" h="112086">
                      <a:moveTo>
                        <a:pt x="0" y="28315"/>
                      </a:moveTo>
                      <a:lnTo>
                        <a:pt x="20970" y="35931"/>
                      </a:lnTo>
                      <a:cubicBezTo>
                        <a:pt x="20970" y="35931"/>
                        <a:pt x="27372" y="18327"/>
                        <a:pt x="45749" y="24618"/>
                      </a:cubicBezTo>
                      <a:cubicBezTo>
                        <a:pt x="55296" y="27874"/>
                        <a:pt x="58000" y="35931"/>
                        <a:pt x="58276" y="41394"/>
                      </a:cubicBezTo>
                      <a:cubicBezTo>
                        <a:pt x="58607" y="47796"/>
                        <a:pt x="55627" y="53811"/>
                        <a:pt x="50605" y="57840"/>
                      </a:cubicBezTo>
                      <a:cubicBezTo>
                        <a:pt x="44921" y="62420"/>
                        <a:pt x="35208" y="64903"/>
                        <a:pt x="21964" y="57288"/>
                      </a:cubicBezTo>
                      <a:lnTo>
                        <a:pt x="4856" y="104582"/>
                      </a:lnTo>
                      <a:lnTo>
                        <a:pt x="25606" y="112087"/>
                      </a:lnTo>
                      <a:lnTo>
                        <a:pt x="35650" y="84384"/>
                      </a:lnTo>
                      <a:cubicBezTo>
                        <a:pt x="35650" y="84384"/>
                        <a:pt x="67437" y="87419"/>
                        <a:pt x="79081" y="55356"/>
                      </a:cubicBezTo>
                      <a:cubicBezTo>
                        <a:pt x="90173" y="24673"/>
                        <a:pt x="65284" y="7621"/>
                        <a:pt x="53475" y="3316"/>
                      </a:cubicBezTo>
                      <a:cubicBezTo>
                        <a:pt x="44480" y="60"/>
                        <a:pt x="13024" y="-8825"/>
                        <a:pt x="0" y="28315"/>
                      </a:cubicBez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7" name="Freeform: Shape 986">
                  <a:extLst>
                    <a:ext uri="{FF2B5EF4-FFF2-40B4-BE49-F238E27FC236}">
                      <a16:creationId xmlns:a16="http://schemas.microsoft.com/office/drawing/2014/main" id="{2137A308-0F3C-452C-8390-3A0CCCEB0EC8}"/>
                    </a:ext>
                  </a:extLst>
                </p:cNvPr>
                <p:cNvSpPr/>
                <p:nvPr/>
              </p:nvSpPr>
              <p:spPr>
                <a:xfrm rot="1194816">
                  <a:off x="8255141" y="-1642724"/>
                  <a:ext cx="22405" cy="20915"/>
                </a:xfrm>
                <a:custGeom>
                  <a:avLst/>
                  <a:gdLst>
                    <a:gd name="connsiteX0" fmla="*/ 0 w 22405"/>
                    <a:gd name="connsiteY0" fmla="*/ 0 h 20915"/>
                    <a:gd name="connsiteX1" fmla="*/ 22405 w 22405"/>
                    <a:gd name="connsiteY1" fmla="*/ 0 h 20915"/>
                    <a:gd name="connsiteX2" fmla="*/ 22405 w 22405"/>
                    <a:gd name="connsiteY2" fmla="*/ 20915 h 20915"/>
                    <a:gd name="connsiteX3" fmla="*/ 0 w 22405"/>
                    <a:gd name="connsiteY3" fmla="*/ 20915 h 20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405" h="20915">
                      <a:moveTo>
                        <a:pt x="0" y="0"/>
                      </a:moveTo>
                      <a:lnTo>
                        <a:pt x="22405" y="0"/>
                      </a:lnTo>
                      <a:lnTo>
                        <a:pt x="22405" y="20915"/>
                      </a:lnTo>
                      <a:lnTo>
                        <a:pt x="0" y="20915"/>
                      </a:ln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80" name="Graphic 179">
                <a:extLst>
                  <a:ext uri="{FF2B5EF4-FFF2-40B4-BE49-F238E27FC236}">
                    <a16:creationId xmlns:a16="http://schemas.microsoft.com/office/drawing/2014/main" id="{77504281-3ED9-44D4-B8DE-64A0F1B8B44D}"/>
                  </a:ext>
                </a:extLst>
              </p:cNvPr>
              <p:cNvGrpSpPr/>
              <p:nvPr/>
            </p:nvGrpSpPr>
            <p:grpSpPr>
              <a:xfrm>
                <a:off x="6024114" y="-1612864"/>
                <a:ext cx="191266" cy="299372"/>
                <a:chOff x="6024114" y="-1612864"/>
                <a:chExt cx="191266" cy="299372"/>
              </a:xfrm>
              <a:solidFill>
                <a:srgbClr val="F5F5F5"/>
              </a:solidFill>
            </p:grpSpPr>
            <p:sp>
              <p:nvSpPr>
                <p:cNvPr id="984" name="Freeform: Shape 983">
                  <a:extLst>
                    <a:ext uri="{FF2B5EF4-FFF2-40B4-BE49-F238E27FC236}">
                      <a16:creationId xmlns:a16="http://schemas.microsoft.com/office/drawing/2014/main" id="{CFD541D0-F28D-4CF0-A387-DA13FF42EAF8}"/>
                    </a:ext>
                  </a:extLst>
                </p:cNvPr>
                <p:cNvSpPr/>
                <p:nvPr/>
              </p:nvSpPr>
              <p:spPr>
                <a:xfrm>
                  <a:off x="6024114" y="-1612864"/>
                  <a:ext cx="180481" cy="237155"/>
                </a:xfrm>
                <a:custGeom>
                  <a:avLst/>
                  <a:gdLst>
                    <a:gd name="connsiteX0" fmla="*/ 8431 w 180481"/>
                    <a:gd name="connsiteY0" fmla="*/ 121156 h 237155"/>
                    <a:gd name="connsiteX1" fmla="*/ 52800 w 180481"/>
                    <a:gd name="connsiteY1" fmla="*/ 104048 h 237155"/>
                    <a:gd name="connsiteX2" fmla="*/ 76916 w 180481"/>
                    <a:gd name="connsiteY2" fmla="*/ 51180 h 237155"/>
                    <a:gd name="connsiteX3" fmla="*/ 120513 w 180481"/>
                    <a:gd name="connsiteY3" fmla="*/ 60727 h 237155"/>
                    <a:gd name="connsiteX4" fmla="*/ 131219 w 180481"/>
                    <a:gd name="connsiteY4" fmla="*/ 97867 h 237155"/>
                    <a:gd name="connsiteX5" fmla="*/ 84366 w 180481"/>
                    <a:gd name="connsiteY5" fmla="*/ 137049 h 237155"/>
                    <a:gd name="connsiteX6" fmla="*/ 122886 w 180481"/>
                    <a:gd name="connsiteY6" fmla="*/ 237156 h 237155"/>
                    <a:gd name="connsiteX7" fmla="*/ 166758 w 180481"/>
                    <a:gd name="connsiteY7" fmla="*/ 220269 h 237155"/>
                    <a:gd name="connsiteX8" fmla="*/ 144187 w 180481"/>
                    <a:gd name="connsiteY8" fmla="*/ 161662 h 237155"/>
                    <a:gd name="connsiteX9" fmla="*/ 173491 w 180481"/>
                    <a:gd name="connsiteY9" fmla="*/ 54216 h 237155"/>
                    <a:gd name="connsiteX10" fmla="*/ 59588 w 180481"/>
                    <a:gd name="connsiteY10" fmla="*/ 6259 h 237155"/>
                    <a:gd name="connsiteX11" fmla="*/ 8431 w 180481"/>
                    <a:gd name="connsiteY11" fmla="*/ 121156 h 237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0481" h="237155">
                      <a:moveTo>
                        <a:pt x="8431" y="121156"/>
                      </a:moveTo>
                      <a:lnTo>
                        <a:pt x="52800" y="104048"/>
                      </a:lnTo>
                      <a:cubicBezTo>
                        <a:pt x="52800" y="104048"/>
                        <a:pt x="38452" y="66798"/>
                        <a:pt x="76916" y="51180"/>
                      </a:cubicBezTo>
                      <a:cubicBezTo>
                        <a:pt x="96893" y="43068"/>
                        <a:pt x="112400" y="52229"/>
                        <a:pt x="120513" y="60727"/>
                      </a:cubicBezTo>
                      <a:cubicBezTo>
                        <a:pt x="129949" y="70551"/>
                        <a:pt x="133592" y="84457"/>
                        <a:pt x="131219" y="97867"/>
                      </a:cubicBezTo>
                      <a:cubicBezTo>
                        <a:pt x="128459" y="113154"/>
                        <a:pt x="116319" y="130813"/>
                        <a:pt x="84366" y="137049"/>
                      </a:cubicBezTo>
                      <a:lnTo>
                        <a:pt x="122886" y="237156"/>
                      </a:lnTo>
                      <a:lnTo>
                        <a:pt x="166758" y="220269"/>
                      </a:lnTo>
                      <a:lnTo>
                        <a:pt x="144187" y="161662"/>
                      </a:lnTo>
                      <a:cubicBezTo>
                        <a:pt x="144187" y="161662"/>
                        <a:pt x="199594" y="122039"/>
                        <a:pt x="173491" y="54216"/>
                      </a:cubicBezTo>
                      <a:cubicBezTo>
                        <a:pt x="148492" y="-10683"/>
                        <a:pt x="84477" y="-3343"/>
                        <a:pt x="59588" y="6259"/>
                      </a:cubicBezTo>
                      <a:cubicBezTo>
                        <a:pt x="40549" y="13544"/>
                        <a:pt x="-22583" y="43179"/>
                        <a:pt x="8431" y="121156"/>
                      </a:cubicBez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5" name="Freeform: Shape 984">
                  <a:extLst>
                    <a:ext uri="{FF2B5EF4-FFF2-40B4-BE49-F238E27FC236}">
                      <a16:creationId xmlns:a16="http://schemas.microsoft.com/office/drawing/2014/main" id="{351C6B9F-A322-4122-A75C-8DABC29B9695}"/>
                    </a:ext>
                  </a:extLst>
                </p:cNvPr>
                <p:cNvSpPr/>
                <p:nvPr/>
              </p:nvSpPr>
              <p:spPr>
                <a:xfrm rot="-1264225">
                  <a:off x="6161228" y="-1365169"/>
                  <a:ext cx="47733" cy="44588"/>
                </a:xfrm>
                <a:custGeom>
                  <a:avLst/>
                  <a:gdLst>
                    <a:gd name="connsiteX0" fmla="*/ 0 w 47733"/>
                    <a:gd name="connsiteY0" fmla="*/ 0 h 44588"/>
                    <a:gd name="connsiteX1" fmla="*/ 47734 w 47733"/>
                    <a:gd name="connsiteY1" fmla="*/ 0 h 44588"/>
                    <a:gd name="connsiteX2" fmla="*/ 47734 w 47733"/>
                    <a:gd name="connsiteY2" fmla="*/ 44588 h 44588"/>
                    <a:gd name="connsiteX3" fmla="*/ 0 w 47733"/>
                    <a:gd name="connsiteY3" fmla="*/ 44588 h 44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33" h="44588">
                      <a:moveTo>
                        <a:pt x="0" y="0"/>
                      </a:moveTo>
                      <a:lnTo>
                        <a:pt x="47734" y="0"/>
                      </a:lnTo>
                      <a:lnTo>
                        <a:pt x="47734" y="44588"/>
                      </a:lnTo>
                      <a:lnTo>
                        <a:pt x="0" y="44588"/>
                      </a:lnTo>
                      <a:close/>
                    </a:path>
                  </a:pathLst>
                </a:custGeom>
                <a:solidFill>
                  <a:srgbClr val="002E35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81" name="Graphic 179">
                <a:extLst>
                  <a:ext uri="{FF2B5EF4-FFF2-40B4-BE49-F238E27FC236}">
                    <a16:creationId xmlns:a16="http://schemas.microsoft.com/office/drawing/2014/main" id="{8E800FB8-CCEC-40C7-A750-139A930138EC}"/>
                  </a:ext>
                </a:extLst>
              </p:cNvPr>
              <p:cNvGrpSpPr/>
              <p:nvPr/>
            </p:nvGrpSpPr>
            <p:grpSpPr>
              <a:xfrm>
                <a:off x="8145844" y="-1449582"/>
                <a:ext cx="135469" cy="212230"/>
                <a:chOff x="8145844" y="-1449582"/>
                <a:chExt cx="135469" cy="212230"/>
              </a:xfrm>
              <a:solidFill>
                <a:srgbClr val="F5F5F5"/>
              </a:solidFill>
            </p:grpSpPr>
            <p:sp>
              <p:nvSpPr>
                <p:cNvPr id="982" name="Freeform: Shape 981">
                  <a:extLst>
                    <a:ext uri="{FF2B5EF4-FFF2-40B4-BE49-F238E27FC236}">
                      <a16:creationId xmlns:a16="http://schemas.microsoft.com/office/drawing/2014/main" id="{82D09061-08FB-4E0B-9FAD-F00900EC619F}"/>
                    </a:ext>
                  </a:extLst>
                </p:cNvPr>
                <p:cNvSpPr/>
                <p:nvPr/>
              </p:nvSpPr>
              <p:spPr>
                <a:xfrm>
                  <a:off x="8153322" y="-1405453"/>
                  <a:ext cx="127991" cy="168101"/>
                </a:xfrm>
                <a:custGeom>
                  <a:avLst/>
                  <a:gdLst>
                    <a:gd name="connsiteX0" fmla="*/ 122021 w 127991"/>
                    <a:gd name="connsiteY0" fmla="*/ 82116 h 168101"/>
                    <a:gd name="connsiteX1" fmla="*/ 90565 w 127991"/>
                    <a:gd name="connsiteY1" fmla="*/ 94257 h 168101"/>
                    <a:gd name="connsiteX2" fmla="*/ 73457 w 127991"/>
                    <a:gd name="connsiteY2" fmla="*/ 131728 h 168101"/>
                    <a:gd name="connsiteX3" fmla="*/ 42553 w 127991"/>
                    <a:gd name="connsiteY3" fmla="*/ 124995 h 168101"/>
                    <a:gd name="connsiteX4" fmla="*/ 34993 w 127991"/>
                    <a:gd name="connsiteY4" fmla="*/ 98672 h 168101"/>
                    <a:gd name="connsiteX5" fmla="*/ 68159 w 127991"/>
                    <a:gd name="connsiteY5" fmla="*/ 70914 h 168101"/>
                    <a:gd name="connsiteX6" fmla="*/ 40843 w 127991"/>
                    <a:gd name="connsiteY6" fmla="*/ 0 h 168101"/>
                    <a:gd name="connsiteX7" fmla="*/ 9718 w 127991"/>
                    <a:gd name="connsiteY7" fmla="*/ 11975 h 168101"/>
                    <a:gd name="connsiteX8" fmla="*/ 25722 w 127991"/>
                    <a:gd name="connsiteY8" fmla="*/ 53530 h 168101"/>
                    <a:gd name="connsiteX9" fmla="*/ 4972 w 127991"/>
                    <a:gd name="connsiteY9" fmla="*/ 129686 h 168101"/>
                    <a:gd name="connsiteX10" fmla="*/ 85708 w 127991"/>
                    <a:gd name="connsiteY10" fmla="*/ 163681 h 168101"/>
                    <a:gd name="connsiteX11" fmla="*/ 122021 w 127991"/>
                    <a:gd name="connsiteY11" fmla="*/ 82116 h 168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7991" h="168101">
                      <a:moveTo>
                        <a:pt x="122021" y="82116"/>
                      </a:moveTo>
                      <a:lnTo>
                        <a:pt x="90565" y="94257"/>
                      </a:lnTo>
                      <a:cubicBezTo>
                        <a:pt x="90565" y="94257"/>
                        <a:pt x="100719" y="120691"/>
                        <a:pt x="73457" y="131728"/>
                      </a:cubicBezTo>
                      <a:cubicBezTo>
                        <a:pt x="59275" y="137467"/>
                        <a:pt x="48293" y="130955"/>
                        <a:pt x="42553" y="124995"/>
                      </a:cubicBezTo>
                      <a:cubicBezTo>
                        <a:pt x="35876" y="118042"/>
                        <a:pt x="33282" y="108164"/>
                        <a:pt x="34993" y="98672"/>
                      </a:cubicBezTo>
                      <a:cubicBezTo>
                        <a:pt x="36924" y="87800"/>
                        <a:pt x="45533" y="75328"/>
                        <a:pt x="68159" y="70914"/>
                      </a:cubicBezTo>
                      <a:lnTo>
                        <a:pt x="40843" y="0"/>
                      </a:lnTo>
                      <a:lnTo>
                        <a:pt x="9718" y="11975"/>
                      </a:lnTo>
                      <a:lnTo>
                        <a:pt x="25722" y="53530"/>
                      </a:lnTo>
                      <a:cubicBezTo>
                        <a:pt x="25722" y="53530"/>
                        <a:pt x="-13570" y="81620"/>
                        <a:pt x="4972" y="129686"/>
                      </a:cubicBezTo>
                      <a:cubicBezTo>
                        <a:pt x="22687" y="175656"/>
                        <a:pt x="68049" y="170468"/>
                        <a:pt x="85708" y="163681"/>
                      </a:cubicBezTo>
                      <a:cubicBezTo>
                        <a:pt x="99284" y="158328"/>
                        <a:pt x="143984" y="137357"/>
                        <a:pt x="122021" y="82116"/>
                      </a:cubicBez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3" name="Freeform: Shape 982">
                  <a:extLst>
                    <a:ext uri="{FF2B5EF4-FFF2-40B4-BE49-F238E27FC236}">
                      <a16:creationId xmlns:a16="http://schemas.microsoft.com/office/drawing/2014/main" id="{CFFCD080-DDF6-40B6-BF50-4FE978C6B43E}"/>
                    </a:ext>
                  </a:extLst>
                </p:cNvPr>
                <p:cNvSpPr/>
                <p:nvPr/>
              </p:nvSpPr>
              <p:spPr>
                <a:xfrm rot="9535775">
                  <a:off x="8150387" y="-1444557"/>
                  <a:ext cx="33827" cy="31564"/>
                </a:xfrm>
                <a:custGeom>
                  <a:avLst/>
                  <a:gdLst>
                    <a:gd name="connsiteX0" fmla="*/ 0 w 33827"/>
                    <a:gd name="connsiteY0" fmla="*/ 0 h 31564"/>
                    <a:gd name="connsiteX1" fmla="*/ 33827 w 33827"/>
                    <a:gd name="connsiteY1" fmla="*/ 0 h 31564"/>
                    <a:gd name="connsiteX2" fmla="*/ 33827 w 33827"/>
                    <a:gd name="connsiteY2" fmla="*/ 31565 h 31564"/>
                    <a:gd name="connsiteX3" fmla="*/ 0 w 33827"/>
                    <a:gd name="connsiteY3" fmla="*/ 31565 h 31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827" h="31564">
                      <a:moveTo>
                        <a:pt x="0" y="0"/>
                      </a:moveTo>
                      <a:lnTo>
                        <a:pt x="33827" y="0"/>
                      </a:lnTo>
                      <a:lnTo>
                        <a:pt x="33827" y="31565"/>
                      </a:lnTo>
                      <a:lnTo>
                        <a:pt x="0" y="31565"/>
                      </a:ln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2186D0F-7614-49E1-8B2B-57201094FAE3}"/>
                </a:ext>
              </a:extLst>
            </p:cNvPr>
            <p:cNvSpPr/>
            <p:nvPr/>
          </p:nvSpPr>
          <p:spPr>
            <a:xfrm>
              <a:off x="1132573" y="5808838"/>
              <a:ext cx="3700733" cy="4357"/>
            </a:xfrm>
            <a:custGeom>
              <a:avLst/>
              <a:gdLst>
                <a:gd name="connsiteX0" fmla="*/ 2436664 w 2436664"/>
                <a:gd name="connsiteY0" fmla="*/ 1435 h 2869"/>
                <a:gd name="connsiteX1" fmla="*/ 1218387 w 2436664"/>
                <a:gd name="connsiteY1" fmla="*/ 2870 h 2869"/>
                <a:gd name="connsiteX2" fmla="*/ 0 w 2436664"/>
                <a:gd name="connsiteY2" fmla="*/ 1435 h 2869"/>
                <a:gd name="connsiteX3" fmla="*/ 1218387 w 2436664"/>
                <a:gd name="connsiteY3" fmla="*/ 0 h 2869"/>
                <a:gd name="connsiteX4" fmla="*/ 2436664 w 2436664"/>
                <a:gd name="connsiteY4" fmla="*/ 1435 h 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6664" h="2869">
                  <a:moveTo>
                    <a:pt x="2436664" y="1435"/>
                  </a:moveTo>
                  <a:cubicBezTo>
                    <a:pt x="2436664" y="2207"/>
                    <a:pt x="1891155" y="2870"/>
                    <a:pt x="1218387" y="2870"/>
                  </a:cubicBezTo>
                  <a:cubicBezTo>
                    <a:pt x="545399" y="2870"/>
                    <a:pt x="0" y="2207"/>
                    <a:pt x="0" y="1435"/>
                  </a:cubicBezTo>
                  <a:cubicBezTo>
                    <a:pt x="0" y="662"/>
                    <a:pt x="545399" y="0"/>
                    <a:pt x="1218387" y="0"/>
                  </a:cubicBezTo>
                  <a:cubicBezTo>
                    <a:pt x="1891155" y="0"/>
                    <a:pt x="2436664" y="662"/>
                    <a:pt x="2436664" y="143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5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08" name="Graphic 179">
              <a:extLst>
                <a:ext uri="{FF2B5EF4-FFF2-40B4-BE49-F238E27FC236}">
                  <a16:creationId xmlns:a16="http://schemas.microsoft.com/office/drawing/2014/main" id="{56E8A98E-EAAB-473B-8F86-570F2E32BB9F}"/>
                </a:ext>
              </a:extLst>
            </p:cNvPr>
            <p:cNvGrpSpPr/>
            <p:nvPr/>
          </p:nvGrpSpPr>
          <p:grpSpPr>
            <a:xfrm>
              <a:off x="1341699" y="4354158"/>
              <a:ext cx="733059" cy="1459649"/>
              <a:chOff x="6065221" y="-1062254"/>
              <a:chExt cx="482666" cy="961073"/>
            </a:xfrm>
          </p:grpSpPr>
          <p:sp>
            <p:nvSpPr>
              <p:cNvPr id="966" name="Freeform: Shape 965">
                <a:extLst>
                  <a:ext uri="{FF2B5EF4-FFF2-40B4-BE49-F238E27FC236}">
                    <a16:creationId xmlns:a16="http://schemas.microsoft.com/office/drawing/2014/main" id="{BA9EBE0E-2BA7-4D14-A616-1476A77EE742}"/>
                  </a:ext>
                </a:extLst>
              </p:cNvPr>
              <p:cNvSpPr/>
              <p:nvPr/>
            </p:nvSpPr>
            <p:spPr>
              <a:xfrm>
                <a:off x="6065221" y="-654377"/>
                <a:ext cx="254399" cy="551028"/>
              </a:xfrm>
              <a:custGeom>
                <a:avLst/>
                <a:gdLst>
                  <a:gd name="connsiteX0" fmla="*/ 212238 w 254399"/>
                  <a:gd name="connsiteY0" fmla="*/ 408042 h 551028"/>
                  <a:gd name="connsiteX1" fmla="*/ 189226 w 254399"/>
                  <a:gd name="connsiteY1" fmla="*/ 352636 h 551028"/>
                  <a:gd name="connsiteX2" fmla="*/ 148719 w 254399"/>
                  <a:gd name="connsiteY2" fmla="*/ 305232 h 551028"/>
                  <a:gd name="connsiteX3" fmla="*/ 131612 w 254399"/>
                  <a:gd name="connsiteY3" fmla="*/ 206505 h 551028"/>
                  <a:gd name="connsiteX4" fmla="*/ 85146 w 254399"/>
                  <a:gd name="connsiteY4" fmla="*/ 169309 h 551028"/>
                  <a:gd name="connsiteX5" fmla="*/ 75047 w 254399"/>
                  <a:gd name="connsiteY5" fmla="*/ 139730 h 551028"/>
                  <a:gd name="connsiteX6" fmla="*/ 380 w 254399"/>
                  <a:gd name="connsiteY6" fmla="*/ 0 h 551028"/>
                  <a:gd name="connsiteX7" fmla="*/ 29684 w 254399"/>
                  <a:gd name="connsiteY7" fmla="*/ 134653 h 551028"/>
                  <a:gd name="connsiteX8" fmla="*/ 51924 w 254399"/>
                  <a:gd name="connsiteY8" fmla="*/ 185810 h 551028"/>
                  <a:gd name="connsiteX9" fmla="*/ 47233 w 254399"/>
                  <a:gd name="connsiteY9" fmla="*/ 276149 h 551028"/>
                  <a:gd name="connsiteX10" fmla="*/ 95300 w 254399"/>
                  <a:gd name="connsiteY10" fmla="*/ 367039 h 551028"/>
                  <a:gd name="connsiteX11" fmla="*/ 73170 w 254399"/>
                  <a:gd name="connsiteY11" fmla="*/ 451363 h 551028"/>
                  <a:gd name="connsiteX12" fmla="*/ 86194 w 254399"/>
                  <a:gd name="connsiteY12" fmla="*/ 486130 h 551028"/>
                  <a:gd name="connsiteX13" fmla="*/ 192592 w 254399"/>
                  <a:gd name="connsiteY13" fmla="*/ 548876 h 551028"/>
                  <a:gd name="connsiteX14" fmla="*/ 254400 w 254399"/>
                  <a:gd name="connsiteY14" fmla="*/ 551028 h 551028"/>
                  <a:gd name="connsiteX15" fmla="*/ 212238 w 254399"/>
                  <a:gd name="connsiteY15" fmla="*/ 408042 h 5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4399" h="551028">
                    <a:moveTo>
                      <a:pt x="212238" y="408042"/>
                    </a:moveTo>
                    <a:cubicBezTo>
                      <a:pt x="217481" y="387734"/>
                      <a:pt x="204181" y="367370"/>
                      <a:pt x="189226" y="352636"/>
                    </a:cubicBezTo>
                    <a:cubicBezTo>
                      <a:pt x="174325" y="337901"/>
                      <a:pt x="156500" y="324712"/>
                      <a:pt x="148719" y="305232"/>
                    </a:cubicBezTo>
                    <a:cubicBezTo>
                      <a:pt x="136137" y="273665"/>
                      <a:pt x="153024" y="232828"/>
                      <a:pt x="131612" y="206505"/>
                    </a:cubicBezTo>
                    <a:cubicBezTo>
                      <a:pt x="118974" y="190997"/>
                      <a:pt x="96348" y="185865"/>
                      <a:pt x="85146" y="169309"/>
                    </a:cubicBezTo>
                    <a:cubicBezTo>
                      <a:pt x="79296" y="160645"/>
                      <a:pt x="77364" y="149995"/>
                      <a:pt x="75047" y="139730"/>
                    </a:cubicBezTo>
                    <a:cubicBezTo>
                      <a:pt x="63292" y="87580"/>
                      <a:pt x="37189" y="38796"/>
                      <a:pt x="380" y="0"/>
                    </a:cubicBezTo>
                    <a:cubicBezTo>
                      <a:pt x="-2158" y="46411"/>
                      <a:pt x="8051" y="93484"/>
                      <a:pt x="29684" y="134653"/>
                    </a:cubicBezTo>
                    <a:cubicBezTo>
                      <a:pt x="38348" y="151209"/>
                      <a:pt x="49054" y="167323"/>
                      <a:pt x="51924" y="185810"/>
                    </a:cubicBezTo>
                    <a:cubicBezTo>
                      <a:pt x="56615" y="215776"/>
                      <a:pt x="39838" y="246680"/>
                      <a:pt x="47233" y="276149"/>
                    </a:cubicBezTo>
                    <a:cubicBezTo>
                      <a:pt x="55676" y="309812"/>
                      <a:pt x="93479" y="332383"/>
                      <a:pt x="95300" y="367039"/>
                    </a:cubicBezTo>
                    <a:cubicBezTo>
                      <a:pt x="96790" y="396343"/>
                      <a:pt x="71294" y="422059"/>
                      <a:pt x="73170" y="451363"/>
                    </a:cubicBezTo>
                    <a:cubicBezTo>
                      <a:pt x="73998" y="463835"/>
                      <a:pt x="79792" y="475424"/>
                      <a:pt x="86194" y="486130"/>
                    </a:cubicBezTo>
                    <a:cubicBezTo>
                      <a:pt x="108875" y="523822"/>
                      <a:pt x="142152" y="549759"/>
                      <a:pt x="192592" y="548876"/>
                    </a:cubicBezTo>
                    <a:lnTo>
                      <a:pt x="254400" y="551028"/>
                    </a:lnTo>
                    <a:lnTo>
                      <a:pt x="212238" y="408042"/>
                    </a:lnTo>
                    <a:close/>
                  </a:path>
                </a:pathLst>
              </a:custGeom>
              <a:solidFill>
                <a:srgbClr val="E8505B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7" name="Freeform: Shape 966">
                <a:extLst>
                  <a:ext uri="{FF2B5EF4-FFF2-40B4-BE49-F238E27FC236}">
                    <a16:creationId xmlns:a16="http://schemas.microsoft.com/office/drawing/2014/main" id="{985984CB-7EA1-47A8-9FA9-A2F54F3167A1}"/>
                  </a:ext>
                </a:extLst>
              </p:cNvPr>
              <p:cNvSpPr/>
              <p:nvPr/>
            </p:nvSpPr>
            <p:spPr>
              <a:xfrm>
                <a:off x="6065221" y="-654377"/>
                <a:ext cx="254399" cy="551028"/>
              </a:xfrm>
              <a:custGeom>
                <a:avLst/>
                <a:gdLst>
                  <a:gd name="connsiteX0" fmla="*/ 212238 w 254399"/>
                  <a:gd name="connsiteY0" fmla="*/ 408042 h 551028"/>
                  <a:gd name="connsiteX1" fmla="*/ 189226 w 254399"/>
                  <a:gd name="connsiteY1" fmla="*/ 352636 h 551028"/>
                  <a:gd name="connsiteX2" fmla="*/ 148719 w 254399"/>
                  <a:gd name="connsiteY2" fmla="*/ 305232 h 551028"/>
                  <a:gd name="connsiteX3" fmla="*/ 131612 w 254399"/>
                  <a:gd name="connsiteY3" fmla="*/ 206505 h 551028"/>
                  <a:gd name="connsiteX4" fmla="*/ 85146 w 254399"/>
                  <a:gd name="connsiteY4" fmla="*/ 169309 h 551028"/>
                  <a:gd name="connsiteX5" fmla="*/ 75047 w 254399"/>
                  <a:gd name="connsiteY5" fmla="*/ 139730 h 551028"/>
                  <a:gd name="connsiteX6" fmla="*/ 380 w 254399"/>
                  <a:gd name="connsiteY6" fmla="*/ 0 h 551028"/>
                  <a:gd name="connsiteX7" fmla="*/ 29684 w 254399"/>
                  <a:gd name="connsiteY7" fmla="*/ 134653 h 551028"/>
                  <a:gd name="connsiteX8" fmla="*/ 51924 w 254399"/>
                  <a:gd name="connsiteY8" fmla="*/ 185810 h 551028"/>
                  <a:gd name="connsiteX9" fmla="*/ 47233 w 254399"/>
                  <a:gd name="connsiteY9" fmla="*/ 276149 h 551028"/>
                  <a:gd name="connsiteX10" fmla="*/ 95300 w 254399"/>
                  <a:gd name="connsiteY10" fmla="*/ 367039 h 551028"/>
                  <a:gd name="connsiteX11" fmla="*/ 73170 w 254399"/>
                  <a:gd name="connsiteY11" fmla="*/ 451363 h 551028"/>
                  <a:gd name="connsiteX12" fmla="*/ 86194 w 254399"/>
                  <a:gd name="connsiteY12" fmla="*/ 486130 h 551028"/>
                  <a:gd name="connsiteX13" fmla="*/ 192592 w 254399"/>
                  <a:gd name="connsiteY13" fmla="*/ 548876 h 551028"/>
                  <a:gd name="connsiteX14" fmla="*/ 254400 w 254399"/>
                  <a:gd name="connsiteY14" fmla="*/ 551028 h 551028"/>
                  <a:gd name="connsiteX15" fmla="*/ 212238 w 254399"/>
                  <a:gd name="connsiteY15" fmla="*/ 408042 h 5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4399" h="551028">
                    <a:moveTo>
                      <a:pt x="212238" y="408042"/>
                    </a:moveTo>
                    <a:cubicBezTo>
                      <a:pt x="217481" y="387734"/>
                      <a:pt x="204181" y="367370"/>
                      <a:pt x="189226" y="352636"/>
                    </a:cubicBezTo>
                    <a:cubicBezTo>
                      <a:pt x="174325" y="337901"/>
                      <a:pt x="156500" y="324712"/>
                      <a:pt x="148719" y="305232"/>
                    </a:cubicBezTo>
                    <a:cubicBezTo>
                      <a:pt x="136137" y="273665"/>
                      <a:pt x="153024" y="232828"/>
                      <a:pt x="131612" y="206505"/>
                    </a:cubicBezTo>
                    <a:cubicBezTo>
                      <a:pt x="118974" y="190997"/>
                      <a:pt x="96348" y="185865"/>
                      <a:pt x="85146" y="169309"/>
                    </a:cubicBezTo>
                    <a:cubicBezTo>
                      <a:pt x="79296" y="160645"/>
                      <a:pt x="77364" y="149995"/>
                      <a:pt x="75047" y="139730"/>
                    </a:cubicBezTo>
                    <a:cubicBezTo>
                      <a:pt x="63292" y="87580"/>
                      <a:pt x="37189" y="38796"/>
                      <a:pt x="380" y="0"/>
                    </a:cubicBezTo>
                    <a:cubicBezTo>
                      <a:pt x="-2158" y="46411"/>
                      <a:pt x="8051" y="93484"/>
                      <a:pt x="29684" y="134653"/>
                    </a:cubicBezTo>
                    <a:cubicBezTo>
                      <a:pt x="38348" y="151209"/>
                      <a:pt x="49054" y="167323"/>
                      <a:pt x="51924" y="185810"/>
                    </a:cubicBezTo>
                    <a:cubicBezTo>
                      <a:pt x="56615" y="215776"/>
                      <a:pt x="39838" y="246680"/>
                      <a:pt x="47233" y="276149"/>
                    </a:cubicBezTo>
                    <a:cubicBezTo>
                      <a:pt x="55676" y="309812"/>
                      <a:pt x="93479" y="332383"/>
                      <a:pt x="95300" y="367039"/>
                    </a:cubicBezTo>
                    <a:cubicBezTo>
                      <a:pt x="96790" y="396343"/>
                      <a:pt x="71294" y="422059"/>
                      <a:pt x="73170" y="451363"/>
                    </a:cubicBezTo>
                    <a:cubicBezTo>
                      <a:pt x="73998" y="463835"/>
                      <a:pt x="79792" y="475424"/>
                      <a:pt x="86194" y="486130"/>
                    </a:cubicBezTo>
                    <a:cubicBezTo>
                      <a:pt x="108875" y="523822"/>
                      <a:pt x="142152" y="549759"/>
                      <a:pt x="192592" y="548876"/>
                    </a:cubicBezTo>
                    <a:lnTo>
                      <a:pt x="254400" y="551028"/>
                    </a:lnTo>
                    <a:lnTo>
                      <a:pt x="212238" y="408042"/>
                    </a:lnTo>
                    <a:close/>
                  </a:path>
                </a:pathLst>
              </a:custGeom>
              <a:solidFill>
                <a:srgbClr val="000000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968" name="Graphic 179">
                <a:extLst>
                  <a:ext uri="{FF2B5EF4-FFF2-40B4-BE49-F238E27FC236}">
                    <a16:creationId xmlns:a16="http://schemas.microsoft.com/office/drawing/2014/main" id="{A6F3E8E7-6E0A-43F4-9F8B-3CE5E06F034C}"/>
                  </a:ext>
                </a:extLst>
              </p:cNvPr>
              <p:cNvGrpSpPr/>
              <p:nvPr/>
            </p:nvGrpSpPr>
            <p:grpSpPr>
              <a:xfrm>
                <a:off x="6119733" y="-1062254"/>
                <a:ext cx="428154" cy="961073"/>
                <a:chOff x="6119733" y="-1062254"/>
                <a:chExt cx="428154" cy="961073"/>
              </a:xfrm>
            </p:grpSpPr>
            <p:grpSp>
              <p:nvGrpSpPr>
                <p:cNvPr id="969" name="Graphic 179">
                  <a:extLst>
                    <a:ext uri="{FF2B5EF4-FFF2-40B4-BE49-F238E27FC236}">
                      <a16:creationId xmlns:a16="http://schemas.microsoft.com/office/drawing/2014/main" id="{8F2082FE-D1A2-4F99-99EF-BA6B36FDCC02}"/>
                    </a:ext>
                  </a:extLst>
                </p:cNvPr>
                <p:cNvGrpSpPr/>
                <p:nvPr/>
              </p:nvGrpSpPr>
              <p:grpSpPr>
                <a:xfrm>
                  <a:off x="6300622" y="-866621"/>
                  <a:ext cx="247265" cy="765440"/>
                  <a:chOff x="6300622" y="-866621"/>
                  <a:chExt cx="247265" cy="765440"/>
                </a:xfrm>
                <a:solidFill>
                  <a:srgbClr val="263238"/>
                </a:solidFill>
              </p:grpSpPr>
              <p:sp>
                <p:nvSpPr>
                  <p:cNvPr id="973" name="Freeform: Shape 972">
                    <a:extLst>
                      <a:ext uri="{FF2B5EF4-FFF2-40B4-BE49-F238E27FC236}">
                        <a16:creationId xmlns:a16="http://schemas.microsoft.com/office/drawing/2014/main" id="{D51B8C84-66EE-4EC3-BB7B-EC20C6D8B5EC}"/>
                      </a:ext>
                    </a:extLst>
                  </p:cNvPr>
                  <p:cNvSpPr/>
                  <p:nvPr/>
                </p:nvSpPr>
                <p:spPr>
                  <a:xfrm>
                    <a:off x="6300622" y="-866621"/>
                    <a:ext cx="247265" cy="765440"/>
                  </a:xfrm>
                  <a:custGeom>
                    <a:avLst/>
                    <a:gdLst>
                      <a:gd name="connsiteX0" fmla="*/ 31471 w 247265"/>
                      <a:gd name="connsiteY0" fmla="*/ 764927 h 765440"/>
                      <a:gd name="connsiteX1" fmla="*/ 48468 w 247265"/>
                      <a:gd name="connsiteY1" fmla="*/ 764541 h 765440"/>
                      <a:gd name="connsiteX2" fmla="*/ 68556 w 247265"/>
                      <a:gd name="connsiteY2" fmla="*/ 759464 h 765440"/>
                      <a:gd name="connsiteX3" fmla="*/ 93334 w 247265"/>
                      <a:gd name="connsiteY3" fmla="*/ 745888 h 765440"/>
                      <a:gd name="connsiteX4" fmla="*/ 103543 w 247265"/>
                      <a:gd name="connsiteY4" fmla="*/ 732313 h 765440"/>
                      <a:gd name="connsiteX5" fmla="*/ 106468 w 247265"/>
                      <a:gd name="connsiteY5" fmla="*/ 713826 h 765440"/>
                      <a:gd name="connsiteX6" fmla="*/ 107903 w 247265"/>
                      <a:gd name="connsiteY6" fmla="*/ 693848 h 765440"/>
                      <a:gd name="connsiteX7" fmla="*/ 115463 w 247265"/>
                      <a:gd name="connsiteY7" fmla="*/ 673982 h 765440"/>
                      <a:gd name="connsiteX8" fmla="*/ 138752 w 247265"/>
                      <a:gd name="connsiteY8" fmla="*/ 631709 h 765440"/>
                      <a:gd name="connsiteX9" fmla="*/ 137096 w 247265"/>
                      <a:gd name="connsiteY9" fmla="*/ 577517 h 765440"/>
                      <a:gd name="connsiteX10" fmla="*/ 138531 w 247265"/>
                      <a:gd name="connsiteY10" fmla="*/ 519462 h 765440"/>
                      <a:gd name="connsiteX11" fmla="*/ 165462 w 247265"/>
                      <a:gd name="connsiteY11" fmla="*/ 460910 h 765440"/>
                      <a:gd name="connsiteX12" fmla="*/ 170483 w 247265"/>
                      <a:gd name="connsiteY12" fmla="*/ 391873 h 765440"/>
                      <a:gd name="connsiteX13" fmla="*/ 178541 w 247265"/>
                      <a:gd name="connsiteY13" fmla="*/ 357547 h 765440"/>
                      <a:gd name="connsiteX14" fmla="*/ 195869 w 247265"/>
                      <a:gd name="connsiteY14" fmla="*/ 324767 h 765440"/>
                      <a:gd name="connsiteX15" fmla="*/ 211762 w 247265"/>
                      <a:gd name="connsiteY15" fmla="*/ 249273 h 765440"/>
                      <a:gd name="connsiteX16" fmla="*/ 216177 w 247265"/>
                      <a:gd name="connsiteY16" fmla="*/ 209816 h 765440"/>
                      <a:gd name="connsiteX17" fmla="*/ 223020 w 247265"/>
                      <a:gd name="connsiteY17" fmla="*/ 170303 h 765440"/>
                      <a:gd name="connsiteX18" fmla="*/ 237810 w 247265"/>
                      <a:gd name="connsiteY18" fmla="*/ 132059 h 765440"/>
                      <a:gd name="connsiteX19" fmla="*/ 244984 w 247265"/>
                      <a:gd name="connsiteY19" fmla="*/ 112082 h 765440"/>
                      <a:gd name="connsiteX20" fmla="*/ 246971 w 247265"/>
                      <a:gd name="connsiteY20" fmla="*/ 90835 h 765440"/>
                      <a:gd name="connsiteX21" fmla="*/ 245315 w 247265"/>
                      <a:gd name="connsiteY21" fmla="*/ 48067 h 765440"/>
                      <a:gd name="connsiteX22" fmla="*/ 239521 w 247265"/>
                      <a:gd name="connsiteY22" fmla="*/ 5353 h 765440"/>
                      <a:gd name="connsiteX23" fmla="*/ 239245 w 247265"/>
                      <a:gd name="connsiteY23" fmla="*/ 2870 h 765440"/>
                      <a:gd name="connsiteX24" fmla="*/ 238914 w 247265"/>
                      <a:gd name="connsiteY24" fmla="*/ 0 h 765440"/>
                      <a:gd name="connsiteX25" fmla="*/ 236375 w 247265"/>
                      <a:gd name="connsiteY25" fmla="*/ 1269 h 765440"/>
                      <a:gd name="connsiteX26" fmla="*/ 203098 w 247265"/>
                      <a:gd name="connsiteY26" fmla="*/ 29359 h 765440"/>
                      <a:gd name="connsiteX27" fmla="*/ 182679 w 247265"/>
                      <a:gd name="connsiteY27" fmla="*/ 67050 h 765440"/>
                      <a:gd name="connsiteX28" fmla="*/ 163420 w 247265"/>
                      <a:gd name="connsiteY28" fmla="*/ 147953 h 765440"/>
                      <a:gd name="connsiteX29" fmla="*/ 138034 w 247265"/>
                      <a:gd name="connsiteY29" fmla="*/ 222674 h 765440"/>
                      <a:gd name="connsiteX30" fmla="*/ 115905 w 247265"/>
                      <a:gd name="connsiteY30" fmla="*/ 254461 h 765440"/>
                      <a:gd name="connsiteX31" fmla="*/ 100563 w 247265"/>
                      <a:gd name="connsiteY31" fmla="*/ 289669 h 765440"/>
                      <a:gd name="connsiteX32" fmla="*/ 108289 w 247265"/>
                      <a:gd name="connsiteY32" fmla="*/ 361907 h 765440"/>
                      <a:gd name="connsiteX33" fmla="*/ 97031 w 247265"/>
                      <a:gd name="connsiteY33" fmla="*/ 393970 h 765440"/>
                      <a:gd name="connsiteX34" fmla="*/ 78544 w 247265"/>
                      <a:gd name="connsiteY34" fmla="*/ 422225 h 765440"/>
                      <a:gd name="connsiteX35" fmla="*/ 61933 w 247265"/>
                      <a:gd name="connsiteY35" fmla="*/ 450756 h 765440"/>
                      <a:gd name="connsiteX36" fmla="*/ 54318 w 247265"/>
                      <a:gd name="connsiteY36" fmla="*/ 481715 h 765440"/>
                      <a:gd name="connsiteX37" fmla="*/ 54263 w 247265"/>
                      <a:gd name="connsiteY37" fmla="*/ 540984 h 765440"/>
                      <a:gd name="connsiteX38" fmla="*/ 39031 w 247265"/>
                      <a:gd name="connsiteY38" fmla="*/ 591755 h 765440"/>
                      <a:gd name="connsiteX39" fmla="*/ 16295 w 247265"/>
                      <a:gd name="connsiteY39" fmla="*/ 634027 h 765440"/>
                      <a:gd name="connsiteX40" fmla="*/ 6913 w 247265"/>
                      <a:gd name="connsiteY40" fmla="*/ 653728 h 765440"/>
                      <a:gd name="connsiteX41" fmla="*/ 1505 w 247265"/>
                      <a:gd name="connsiteY41" fmla="*/ 673264 h 765440"/>
                      <a:gd name="connsiteX42" fmla="*/ 1064 w 247265"/>
                      <a:gd name="connsiteY42" fmla="*/ 708528 h 765440"/>
                      <a:gd name="connsiteX43" fmla="*/ 18723 w 247265"/>
                      <a:gd name="connsiteY43" fmla="*/ 753504 h 765440"/>
                      <a:gd name="connsiteX44" fmla="*/ 23745 w 247265"/>
                      <a:gd name="connsiteY44" fmla="*/ 758912 h 765440"/>
                      <a:gd name="connsiteX45" fmla="*/ 27829 w 247265"/>
                      <a:gd name="connsiteY45" fmla="*/ 762334 h 765440"/>
                      <a:gd name="connsiteX46" fmla="*/ 31471 w 247265"/>
                      <a:gd name="connsiteY46" fmla="*/ 764927 h 765440"/>
                      <a:gd name="connsiteX47" fmla="*/ 19496 w 247265"/>
                      <a:gd name="connsiteY47" fmla="*/ 753118 h 765440"/>
                      <a:gd name="connsiteX48" fmla="*/ 2719 w 247265"/>
                      <a:gd name="connsiteY48" fmla="*/ 708417 h 765440"/>
                      <a:gd name="connsiteX49" fmla="*/ 3492 w 247265"/>
                      <a:gd name="connsiteY49" fmla="*/ 673650 h 765440"/>
                      <a:gd name="connsiteX50" fmla="*/ 8955 w 247265"/>
                      <a:gd name="connsiteY50" fmla="*/ 654556 h 765440"/>
                      <a:gd name="connsiteX51" fmla="*/ 18392 w 247265"/>
                      <a:gd name="connsiteY51" fmla="*/ 635131 h 765440"/>
                      <a:gd name="connsiteX52" fmla="*/ 41460 w 247265"/>
                      <a:gd name="connsiteY52" fmla="*/ 592914 h 765440"/>
                      <a:gd name="connsiteX53" fmla="*/ 57243 w 247265"/>
                      <a:gd name="connsiteY53" fmla="*/ 541260 h 765440"/>
                      <a:gd name="connsiteX54" fmla="*/ 57574 w 247265"/>
                      <a:gd name="connsiteY54" fmla="*/ 481991 h 765440"/>
                      <a:gd name="connsiteX55" fmla="*/ 65024 w 247265"/>
                      <a:gd name="connsiteY55" fmla="*/ 452080 h 765440"/>
                      <a:gd name="connsiteX56" fmla="*/ 81414 w 247265"/>
                      <a:gd name="connsiteY56" fmla="*/ 424156 h 765440"/>
                      <a:gd name="connsiteX57" fmla="*/ 100122 w 247265"/>
                      <a:gd name="connsiteY57" fmla="*/ 395736 h 765440"/>
                      <a:gd name="connsiteX58" fmla="*/ 111932 w 247265"/>
                      <a:gd name="connsiteY58" fmla="*/ 362349 h 765440"/>
                      <a:gd name="connsiteX59" fmla="*/ 104316 w 247265"/>
                      <a:gd name="connsiteY59" fmla="*/ 290276 h 765440"/>
                      <a:gd name="connsiteX60" fmla="*/ 119106 w 247265"/>
                      <a:gd name="connsiteY60" fmla="*/ 256613 h 765440"/>
                      <a:gd name="connsiteX61" fmla="*/ 141345 w 247265"/>
                      <a:gd name="connsiteY61" fmla="*/ 224716 h 765440"/>
                      <a:gd name="connsiteX62" fmla="*/ 167338 w 247265"/>
                      <a:gd name="connsiteY62" fmla="*/ 148725 h 765440"/>
                      <a:gd name="connsiteX63" fmla="*/ 186432 w 247265"/>
                      <a:gd name="connsiteY63" fmla="*/ 68485 h 765440"/>
                      <a:gd name="connsiteX64" fmla="*/ 206354 w 247265"/>
                      <a:gd name="connsiteY64" fmla="*/ 31787 h 765440"/>
                      <a:gd name="connsiteX65" fmla="*/ 238196 w 247265"/>
                      <a:gd name="connsiteY65" fmla="*/ 4856 h 765440"/>
                      <a:gd name="connsiteX66" fmla="*/ 235437 w 247265"/>
                      <a:gd name="connsiteY66" fmla="*/ 3311 h 765440"/>
                      <a:gd name="connsiteX67" fmla="*/ 235713 w 247265"/>
                      <a:gd name="connsiteY67" fmla="*/ 5795 h 765440"/>
                      <a:gd name="connsiteX68" fmla="*/ 241507 w 247265"/>
                      <a:gd name="connsiteY68" fmla="*/ 48508 h 765440"/>
                      <a:gd name="connsiteX69" fmla="*/ 243163 w 247265"/>
                      <a:gd name="connsiteY69" fmla="*/ 90615 h 765440"/>
                      <a:gd name="connsiteX70" fmla="*/ 241286 w 247265"/>
                      <a:gd name="connsiteY70" fmla="*/ 111254 h 765440"/>
                      <a:gd name="connsiteX71" fmla="*/ 234333 w 247265"/>
                      <a:gd name="connsiteY71" fmla="*/ 130514 h 765440"/>
                      <a:gd name="connsiteX72" fmla="*/ 219433 w 247265"/>
                      <a:gd name="connsiteY72" fmla="*/ 169199 h 765440"/>
                      <a:gd name="connsiteX73" fmla="*/ 212480 w 247265"/>
                      <a:gd name="connsiteY73" fmla="*/ 209374 h 765440"/>
                      <a:gd name="connsiteX74" fmla="*/ 208120 w 247265"/>
                      <a:gd name="connsiteY74" fmla="*/ 248887 h 765440"/>
                      <a:gd name="connsiteX75" fmla="*/ 192668 w 247265"/>
                      <a:gd name="connsiteY75" fmla="*/ 323277 h 765440"/>
                      <a:gd name="connsiteX76" fmla="*/ 175395 w 247265"/>
                      <a:gd name="connsiteY76" fmla="*/ 356113 h 765440"/>
                      <a:gd name="connsiteX77" fmla="*/ 167117 w 247265"/>
                      <a:gd name="connsiteY77" fmla="*/ 391707 h 765440"/>
                      <a:gd name="connsiteX78" fmla="*/ 162426 w 247265"/>
                      <a:gd name="connsiteY78" fmla="*/ 459972 h 765440"/>
                      <a:gd name="connsiteX79" fmla="*/ 135716 w 247265"/>
                      <a:gd name="connsiteY79" fmla="*/ 518469 h 765440"/>
                      <a:gd name="connsiteX80" fmla="*/ 134392 w 247265"/>
                      <a:gd name="connsiteY80" fmla="*/ 577959 h 765440"/>
                      <a:gd name="connsiteX81" fmla="*/ 136379 w 247265"/>
                      <a:gd name="connsiteY81" fmla="*/ 631102 h 765440"/>
                      <a:gd name="connsiteX82" fmla="*/ 113642 w 247265"/>
                      <a:gd name="connsiteY82" fmla="*/ 672878 h 765440"/>
                      <a:gd name="connsiteX83" fmla="*/ 105971 w 247265"/>
                      <a:gd name="connsiteY83" fmla="*/ 693517 h 765440"/>
                      <a:gd name="connsiteX84" fmla="*/ 104647 w 247265"/>
                      <a:gd name="connsiteY84" fmla="*/ 713770 h 765440"/>
                      <a:gd name="connsiteX85" fmla="*/ 101998 w 247265"/>
                      <a:gd name="connsiteY85" fmla="*/ 731706 h 765440"/>
                      <a:gd name="connsiteX86" fmla="*/ 92396 w 247265"/>
                      <a:gd name="connsiteY86" fmla="*/ 744730 h 765440"/>
                      <a:gd name="connsiteX87" fmla="*/ 68169 w 247265"/>
                      <a:gd name="connsiteY87" fmla="*/ 758360 h 765440"/>
                      <a:gd name="connsiteX88" fmla="*/ 48358 w 247265"/>
                      <a:gd name="connsiteY88" fmla="*/ 763713 h 765440"/>
                      <a:gd name="connsiteX89" fmla="*/ 35775 w 247265"/>
                      <a:gd name="connsiteY89" fmla="*/ 764927 h 765440"/>
                      <a:gd name="connsiteX90" fmla="*/ 31471 w 247265"/>
                      <a:gd name="connsiteY90" fmla="*/ 764927 h 7654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</a:cxnLst>
                    <a:rect l="l" t="t" r="r" b="b"/>
                    <a:pathLst>
                      <a:path w="247265" h="765440">
                        <a:moveTo>
                          <a:pt x="31471" y="764927"/>
                        </a:moveTo>
                        <a:cubicBezTo>
                          <a:pt x="31471" y="764927"/>
                          <a:pt x="37376" y="766307"/>
                          <a:pt x="48468" y="764541"/>
                        </a:cubicBezTo>
                        <a:cubicBezTo>
                          <a:pt x="53987" y="763713"/>
                          <a:pt x="60830" y="762278"/>
                          <a:pt x="68556" y="759464"/>
                        </a:cubicBezTo>
                        <a:cubicBezTo>
                          <a:pt x="76226" y="756650"/>
                          <a:pt x="85001" y="752676"/>
                          <a:pt x="93334" y="745888"/>
                        </a:cubicBezTo>
                        <a:cubicBezTo>
                          <a:pt x="97363" y="742357"/>
                          <a:pt x="101391" y="738052"/>
                          <a:pt x="103543" y="732313"/>
                        </a:cubicBezTo>
                        <a:cubicBezTo>
                          <a:pt x="105696" y="726573"/>
                          <a:pt x="106082" y="720282"/>
                          <a:pt x="106468" y="713826"/>
                        </a:cubicBezTo>
                        <a:cubicBezTo>
                          <a:pt x="106799" y="707369"/>
                          <a:pt x="106799" y="700636"/>
                          <a:pt x="107903" y="693848"/>
                        </a:cubicBezTo>
                        <a:cubicBezTo>
                          <a:pt x="108951" y="687061"/>
                          <a:pt x="111600" y="680383"/>
                          <a:pt x="115463" y="673982"/>
                        </a:cubicBezTo>
                        <a:cubicBezTo>
                          <a:pt x="122748" y="661178"/>
                          <a:pt x="134834" y="649093"/>
                          <a:pt x="138752" y="631709"/>
                        </a:cubicBezTo>
                        <a:cubicBezTo>
                          <a:pt x="143001" y="614602"/>
                          <a:pt x="139966" y="596115"/>
                          <a:pt x="137096" y="577517"/>
                        </a:cubicBezTo>
                        <a:cubicBezTo>
                          <a:pt x="134227" y="558975"/>
                          <a:pt x="131467" y="538777"/>
                          <a:pt x="138531" y="519462"/>
                        </a:cubicBezTo>
                        <a:cubicBezTo>
                          <a:pt x="145153" y="500147"/>
                          <a:pt x="158729" y="482708"/>
                          <a:pt x="165462" y="460910"/>
                        </a:cubicBezTo>
                        <a:cubicBezTo>
                          <a:pt x="172194" y="438891"/>
                          <a:pt x="169049" y="415216"/>
                          <a:pt x="170483" y="391873"/>
                        </a:cubicBezTo>
                        <a:cubicBezTo>
                          <a:pt x="171146" y="380174"/>
                          <a:pt x="173408" y="368419"/>
                          <a:pt x="178541" y="357547"/>
                        </a:cubicBezTo>
                        <a:cubicBezTo>
                          <a:pt x="183562" y="346621"/>
                          <a:pt x="190461" y="336301"/>
                          <a:pt x="195869" y="324767"/>
                        </a:cubicBezTo>
                        <a:cubicBezTo>
                          <a:pt x="206851" y="301479"/>
                          <a:pt x="208782" y="275100"/>
                          <a:pt x="211762" y="249273"/>
                        </a:cubicBezTo>
                        <a:cubicBezTo>
                          <a:pt x="213252" y="236249"/>
                          <a:pt x="214687" y="223060"/>
                          <a:pt x="216177" y="209816"/>
                        </a:cubicBezTo>
                        <a:cubicBezTo>
                          <a:pt x="217667" y="196461"/>
                          <a:pt x="218826" y="183161"/>
                          <a:pt x="223020" y="170303"/>
                        </a:cubicBezTo>
                        <a:cubicBezTo>
                          <a:pt x="226828" y="157334"/>
                          <a:pt x="232346" y="144807"/>
                          <a:pt x="237810" y="132059"/>
                        </a:cubicBezTo>
                        <a:cubicBezTo>
                          <a:pt x="240459" y="125658"/>
                          <a:pt x="243328" y="119201"/>
                          <a:pt x="244984" y="112082"/>
                        </a:cubicBezTo>
                        <a:cubicBezTo>
                          <a:pt x="246198" y="104798"/>
                          <a:pt x="246529" y="97954"/>
                          <a:pt x="246971" y="90835"/>
                        </a:cubicBezTo>
                        <a:cubicBezTo>
                          <a:pt x="247688" y="76653"/>
                          <a:pt x="247081" y="62305"/>
                          <a:pt x="245315" y="48067"/>
                        </a:cubicBezTo>
                        <a:cubicBezTo>
                          <a:pt x="243660" y="33829"/>
                          <a:pt x="241066" y="19646"/>
                          <a:pt x="239521" y="5353"/>
                        </a:cubicBezTo>
                        <a:cubicBezTo>
                          <a:pt x="239410" y="4525"/>
                          <a:pt x="239355" y="3642"/>
                          <a:pt x="239245" y="2870"/>
                        </a:cubicBezTo>
                        <a:lnTo>
                          <a:pt x="238914" y="0"/>
                        </a:lnTo>
                        <a:lnTo>
                          <a:pt x="236375" y="1269"/>
                        </a:lnTo>
                        <a:cubicBezTo>
                          <a:pt x="223130" y="7891"/>
                          <a:pt x="211817" y="17770"/>
                          <a:pt x="203098" y="29359"/>
                        </a:cubicBezTo>
                        <a:cubicBezTo>
                          <a:pt x="194268" y="40837"/>
                          <a:pt x="187812" y="53806"/>
                          <a:pt x="182679" y="67050"/>
                        </a:cubicBezTo>
                        <a:cubicBezTo>
                          <a:pt x="172360" y="93595"/>
                          <a:pt x="168662" y="121408"/>
                          <a:pt x="163420" y="147953"/>
                        </a:cubicBezTo>
                        <a:cubicBezTo>
                          <a:pt x="158343" y="174497"/>
                          <a:pt x="151665" y="200600"/>
                          <a:pt x="138034" y="222674"/>
                        </a:cubicBezTo>
                        <a:cubicBezTo>
                          <a:pt x="131246" y="233656"/>
                          <a:pt x="123079" y="243700"/>
                          <a:pt x="115905" y="254461"/>
                        </a:cubicBezTo>
                        <a:cubicBezTo>
                          <a:pt x="108731" y="265112"/>
                          <a:pt x="102440" y="276811"/>
                          <a:pt x="100563" y="289669"/>
                        </a:cubicBezTo>
                        <a:cubicBezTo>
                          <a:pt x="96921" y="315827"/>
                          <a:pt x="111324" y="338784"/>
                          <a:pt x="108289" y="361907"/>
                        </a:cubicBezTo>
                        <a:cubicBezTo>
                          <a:pt x="107241" y="373386"/>
                          <a:pt x="102660" y="384147"/>
                          <a:pt x="97031" y="393970"/>
                        </a:cubicBezTo>
                        <a:cubicBezTo>
                          <a:pt x="91402" y="403848"/>
                          <a:pt x="84835" y="413009"/>
                          <a:pt x="78544" y="422225"/>
                        </a:cubicBezTo>
                        <a:cubicBezTo>
                          <a:pt x="72308" y="431441"/>
                          <a:pt x="66348" y="440767"/>
                          <a:pt x="61933" y="450756"/>
                        </a:cubicBezTo>
                        <a:cubicBezTo>
                          <a:pt x="57463" y="460689"/>
                          <a:pt x="55035" y="471340"/>
                          <a:pt x="54318" y="481715"/>
                        </a:cubicBezTo>
                        <a:cubicBezTo>
                          <a:pt x="52828" y="502575"/>
                          <a:pt x="55753" y="522331"/>
                          <a:pt x="54263" y="540984"/>
                        </a:cubicBezTo>
                        <a:cubicBezTo>
                          <a:pt x="52993" y="559692"/>
                          <a:pt x="46426" y="576634"/>
                          <a:pt x="39031" y="591755"/>
                        </a:cubicBezTo>
                        <a:cubicBezTo>
                          <a:pt x="31581" y="606986"/>
                          <a:pt x="23248" y="620727"/>
                          <a:pt x="16295" y="634027"/>
                        </a:cubicBezTo>
                        <a:cubicBezTo>
                          <a:pt x="12763" y="640705"/>
                          <a:pt x="9562" y="647217"/>
                          <a:pt x="6913" y="653728"/>
                        </a:cubicBezTo>
                        <a:cubicBezTo>
                          <a:pt x="4099" y="660240"/>
                          <a:pt x="2774" y="666918"/>
                          <a:pt x="1505" y="673264"/>
                        </a:cubicBezTo>
                        <a:cubicBezTo>
                          <a:pt x="-537" y="686067"/>
                          <a:pt x="-316" y="697987"/>
                          <a:pt x="1064" y="708528"/>
                        </a:cubicBezTo>
                        <a:cubicBezTo>
                          <a:pt x="3768" y="729719"/>
                          <a:pt x="11659" y="744950"/>
                          <a:pt x="18723" y="753504"/>
                        </a:cubicBezTo>
                        <a:cubicBezTo>
                          <a:pt x="20323" y="755767"/>
                          <a:pt x="22255" y="757422"/>
                          <a:pt x="23745" y="758912"/>
                        </a:cubicBezTo>
                        <a:cubicBezTo>
                          <a:pt x="25180" y="760457"/>
                          <a:pt x="26615" y="761506"/>
                          <a:pt x="27829" y="762334"/>
                        </a:cubicBezTo>
                        <a:cubicBezTo>
                          <a:pt x="30257" y="764155"/>
                          <a:pt x="31471" y="764927"/>
                          <a:pt x="31471" y="764927"/>
                        </a:cubicBezTo>
                        <a:cubicBezTo>
                          <a:pt x="31747" y="764596"/>
                          <a:pt x="26394" y="761782"/>
                          <a:pt x="19496" y="753118"/>
                        </a:cubicBezTo>
                        <a:cubicBezTo>
                          <a:pt x="12708" y="744509"/>
                          <a:pt x="5147" y="729388"/>
                          <a:pt x="2719" y="708417"/>
                        </a:cubicBezTo>
                        <a:cubicBezTo>
                          <a:pt x="1505" y="698043"/>
                          <a:pt x="1395" y="686233"/>
                          <a:pt x="3492" y="673650"/>
                        </a:cubicBezTo>
                        <a:cubicBezTo>
                          <a:pt x="4816" y="667414"/>
                          <a:pt x="6196" y="660903"/>
                          <a:pt x="8955" y="654556"/>
                        </a:cubicBezTo>
                        <a:cubicBezTo>
                          <a:pt x="11604" y="648155"/>
                          <a:pt x="14860" y="641698"/>
                          <a:pt x="18392" y="635131"/>
                        </a:cubicBezTo>
                        <a:cubicBezTo>
                          <a:pt x="25401" y="621942"/>
                          <a:pt x="33789" y="608200"/>
                          <a:pt x="41460" y="592914"/>
                        </a:cubicBezTo>
                        <a:cubicBezTo>
                          <a:pt x="49020" y="577683"/>
                          <a:pt x="55863" y="560410"/>
                          <a:pt x="57243" y="541260"/>
                        </a:cubicBezTo>
                        <a:cubicBezTo>
                          <a:pt x="58843" y="522221"/>
                          <a:pt x="55973" y="502354"/>
                          <a:pt x="57574" y="481991"/>
                        </a:cubicBezTo>
                        <a:cubicBezTo>
                          <a:pt x="58291" y="471837"/>
                          <a:pt x="60664" y="461683"/>
                          <a:pt x="65024" y="452080"/>
                        </a:cubicBezTo>
                        <a:cubicBezTo>
                          <a:pt x="69328" y="442423"/>
                          <a:pt x="75178" y="433262"/>
                          <a:pt x="81414" y="424156"/>
                        </a:cubicBezTo>
                        <a:cubicBezTo>
                          <a:pt x="87650" y="414996"/>
                          <a:pt x="94327" y="405835"/>
                          <a:pt x="100122" y="395736"/>
                        </a:cubicBezTo>
                        <a:cubicBezTo>
                          <a:pt x="105916" y="385747"/>
                          <a:pt x="110717" y="374545"/>
                          <a:pt x="111932" y="362349"/>
                        </a:cubicBezTo>
                        <a:cubicBezTo>
                          <a:pt x="114912" y="337681"/>
                          <a:pt x="100618" y="314558"/>
                          <a:pt x="104316" y="290276"/>
                        </a:cubicBezTo>
                        <a:cubicBezTo>
                          <a:pt x="106082" y="278246"/>
                          <a:pt x="112097" y="267043"/>
                          <a:pt x="119106" y="256613"/>
                        </a:cubicBezTo>
                        <a:cubicBezTo>
                          <a:pt x="126169" y="246072"/>
                          <a:pt x="134392" y="236029"/>
                          <a:pt x="141345" y="224716"/>
                        </a:cubicBezTo>
                        <a:cubicBezTo>
                          <a:pt x="155363" y="202035"/>
                          <a:pt x="162206" y="175380"/>
                          <a:pt x="167338" y="148725"/>
                        </a:cubicBezTo>
                        <a:cubicBezTo>
                          <a:pt x="172580" y="122015"/>
                          <a:pt x="176333" y="94478"/>
                          <a:pt x="186432" y="68485"/>
                        </a:cubicBezTo>
                        <a:cubicBezTo>
                          <a:pt x="191454" y="55572"/>
                          <a:pt x="197800" y="42934"/>
                          <a:pt x="206354" y="31787"/>
                        </a:cubicBezTo>
                        <a:cubicBezTo>
                          <a:pt x="214797" y="20584"/>
                          <a:pt x="225614" y="11203"/>
                          <a:pt x="238196" y="4856"/>
                        </a:cubicBezTo>
                        <a:lnTo>
                          <a:pt x="235437" y="3311"/>
                        </a:lnTo>
                        <a:cubicBezTo>
                          <a:pt x="235547" y="4084"/>
                          <a:pt x="235602" y="4967"/>
                          <a:pt x="235713" y="5795"/>
                        </a:cubicBezTo>
                        <a:cubicBezTo>
                          <a:pt x="237258" y="20253"/>
                          <a:pt x="239852" y="34436"/>
                          <a:pt x="241507" y="48508"/>
                        </a:cubicBezTo>
                        <a:cubicBezTo>
                          <a:pt x="243218" y="62580"/>
                          <a:pt x="243825" y="76653"/>
                          <a:pt x="243163" y="90615"/>
                        </a:cubicBezTo>
                        <a:cubicBezTo>
                          <a:pt x="242777" y="97513"/>
                          <a:pt x="242335" y="104742"/>
                          <a:pt x="241286" y="111254"/>
                        </a:cubicBezTo>
                        <a:cubicBezTo>
                          <a:pt x="239796" y="117766"/>
                          <a:pt x="236982" y="124168"/>
                          <a:pt x="234333" y="130514"/>
                        </a:cubicBezTo>
                        <a:cubicBezTo>
                          <a:pt x="228925" y="143207"/>
                          <a:pt x="223296" y="155955"/>
                          <a:pt x="219433" y="169199"/>
                        </a:cubicBezTo>
                        <a:cubicBezTo>
                          <a:pt x="215129" y="182388"/>
                          <a:pt x="213914" y="196185"/>
                          <a:pt x="212480" y="209374"/>
                        </a:cubicBezTo>
                        <a:cubicBezTo>
                          <a:pt x="210990" y="222674"/>
                          <a:pt x="209555" y="235863"/>
                          <a:pt x="208120" y="248887"/>
                        </a:cubicBezTo>
                        <a:cubicBezTo>
                          <a:pt x="205140" y="274879"/>
                          <a:pt x="203208" y="300817"/>
                          <a:pt x="192668" y="323277"/>
                        </a:cubicBezTo>
                        <a:cubicBezTo>
                          <a:pt x="187425" y="334480"/>
                          <a:pt x="180527" y="344800"/>
                          <a:pt x="175395" y="356113"/>
                        </a:cubicBezTo>
                        <a:cubicBezTo>
                          <a:pt x="170097" y="367370"/>
                          <a:pt x="167724" y="379787"/>
                          <a:pt x="167117" y="391707"/>
                        </a:cubicBezTo>
                        <a:cubicBezTo>
                          <a:pt x="165793" y="415548"/>
                          <a:pt x="168883" y="438891"/>
                          <a:pt x="162426" y="459972"/>
                        </a:cubicBezTo>
                        <a:cubicBezTo>
                          <a:pt x="156025" y="480998"/>
                          <a:pt x="142559" y="498547"/>
                          <a:pt x="135716" y="518469"/>
                        </a:cubicBezTo>
                        <a:cubicBezTo>
                          <a:pt x="128432" y="538611"/>
                          <a:pt x="131467" y="559471"/>
                          <a:pt x="134392" y="577959"/>
                        </a:cubicBezTo>
                        <a:cubicBezTo>
                          <a:pt x="137372" y="596556"/>
                          <a:pt x="140352" y="614657"/>
                          <a:pt x="136379" y="631102"/>
                        </a:cubicBezTo>
                        <a:cubicBezTo>
                          <a:pt x="132792" y="647713"/>
                          <a:pt x="121037" y="659689"/>
                          <a:pt x="113642" y="672878"/>
                        </a:cubicBezTo>
                        <a:cubicBezTo>
                          <a:pt x="109779" y="679390"/>
                          <a:pt x="107020" y="686509"/>
                          <a:pt x="105971" y="693517"/>
                        </a:cubicBezTo>
                        <a:cubicBezTo>
                          <a:pt x="104868" y="700581"/>
                          <a:pt x="104923" y="707314"/>
                          <a:pt x="104647" y="713770"/>
                        </a:cubicBezTo>
                        <a:cubicBezTo>
                          <a:pt x="104316" y="720117"/>
                          <a:pt x="103985" y="726353"/>
                          <a:pt x="101998" y="731706"/>
                        </a:cubicBezTo>
                        <a:cubicBezTo>
                          <a:pt x="100067" y="737059"/>
                          <a:pt x="96259" y="741253"/>
                          <a:pt x="92396" y="744730"/>
                        </a:cubicBezTo>
                        <a:cubicBezTo>
                          <a:pt x="84339" y="751407"/>
                          <a:pt x="75730" y="755491"/>
                          <a:pt x="68169" y="758360"/>
                        </a:cubicBezTo>
                        <a:cubicBezTo>
                          <a:pt x="60554" y="761230"/>
                          <a:pt x="53821" y="762830"/>
                          <a:pt x="48358" y="763713"/>
                        </a:cubicBezTo>
                        <a:cubicBezTo>
                          <a:pt x="42894" y="764707"/>
                          <a:pt x="38645" y="764872"/>
                          <a:pt x="35775" y="764927"/>
                        </a:cubicBezTo>
                        <a:cubicBezTo>
                          <a:pt x="32961" y="764872"/>
                          <a:pt x="31471" y="764927"/>
                          <a:pt x="31471" y="764927"/>
                        </a:cubicBezTo>
                        <a:close/>
                      </a:path>
                    </a:pathLst>
                  </a:custGeom>
                  <a:solidFill>
                    <a:srgbClr val="002E35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74" name="Freeform: Shape 973">
                    <a:extLst>
                      <a:ext uri="{FF2B5EF4-FFF2-40B4-BE49-F238E27FC236}">
                        <a16:creationId xmlns:a16="http://schemas.microsoft.com/office/drawing/2014/main" id="{7C70F97D-C4B3-4E30-8364-FDA2D70AF15E}"/>
                      </a:ext>
                    </a:extLst>
                  </p:cNvPr>
                  <p:cNvSpPr/>
                  <p:nvPr/>
                </p:nvSpPr>
                <p:spPr>
                  <a:xfrm>
                    <a:off x="6332128" y="-829646"/>
                    <a:ext cx="195256" cy="727953"/>
                  </a:xfrm>
                  <a:custGeom>
                    <a:avLst/>
                    <a:gdLst>
                      <a:gd name="connsiteX0" fmla="*/ 195211 w 195256"/>
                      <a:gd name="connsiteY0" fmla="*/ 0 h 727953"/>
                      <a:gd name="connsiteX1" fmla="*/ 194604 w 195256"/>
                      <a:gd name="connsiteY1" fmla="*/ 1876 h 727953"/>
                      <a:gd name="connsiteX2" fmla="*/ 193224 w 195256"/>
                      <a:gd name="connsiteY2" fmla="*/ 7450 h 727953"/>
                      <a:gd name="connsiteX3" fmla="*/ 188202 w 195256"/>
                      <a:gd name="connsiteY3" fmla="*/ 28862 h 727953"/>
                      <a:gd name="connsiteX4" fmla="*/ 175399 w 195256"/>
                      <a:gd name="connsiteY4" fmla="*/ 61146 h 727953"/>
                      <a:gd name="connsiteX5" fmla="*/ 160720 w 195256"/>
                      <a:gd name="connsiteY5" fmla="*/ 104963 h 727953"/>
                      <a:gd name="connsiteX6" fmla="*/ 147475 w 195256"/>
                      <a:gd name="connsiteY6" fmla="*/ 159321 h 727953"/>
                      <a:gd name="connsiteX7" fmla="*/ 127719 w 195256"/>
                      <a:gd name="connsiteY7" fmla="*/ 219694 h 727953"/>
                      <a:gd name="connsiteX8" fmla="*/ 112432 w 195256"/>
                      <a:gd name="connsiteY8" fmla="*/ 250984 h 727953"/>
                      <a:gd name="connsiteX9" fmla="*/ 103547 w 195256"/>
                      <a:gd name="connsiteY9" fmla="*/ 286468 h 727953"/>
                      <a:gd name="connsiteX10" fmla="*/ 90248 w 195256"/>
                      <a:gd name="connsiteY10" fmla="*/ 361245 h 727953"/>
                      <a:gd name="connsiteX11" fmla="*/ 55315 w 195256"/>
                      <a:gd name="connsiteY11" fmla="*/ 504010 h 727953"/>
                      <a:gd name="connsiteX12" fmla="*/ 26012 w 195256"/>
                      <a:gd name="connsiteY12" fmla="*/ 620451 h 727953"/>
                      <a:gd name="connsiteX13" fmla="*/ 6586 w 195256"/>
                      <a:gd name="connsiteY13" fmla="*/ 699036 h 727953"/>
                      <a:gd name="connsiteX14" fmla="*/ 1509 w 195256"/>
                      <a:gd name="connsiteY14" fmla="*/ 720448 h 727953"/>
                      <a:gd name="connsiteX15" fmla="*/ 295 w 195256"/>
                      <a:gd name="connsiteY15" fmla="*/ 726022 h 727953"/>
                      <a:gd name="connsiteX16" fmla="*/ 19 w 195256"/>
                      <a:gd name="connsiteY16" fmla="*/ 727953 h 727953"/>
                      <a:gd name="connsiteX17" fmla="*/ 681 w 195256"/>
                      <a:gd name="connsiteY17" fmla="*/ 726132 h 727953"/>
                      <a:gd name="connsiteX18" fmla="*/ 2282 w 195256"/>
                      <a:gd name="connsiteY18" fmla="*/ 720613 h 727953"/>
                      <a:gd name="connsiteX19" fmla="*/ 8076 w 195256"/>
                      <a:gd name="connsiteY19" fmla="*/ 699367 h 727953"/>
                      <a:gd name="connsiteX20" fmla="*/ 28716 w 195256"/>
                      <a:gd name="connsiteY20" fmla="*/ 621059 h 727953"/>
                      <a:gd name="connsiteX21" fmla="*/ 58847 w 195256"/>
                      <a:gd name="connsiteY21" fmla="*/ 504838 h 727953"/>
                      <a:gd name="connsiteX22" fmla="*/ 94111 w 195256"/>
                      <a:gd name="connsiteY22" fmla="*/ 362017 h 727953"/>
                      <a:gd name="connsiteX23" fmla="*/ 107410 w 195256"/>
                      <a:gd name="connsiteY23" fmla="*/ 286965 h 727953"/>
                      <a:gd name="connsiteX24" fmla="*/ 115964 w 195256"/>
                      <a:gd name="connsiteY24" fmla="*/ 252364 h 727953"/>
                      <a:gd name="connsiteX25" fmla="*/ 131030 w 195256"/>
                      <a:gd name="connsiteY25" fmla="*/ 221294 h 727953"/>
                      <a:gd name="connsiteX26" fmla="*/ 150731 w 195256"/>
                      <a:gd name="connsiteY26" fmla="*/ 160038 h 727953"/>
                      <a:gd name="connsiteX27" fmla="*/ 163479 w 195256"/>
                      <a:gd name="connsiteY27" fmla="*/ 105680 h 727953"/>
                      <a:gd name="connsiteX28" fmla="*/ 177551 w 195256"/>
                      <a:gd name="connsiteY28" fmla="*/ 61918 h 727953"/>
                      <a:gd name="connsiteX29" fmla="*/ 189802 w 195256"/>
                      <a:gd name="connsiteY29" fmla="*/ 29248 h 727953"/>
                      <a:gd name="connsiteX30" fmla="*/ 194107 w 195256"/>
                      <a:gd name="connsiteY30" fmla="*/ 7616 h 727953"/>
                      <a:gd name="connsiteX31" fmla="*/ 195100 w 195256"/>
                      <a:gd name="connsiteY31" fmla="*/ 1987 h 727953"/>
                      <a:gd name="connsiteX32" fmla="*/ 195211 w 195256"/>
                      <a:gd name="connsiteY32" fmla="*/ 0 h 7279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95256" h="727953">
                        <a:moveTo>
                          <a:pt x="195211" y="0"/>
                        </a:moveTo>
                        <a:cubicBezTo>
                          <a:pt x="195155" y="0"/>
                          <a:pt x="194935" y="607"/>
                          <a:pt x="194604" y="1876"/>
                        </a:cubicBezTo>
                        <a:cubicBezTo>
                          <a:pt x="194217" y="3366"/>
                          <a:pt x="193776" y="5187"/>
                          <a:pt x="193224" y="7450"/>
                        </a:cubicBezTo>
                        <a:cubicBezTo>
                          <a:pt x="192010" y="12306"/>
                          <a:pt x="190575" y="19646"/>
                          <a:pt x="188202" y="28862"/>
                        </a:cubicBezTo>
                        <a:cubicBezTo>
                          <a:pt x="185774" y="38023"/>
                          <a:pt x="180145" y="48398"/>
                          <a:pt x="175399" y="61146"/>
                        </a:cubicBezTo>
                        <a:cubicBezTo>
                          <a:pt x="170432" y="73783"/>
                          <a:pt x="165355" y="88462"/>
                          <a:pt x="160720" y="104963"/>
                        </a:cubicBezTo>
                        <a:cubicBezTo>
                          <a:pt x="156029" y="121463"/>
                          <a:pt x="151835" y="139730"/>
                          <a:pt x="147475" y="159321"/>
                        </a:cubicBezTo>
                        <a:cubicBezTo>
                          <a:pt x="142950" y="178912"/>
                          <a:pt x="138480" y="199882"/>
                          <a:pt x="127719" y="219694"/>
                        </a:cubicBezTo>
                        <a:cubicBezTo>
                          <a:pt x="122642" y="229738"/>
                          <a:pt x="116957" y="239892"/>
                          <a:pt x="112432" y="250984"/>
                        </a:cubicBezTo>
                        <a:cubicBezTo>
                          <a:pt x="107797" y="262076"/>
                          <a:pt x="105258" y="274272"/>
                          <a:pt x="103547" y="286468"/>
                        </a:cubicBezTo>
                        <a:cubicBezTo>
                          <a:pt x="100567" y="310971"/>
                          <a:pt x="96097" y="335804"/>
                          <a:pt x="90248" y="361245"/>
                        </a:cubicBezTo>
                        <a:cubicBezTo>
                          <a:pt x="77831" y="411905"/>
                          <a:pt x="66076" y="460137"/>
                          <a:pt x="55315" y="504010"/>
                        </a:cubicBezTo>
                        <a:cubicBezTo>
                          <a:pt x="44333" y="547772"/>
                          <a:pt x="34400" y="587230"/>
                          <a:pt x="26012" y="620451"/>
                        </a:cubicBezTo>
                        <a:cubicBezTo>
                          <a:pt x="17899" y="653397"/>
                          <a:pt x="11277" y="680162"/>
                          <a:pt x="6586" y="699036"/>
                        </a:cubicBezTo>
                        <a:cubicBezTo>
                          <a:pt x="4434" y="708086"/>
                          <a:pt x="2723" y="715260"/>
                          <a:pt x="1509" y="720448"/>
                        </a:cubicBezTo>
                        <a:cubicBezTo>
                          <a:pt x="1013" y="722710"/>
                          <a:pt x="626" y="724532"/>
                          <a:pt x="295" y="726022"/>
                        </a:cubicBezTo>
                        <a:cubicBezTo>
                          <a:pt x="19" y="727291"/>
                          <a:pt x="-36" y="727953"/>
                          <a:pt x="19" y="727953"/>
                        </a:cubicBezTo>
                        <a:cubicBezTo>
                          <a:pt x="74" y="727953"/>
                          <a:pt x="295" y="727346"/>
                          <a:pt x="681" y="726132"/>
                        </a:cubicBezTo>
                        <a:cubicBezTo>
                          <a:pt x="1123" y="724697"/>
                          <a:pt x="1620" y="722876"/>
                          <a:pt x="2282" y="720613"/>
                        </a:cubicBezTo>
                        <a:cubicBezTo>
                          <a:pt x="3717" y="715481"/>
                          <a:pt x="5648" y="708362"/>
                          <a:pt x="8076" y="699367"/>
                        </a:cubicBezTo>
                        <a:cubicBezTo>
                          <a:pt x="13043" y="680549"/>
                          <a:pt x="20052" y="653894"/>
                          <a:pt x="28716" y="621059"/>
                        </a:cubicBezTo>
                        <a:cubicBezTo>
                          <a:pt x="37325" y="587892"/>
                          <a:pt x="47534" y="548489"/>
                          <a:pt x="58847" y="504838"/>
                        </a:cubicBezTo>
                        <a:cubicBezTo>
                          <a:pt x="69719" y="460910"/>
                          <a:pt x="81584" y="412678"/>
                          <a:pt x="94111" y="362017"/>
                        </a:cubicBezTo>
                        <a:cubicBezTo>
                          <a:pt x="99960" y="336632"/>
                          <a:pt x="104486" y="311302"/>
                          <a:pt x="107410" y="286965"/>
                        </a:cubicBezTo>
                        <a:cubicBezTo>
                          <a:pt x="109121" y="274879"/>
                          <a:pt x="111494" y="263125"/>
                          <a:pt x="115964" y="252364"/>
                        </a:cubicBezTo>
                        <a:cubicBezTo>
                          <a:pt x="120324" y="241547"/>
                          <a:pt x="125953" y="231448"/>
                          <a:pt x="131030" y="221294"/>
                        </a:cubicBezTo>
                        <a:cubicBezTo>
                          <a:pt x="141901" y="201151"/>
                          <a:pt x="146427" y="179519"/>
                          <a:pt x="150731" y="160038"/>
                        </a:cubicBezTo>
                        <a:cubicBezTo>
                          <a:pt x="154980" y="140392"/>
                          <a:pt x="158954" y="122126"/>
                          <a:pt x="163479" y="105680"/>
                        </a:cubicBezTo>
                        <a:cubicBezTo>
                          <a:pt x="167949" y="89235"/>
                          <a:pt x="172750" y="74556"/>
                          <a:pt x="177551" y="61918"/>
                        </a:cubicBezTo>
                        <a:cubicBezTo>
                          <a:pt x="182076" y="49170"/>
                          <a:pt x="187540" y="38740"/>
                          <a:pt x="189802" y="29248"/>
                        </a:cubicBezTo>
                        <a:cubicBezTo>
                          <a:pt x="191955" y="19867"/>
                          <a:pt x="193114" y="12582"/>
                          <a:pt x="194107" y="7616"/>
                        </a:cubicBezTo>
                        <a:cubicBezTo>
                          <a:pt x="194493" y="5353"/>
                          <a:pt x="194824" y="3477"/>
                          <a:pt x="195100" y="1987"/>
                        </a:cubicBezTo>
                        <a:cubicBezTo>
                          <a:pt x="195211" y="662"/>
                          <a:pt x="195321" y="0"/>
                          <a:pt x="195211" y="0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70" name="Graphic 179">
                  <a:extLst>
                    <a:ext uri="{FF2B5EF4-FFF2-40B4-BE49-F238E27FC236}">
                      <a16:creationId xmlns:a16="http://schemas.microsoft.com/office/drawing/2014/main" id="{8369BBEA-002F-4BED-934F-69F1414BEC70}"/>
                    </a:ext>
                  </a:extLst>
                </p:cNvPr>
                <p:cNvGrpSpPr/>
                <p:nvPr/>
              </p:nvGrpSpPr>
              <p:grpSpPr>
                <a:xfrm>
                  <a:off x="6119733" y="-1062254"/>
                  <a:ext cx="265851" cy="960780"/>
                  <a:chOff x="6119733" y="-1062254"/>
                  <a:chExt cx="265851" cy="960780"/>
                </a:xfrm>
              </p:grpSpPr>
              <p:sp>
                <p:nvSpPr>
                  <p:cNvPr id="971" name="Freeform: Shape 970">
                    <a:extLst>
                      <a:ext uri="{FF2B5EF4-FFF2-40B4-BE49-F238E27FC236}">
                        <a16:creationId xmlns:a16="http://schemas.microsoft.com/office/drawing/2014/main" id="{5385B571-2330-429F-88E0-CAEEF46191A0}"/>
                      </a:ext>
                    </a:extLst>
                  </p:cNvPr>
                  <p:cNvSpPr/>
                  <p:nvPr/>
                </p:nvSpPr>
                <p:spPr>
                  <a:xfrm>
                    <a:off x="6119733" y="-1062254"/>
                    <a:ext cx="265851" cy="960780"/>
                  </a:xfrm>
                  <a:custGeom>
                    <a:avLst/>
                    <a:gdLst>
                      <a:gd name="connsiteX0" fmla="*/ 223286 w 265851"/>
                      <a:gd name="connsiteY0" fmla="*/ 960781 h 960780"/>
                      <a:gd name="connsiteX1" fmla="*/ 258384 w 265851"/>
                      <a:gd name="connsiteY1" fmla="*/ 820113 h 960780"/>
                      <a:gd name="connsiteX2" fmla="*/ 207558 w 265851"/>
                      <a:gd name="connsiteY2" fmla="*/ 689489 h 960780"/>
                      <a:gd name="connsiteX3" fmla="*/ 207448 w 265851"/>
                      <a:gd name="connsiteY3" fmla="*/ 581601 h 960780"/>
                      <a:gd name="connsiteX4" fmla="*/ 150441 w 265851"/>
                      <a:gd name="connsiteY4" fmla="*/ 448824 h 960780"/>
                      <a:gd name="connsiteX5" fmla="*/ 165066 w 265851"/>
                      <a:gd name="connsiteY5" fmla="*/ 368474 h 960780"/>
                      <a:gd name="connsiteX6" fmla="*/ 121910 w 265851"/>
                      <a:gd name="connsiteY6" fmla="*/ 278908 h 960780"/>
                      <a:gd name="connsiteX7" fmla="*/ 87585 w 265851"/>
                      <a:gd name="connsiteY7" fmla="*/ 129741 h 960780"/>
                      <a:gd name="connsiteX8" fmla="*/ 15071 w 265851"/>
                      <a:gd name="connsiteY8" fmla="*/ 0 h 960780"/>
                      <a:gd name="connsiteX9" fmla="*/ 668 w 265851"/>
                      <a:gd name="connsiteY9" fmla="*/ 130679 h 960780"/>
                      <a:gd name="connsiteX10" fmla="*/ 29530 w 265851"/>
                      <a:gd name="connsiteY10" fmla="*/ 237464 h 960780"/>
                      <a:gd name="connsiteX11" fmla="*/ 34552 w 265851"/>
                      <a:gd name="connsiteY11" fmla="*/ 319690 h 960780"/>
                      <a:gd name="connsiteX12" fmla="*/ 47465 w 265851"/>
                      <a:gd name="connsiteY12" fmla="*/ 398495 h 960780"/>
                      <a:gd name="connsiteX13" fmla="*/ 72023 w 265851"/>
                      <a:gd name="connsiteY13" fmla="*/ 454729 h 960780"/>
                      <a:gd name="connsiteX14" fmla="*/ 77100 w 265851"/>
                      <a:gd name="connsiteY14" fmla="*/ 569736 h 960780"/>
                      <a:gd name="connsiteX15" fmla="*/ 110708 w 265851"/>
                      <a:gd name="connsiteY15" fmla="*/ 661399 h 960780"/>
                      <a:gd name="connsiteX16" fmla="*/ 102706 w 265851"/>
                      <a:gd name="connsiteY16" fmla="*/ 797376 h 960780"/>
                      <a:gd name="connsiteX17" fmla="*/ 132892 w 265851"/>
                      <a:gd name="connsiteY17" fmla="*/ 858356 h 960780"/>
                      <a:gd name="connsiteX18" fmla="*/ 136093 w 265851"/>
                      <a:gd name="connsiteY18" fmla="*/ 911114 h 960780"/>
                      <a:gd name="connsiteX19" fmla="*/ 223342 w 265851"/>
                      <a:gd name="connsiteY19" fmla="*/ 958905 h 960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65851" h="960780">
                        <a:moveTo>
                          <a:pt x="223286" y="960781"/>
                        </a:moveTo>
                        <a:cubicBezTo>
                          <a:pt x="263627" y="936775"/>
                          <a:pt x="275216" y="863985"/>
                          <a:pt x="258384" y="820113"/>
                        </a:cubicBezTo>
                        <a:cubicBezTo>
                          <a:pt x="241553" y="776295"/>
                          <a:pt x="212084" y="736231"/>
                          <a:pt x="207558" y="689489"/>
                        </a:cubicBezTo>
                        <a:cubicBezTo>
                          <a:pt x="204082" y="653563"/>
                          <a:pt x="215836" y="616699"/>
                          <a:pt x="207448" y="581601"/>
                        </a:cubicBezTo>
                        <a:cubicBezTo>
                          <a:pt x="196135" y="534196"/>
                          <a:pt x="149890" y="497498"/>
                          <a:pt x="150441" y="448824"/>
                        </a:cubicBezTo>
                        <a:cubicBezTo>
                          <a:pt x="150717" y="421507"/>
                          <a:pt x="166280" y="395791"/>
                          <a:pt x="165066" y="368474"/>
                        </a:cubicBezTo>
                        <a:cubicBezTo>
                          <a:pt x="163520" y="334976"/>
                          <a:pt x="137859" y="308432"/>
                          <a:pt x="121910" y="278908"/>
                        </a:cubicBezTo>
                        <a:cubicBezTo>
                          <a:pt x="97518" y="233766"/>
                          <a:pt x="95918" y="180346"/>
                          <a:pt x="87585" y="129741"/>
                        </a:cubicBezTo>
                        <a:cubicBezTo>
                          <a:pt x="79252" y="79136"/>
                          <a:pt x="59937" y="24889"/>
                          <a:pt x="15071" y="0"/>
                        </a:cubicBezTo>
                        <a:cubicBezTo>
                          <a:pt x="8449" y="42989"/>
                          <a:pt x="-2864" y="72403"/>
                          <a:pt x="668" y="130679"/>
                        </a:cubicBezTo>
                        <a:cubicBezTo>
                          <a:pt x="1937" y="151595"/>
                          <a:pt x="26219" y="191604"/>
                          <a:pt x="29530" y="237464"/>
                        </a:cubicBezTo>
                        <a:cubicBezTo>
                          <a:pt x="31516" y="264836"/>
                          <a:pt x="32896" y="292318"/>
                          <a:pt x="34552" y="319690"/>
                        </a:cubicBezTo>
                        <a:cubicBezTo>
                          <a:pt x="36207" y="346345"/>
                          <a:pt x="37918" y="373551"/>
                          <a:pt x="47465" y="398495"/>
                        </a:cubicBezTo>
                        <a:cubicBezTo>
                          <a:pt x="54805" y="417644"/>
                          <a:pt x="66559" y="434973"/>
                          <a:pt x="72023" y="454729"/>
                        </a:cubicBezTo>
                        <a:cubicBezTo>
                          <a:pt x="82232" y="491869"/>
                          <a:pt x="68822" y="532099"/>
                          <a:pt x="77100" y="569736"/>
                        </a:cubicBezTo>
                        <a:cubicBezTo>
                          <a:pt x="84108" y="601633"/>
                          <a:pt x="106183" y="629060"/>
                          <a:pt x="110708" y="661399"/>
                        </a:cubicBezTo>
                        <a:cubicBezTo>
                          <a:pt x="117054" y="706817"/>
                          <a:pt x="87640" y="754056"/>
                          <a:pt x="102706" y="797376"/>
                        </a:cubicBezTo>
                        <a:cubicBezTo>
                          <a:pt x="110156" y="818899"/>
                          <a:pt x="127870" y="836172"/>
                          <a:pt x="132892" y="858356"/>
                        </a:cubicBezTo>
                        <a:cubicBezTo>
                          <a:pt x="136811" y="875574"/>
                          <a:pt x="132561" y="893841"/>
                          <a:pt x="136093" y="911114"/>
                        </a:cubicBezTo>
                        <a:cubicBezTo>
                          <a:pt x="141777" y="938983"/>
                          <a:pt x="194976" y="960671"/>
                          <a:pt x="223342" y="958905"/>
                        </a:cubicBezTo>
                      </a:path>
                    </a:pathLst>
                  </a:custGeom>
                  <a:solidFill>
                    <a:srgbClr val="0D616C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972" name="Freeform: Shape 971">
                    <a:extLst>
                      <a:ext uri="{FF2B5EF4-FFF2-40B4-BE49-F238E27FC236}">
                        <a16:creationId xmlns:a16="http://schemas.microsoft.com/office/drawing/2014/main" id="{369E6BB0-D76A-4CCC-81F9-39CDB8589824}"/>
                      </a:ext>
                    </a:extLst>
                  </p:cNvPr>
                  <p:cNvSpPr/>
                  <p:nvPr/>
                </p:nvSpPr>
                <p:spPr>
                  <a:xfrm>
                    <a:off x="6145931" y="-1019650"/>
                    <a:ext cx="197102" cy="916359"/>
                  </a:xfrm>
                  <a:custGeom>
                    <a:avLst/>
                    <a:gdLst>
                      <a:gd name="connsiteX0" fmla="*/ 21 w 197102"/>
                      <a:gd name="connsiteY0" fmla="*/ 0 h 916359"/>
                      <a:gd name="connsiteX1" fmla="*/ 186 w 197102"/>
                      <a:gd name="connsiteY1" fmla="*/ 2428 h 916359"/>
                      <a:gd name="connsiteX2" fmla="*/ 1069 w 197102"/>
                      <a:gd name="connsiteY2" fmla="*/ 9492 h 916359"/>
                      <a:gd name="connsiteX3" fmla="*/ 5153 w 197102"/>
                      <a:gd name="connsiteY3" fmla="*/ 36588 h 916359"/>
                      <a:gd name="connsiteX4" fmla="*/ 18397 w 197102"/>
                      <a:gd name="connsiteY4" fmla="*/ 77867 h 916359"/>
                      <a:gd name="connsiteX5" fmla="*/ 33187 w 197102"/>
                      <a:gd name="connsiteY5" fmla="*/ 133163 h 916359"/>
                      <a:gd name="connsiteX6" fmla="*/ 45714 w 197102"/>
                      <a:gd name="connsiteY6" fmla="*/ 201482 h 916359"/>
                      <a:gd name="connsiteX7" fmla="*/ 66409 w 197102"/>
                      <a:gd name="connsiteY7" fmla="*/ 278687 h 916359"/>
                      <a:gd name="connsiteX8" fmla="*/ 83185 w 197102"/>
                      <a:gd name="connsiteY8" fmla="*/ 318255 h 916359"/>
                      <a:gd name="connsiteX9" fmla="*/ 91684 w 197102"/>
                      <a:gd name="connsiteY9" fmla="*/ 361852 h 916359"/>
                      <a:gd name="connsiteX10" fmla="*/ 103549 w 197102"/>
                      <a:gd name="connsiteY10" fmla="*/ 455888 h 916359"/>
                      <a:gd name="connsiteX11" fmla="*/ 138426 w 197102"/>
                      <a:gd name="connsiteY11" fmla="*/ 635462 h 916359"/>
                      <a:gd name="connsiteX12" fmla="*/ 168447 w 197102"/>
                      <a:gd name="connsiteY12" fmla="*/ 781759 h 916359"/>
                      <a:gd name="connsiteX13" fmla="*/ 189031 w 197102"/>
                      <a:gd name="connsiteY13" fmla="*/ 880320 h 916359"/>
                      <a:gd name="connsiteX14" fmla="*/ 194826 w 197102"/>
                      <a:gd name="connsiteY14" fmla="*/ 907085 h 916359"/>
                      <a:gd name="connsiteX15" fmla="*/ 196426 w 197102"/>
                      <a:gd name="connsiteY15" fmla="*/ 914039 h 916359"/>
                      <a:gd name="connsiteX16" fmla="*/ 197088 w 197102"/>
                      <a:gd name="connsiteY16" fmla="*/ 916357 h 916359"/>
                      <a:gd name="connsiteX17" fmla="*/ 196812 w 197102"/>
                      <a:gd name="connsiteY17" fmla="*/ 913928 h 916359"/>
                      <a:gd name="connsiteX18" fmla="*/ 195598 w 197102"/>
                      <a:gd name="connsiteY18" fmla="*/ 906920 h 916359"/>
                      <a:gd name="connsiteX19" fmla="*/ 190521 w 197102"/>
                      <a:gd name="connsiteY19" fmla="*/ 880044 h 916359"/>
                      <a:gd name="connsiteX20" fmla="*/ 171151 w 197102"/>
                      <a:gd name="connsiteY20" fmla="*/ 781262 h 916359"/>
                      <a:gd name="connsiteX21" fmla="*/ 141958 w 197102"/>
                      <a:gd name="connsiteY21" fmla="*/ 634800 h 916359"/>
                      <a:gd name="connsiteX22" fmla="*/ 107412 w 197102"/>
                      <a:gd name="connsiteY22" fmla="*/ 455281 h 916359"/>
                      <a:gd name="connsiteX23" fmla="*/ 95547 w 197102"/>
                      <a:gd name="connsiteY23" fmla="*/ 361576 h 916359"/>
                      <a:gd name="connsiteX24" fmla="*/ 86717 w 197102"/>
                      <a:gd name="connsiteY24" fmla="*/ 317096 h 916359"/>
                      <a:gd name="connsiteX25" fmla="*/ 69720 w 197102"/>
                      <a:gd name="connsiteY25" fmla="*/ 277308 h 916359"/>
                      <a:gd name="connsiteX26" fmla="*/ 48915 w 197102"/>
                      <a:gd name="connsiteY26" fmla="*/ 200986 h 916359"/>
                      <a:gd name="connsiteX27" fmla="*/ 35891 w 197102"/>
                      <a:gd name="connsiteY27" fmla="*/ 132611 h 916359"/>
                      <a:gd name="connsiteX28" fmla="*/ 20439 w 197102"/>
                      <a:gd name="connsiteY28" fmla="*/ 77260 h 916359"/>
                      <a:gd name="connsiteX29" fmla="*/ 6588 w 197102"/>
                      <a:gd name="connsiteY29" fmla="*/ 36312 h 916359"/>
                      <a:gd name="connsiteX30" fmla="*/ 1787 w 197102"/>
                      <a:gd name="connsiteY30" fmla="*/ 9381 h 916359"/>
                      <a:gd name="connsiteX31" fmla="*/ 462 w 197102"/>
                      <a:gd name="connsiteY31" fmla="*/ 2373 h 916359"/>
                      <a:gd name="connsiteX32" fmla="*/ 21 w 197102"/>
                      <a:gd name="connsiteY32" fmla="*/ 0 h 916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97102" h="916359">
                        <a:moveTo>
                          <a:pt x="21" y="0"/>
                        </a:moveTo>
                        <a:cubicBezTo>
                          <a:pt x="-34" y="0"/>
                          <a:pt x="21" y="828"/>
                          <a:pt x="186" y="2428"/>
                        </a:cubicBezTo>
                        <a:cubicBezTo>
                          <a:pt x="407" y="4249"/>
                          <a:pt x="738" y="6567"/>
                          <a:pt x="1069" y="9492"/>
                        </a:cubicBezTo>
                        <a:cubicBezTo>
                          <a:pt x="2007" y="15673"/>
                          <a:pt x="3056" y="24834"/>
                          <a:pt x="5153" y="36588"/>
                        </a:cubicBezTo>
                        <a:cubicBezTo>
                          <a:pt x="7416" y="48453"/>
                          <a:pt x="13541" y="61808"/>
                          <a:pt x="18397" y="77867"/>
                        </a:cubicBezTo>
                        <a:cubicBezTo>
                          <a:pt x="23530" y="93926"/>
                          <a:pt x="28662" y="112413"/>
                          <a:pt x="33187" y="133163"/>
                        </a:cubicBezTo>
                        <a:cubicBezTo>
                          <a:pt x="37768" y="153857"/>
                          <a:pt x="41631" y="176814"/>
                          <a:pt x="45714" y="201482"/>
                        </a:cubicBezTo>
                        <a:cubicBezTo>
                          <a:pt x="49908" y="225985"/>
                          <a:pt x="54158" y="253026"/>
                          <a:pt x="66409" y="278687"/>
                        </a:cubicBezTo>
                        <a:cubicBezTo>
                          <a:pt x="72093" y="291601"/>
                          <a:pt x="78439" y="304514"/>
                          <a:pt x="83185" y="318255"/>
                        </a:cubicBezTo>
                        <a:cubicBezTo>
                          <a:pt x="88097" y="331941"/>
                          <a:pt x="90304" y="346731"/>
                          <a:pt x="91684" y="361852"/>
                        </a:cubicBezTo>
                        <a:cubicBezTo>
                          <a:pt x="93781" y="392314"/>
                          <a:pt x="97810" y="423991"/>
                          <a:pt x="103549" y="455888"/>
                        </a:cubicBezTo>
                        <a:cubicBezTo>
                          <a:pt x="115910" y="519572"/>
                          <a:pt x="127665" y="580221"/>
                          <a:pt x="138426" y="635462"/>
                        </a:cubicBezTo>
                        <a:cubicBezTo>
                          <a:pt x="149739" y="690482"/>
                          <a:pt x="159893" y="740039"/>
                          <a:pt x="168447" y="781759"/>
                        </a:cubicBezTo>
                        <a:cubicBezTo>
                          <a:pt x="177111" y="823148"/>
                          <a:pt x="184120" y="856756"/>
                          <a:pt x="189031" y="880320"/>
                        </a:cubicBezTo>
                        <a:cubicBezTo>
                          <a:pt x="191515" y="891744"/>
                          <a:pt x="193446" y="900684"/>
                          <a:pt x="194826" y="907085"/>
                        </a:cubicBezTo>
                        <a:cubicBezTo>
                          <a:pt x="195488" y="909955"/>
                          <a:pt x="196040" y="912273"/>
                          <a:pt x="196426" y="914039"/>
                        </a:cubicBezTo>
                        <a:cubicBezTo>
                          <a:pt x="196812" y="915584"/>
                          <a:pt x="197033" y="916412"/>
                          <a:pt x="197088" y="916357"/>
                        </a:cubicBezTo>
                        <a:cubicBezTo>
                          <a:pt x="197144" y="916357"/>
                          <a:pt x="197033" y="915529"/>
                          <a:pt x="196812" y="913928"/>
                        </a:cubicBezTo>
                        <a:cubicBezTo>
                          <a:pt x="196481" y="912162"/>
                          <a:pt x="196095" y="909845"/>
                          <a:pt x="195598" y="906920"/>
                        </a:cubicBezTo>
                        <a:cubicBezTo>
                          <a:pt x="194384" y="900518"/>
                          <a:pt x="192674" y="891523"/>
                          <a:pt x="190521" y="880044"/>
                        </a:cubicBezTo>
                        <a:cubicBezTo>
                          <a:pt x="185886" y="856480"/>
                          <a:pt x="179319" y="822762"/>
                          <a:pt x="171151" y="781262"/>
                        </a:cubicBezTo>
                        <a:cubicBezTo>
                          <a:pt x="162818" y="739487"/>
                          <a:pt x="152940" y="689875"/>
                          <a:pt x="141958" y="634800"/>
                        </a:cubicBezTo>
                        <a:cubicBezTo>
                          <a:pt x="131362" y="579614"/>
                          <a:pt x="119663" y="518965"/>
                          <a:pt x="107412" y="455281"/>
                        </a:cubicBezTo>
                        <a:cubicBezTo>
                          <a:pt x="101728" y="423329"/>
                          <a:pt x="97699" y="392149"/>
                          <a:pt x="95547" y="361576"/>
                        </a:cubicBezTo>
                        <a:cubicBezTo>
                          <a:pt x="94112" y="346345"/>
                          <a:pt x="91794" y="331113"/>
                          <a:pt x="86717" y="317096"/>
                        </a:cubicBezTo>
                        <a:cubicBezTo>
                          <a:pt x="81806" y="303024"/>
                          <a:pt x="75349" y="290055"/>
                          <a:pt x="69720" y="277308"/>
                        </a:cubicBezTo>
                        <a:cubicBezTo>
                          <a:pt x="57579" y="251977"/>
                          <a:pt x="53275" y="225599"/>
                          <a:pt x="48915" y="200986"/>
                        </a:cubicBezTo>
                        <a:cubicBezTo>
                          <a:pt x="44721" y="176373"/>
                          <a:pt x="40692" y="153361"/>
                          <a:pt x="35891" y="132611"/>
                        </a:cubicBezTo>
                        <a:cubicBezTo>
                          <a:pt x="31145" y="111861"/>
                          <a:pt x="25848" y="93319"/>
                          <a:pt x="20439" y="77260"/>
                        </a:cubicBezTo>
                        <a:cubicBezTo>
                          <a:pt x="15307" y="61090"/>
                          <a:pt x="9016" y="47901"/>
                          <a:pt x="6588" y="36312"/>
                        </a:cubicBezTo>
                        <a:cubicBezTo>
                          <a:pt x="4270" y="24723"/>
                          <a:pt x="3001" y="15507"/>
                          <a:pt x="1787" y="9381"/>
                        </a:cubicBezTo>
                        <a:cubicBezTo>
                          <a:pt x="1235" y="6457"/>
                          <a:pt x="793" y="4194"/>
                          <a:pt x="462" y="2373"/>
                        </a:cubicBezTo>
                        <a:cubicBezTo>
                          <a:pt x="297" y="828"/>
                          <a:pt x="76" y="0"/>
                          <a:pt x="21" y="0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809" name="Graphic 179">
              <a:extLst>
                <a:ext uri="{FF2B5EF4-FFF2-40B4-BE49-F238E27FC236}">
                  <a16:creationId xmlns:a16="http://schemas.microsoft.com/office/drawing/2014/main" id="{3F8411B4-51E7-40BB-9ED7-ED8BB419B7B6}"/>
                </a:ext>
              </a:extLst>
            </p:cNvPr>
            <p:cNvGrpSpPr/>
            <p:nvPr/>
          </p:nvGrpSpPr>
          <p:grpSpPr>
            <a:xfrm>
              <a:off x="4112367" y="2377403"/>
              <a:ext cx="490617" cy="492071"/>
              <a:chOff x="7889505" y="-2363804"/>
              <a:chExt cx="323036" cy="323993"/>
            </a:xfrm>
          </p:grpSpPr>
          <p:grpSp>
            <p:nvGrpSpPr>
              <p:cNvPr id="962" name="Graphic 179">
                <a:extLst>
                  <a:ext uri="{FF2B5EF4-FFF2-40B4-BE49-F238E27FC236}">
                    <a16:creationId xmlns:a16="http://schemas.microsoft.com/office/drawing/2014/main" id="{32416CB7-D3CB-482C-B8AB-6336E2B803AF}"/>
                  </a:ext>
                </a:extLst>
              </p:cNvPr>
              <p:cNvGrpSpPr/>
              <p:nvPr/>
            </p:nvGrpSpPr>
            <p:grpSpPr>
              <a:xfrm>
                <a:off x="8009844" y="-2272275"/>
                <a:ext cx="82286" cy="140801"/>
                <a:chOff x="8009844" y="-2272275"/>
                <a:chExt cx="82286" cy="140801"/>
              </a:xfrm>
              <a:solidFill>
                <a:srgbClr val="E8505B"/>
              </a:solidFill>
            </p:grpSpPr>
            <p:sp>
              <p:nvSpPr>
                <p:cNvPr id="964" name="Freeform: Shape 963">
                  <a:extLst>
                    <a:ext uri="{FF2B5EF4-FFF2-40B4-BE49-F238E27FC236}">
                      <a16:creationId xmlns:a16="http://schemas.microsoft.com/office/drawing/2014/main" id="{6A8A4018-D529-41D5-A2D9-FC2A10B9779C}"/>
                    </a:ext>
                  </a:extLst>
                </p:cNvPr>
                <p:cNvSpPr/>
                <p:nvPr/>
              </p:nvSpPr>
              <p:spPr>
                <a:xfrm>
                  <a:off x="8009844" y="-2241514"/>
                  <a:ext cx="82286" cy="110040"/>
                </a:xfrm>
                <a:custGeom>
                  <a:avLst/>
                  <a:gdLst>
                    <a:gd name="connsiteX0" fmla="*/ 82282 w 82286"/>
                    <a:gd name="connsiteY0" fmla="*/ 69037 h 110040"/>
                    <a:gd name="connsiteX1" fmla="*/ 60318 w 82286"/>
                    <a:gd name="connsiteY1" fmla="*/ 69037 h 110040"/>
                    <a:gd name="connsiteX2" fmla="*/ 41168 w 82286"/>
                    <a:gd name="connsiteY2" fmla="*/ 87800 h 110040"/>
                    <a:gd name="connsiteX3" fmla="*/ 23951 w 82286"/>
                    <a:gd name="connsiteY3" fmla="*/ 76432 h 110040"/>
                    <a:gd name="connsiteX4" fmla="*/ 25496 w 82286"/>
                    <a:gd name="connsiteY4" fmla="*/ 58662 h 110040"/>
                    <a:gd name="connsiteX5" fmla="*/ 52206 w 82286"/>
                    <a:gd name="connsiteY5" fmla="*/ 49557 h 110040"/>
                    <a:gd name="connsiteX6" fmla="*/ 52206 w 82286"/>
                    <a:gd name="connsiteY6" fmla="*/ 0 h 110040"/>
                    <a:gd name="connsiteX7" fmla="*/ 30462 w 82286"/>
                    <a:gd name="connsiteY7" fmla="*/ 0 h 110040"/>
                    <a:gd name="connsiteX8" fmla="*/ 30462 w 82286"/>
                    <a:gd name="connsiteY8" fmla="*/ 29028 h 110040"/>
                    <a:gd name="connsiteX9" fmla="*/ 0 w 82286"/>
                    <a:gd name="connsiteY9" fmla="*/ 70472 h 110040"/>
                    <a:gd name="connsiteX10" fmla="*/ 41113 w 82286"/>
                    <a:gd name="connsiteY10" fmla="*/ 110040 h 110040"/>
                    <a:gd name="connsiteX11" fmla="*/ 82282 w 82286"/>
                    <a:gd name="connsiteY11" fmla="*/ 69037 h 110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2286" h="110040">
                      <a:moveTo>
                        <a:pt x="82282" y="69037"/>
                      </a:moveTo>
                      <a:lnTo>
                        <a:pt x="60318" y="69037"/>
                      </a:lnTo>
                      <a:cubicBezTo>
                        <a:pt x="60318" y="69037"/>
                        <a:pt x="60318" y="87469"/>
                        <a:pt x="41168" y="87800"/>
                      </a:cubicBezTo>
                      <a:cubicBezTo>
                        <a:pt x="31235" y="87966"/>
                        <a:pt x="26048" y="81454"/>
                        <a:pt x="23951" y="76432"/>
                      </a:cubicBezTo>
                      <a:cubicBezTo>
                        <a:pt x="21522" y="70638"/>
                        <a:pt x="22240" y="64015"/>
                        <a:pt x="25496" y="58662"/>
                      </a:cubicBezTo>
                      <a:cubicBezTo>
                        <a:pt x="29248" y="52537"/>
                        <a:pt x="37361" y="46908"/>
                        <a:pt x="52206" y="49557"/>
                      </a:cubicBezTo>
                      <a:lnTo>
                        <a:pt x="52206" y="0"/>
                      </a:lnTo>
                      <a:lnTo>
                        <a:pt x="30462" y="0"/>
                      </a:lnTo>
                      <a:lnTo>
                        <a:pt x="30462" y="29028"/>
                      </a:lnTo>
                      <a:cubicBezTo>
                        <a:pt x="30462" y="29028"/>
                        <a:pt x="0" y="36919"/>
                        <a:pt x="0" y="70472"/>
                      </a:cubicBezTo>
                      <a:cubicBezTo>
                        <a:pt x="0" y="102590"/>
                        <a:pt x="28807" y="110040"/>
                        <a:pt x="41113" y="110040"/>
                      </a:cubicBezTo>
                      <a:cubicBezTo>
                        <a:pt x="50605" y="110095"/>
                        <a:pt x="82723" y="107833"/>
                        <a:pt x="82282" y="69037"/>
                      </a:cubicBez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solidFill>
                    <a:srgbClr val="95B7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5" name="Freeform: Shape 964">
                  <a:extLst>
                    <a:ext uri="{FF2B5EF4-FFF2-40B4-BE49-F238E27FC236}">
                      <a16:creationId xmlns:a16="http://schemas.microsoft.com/office/drawing/2014/main" id="{60E664A6-9EC6-40B8-B3F5-AA473554C055}"/>
                    </a:ext>
                  </a:extLst>
                </p:cNvPr>
                <p:cNvSpPr/>
                <p:nvPr/>
              </p:nvSpPr>
              <p:spPr>
                <a:xfrm rot="-10800000">
                  <a:off x="8040086" y="-2272275"/>
                  <a:ext cx="22019" cy="20584"/>
                </a:xfrm>
                <a:custGeom>
                  <a:avLst/>
                  <a:gdLst>
                    <a:gd name="connsiteX0" fmla="*/ 0 w 22019"/>
                    <a:gd name="connsiteY0" fmla="*/ 0 h 20584"/>
                    <a:gd name="connsiteX1" fmla="*/ 22019 w 22019"/>
                    <a:gd name="connsiteY1" fmla="*/ 0 h 20584"/>
                    <a:gd name="connsiteX2" fmla="*/ 22019 w 22019"/>
                    <a:gd name="connsiteY2" fmla="*/ 20584 h 20584"/>
                    <a:gd name="connsiteX3" fmla="*/ 0 w 22019"/>
                    <a:gd name="connsiteY3" fmla="*/ 20584 h 20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019" h="20584">
                      <a:moveTo>
                        <a:pt x="0" y="0"/>
                      </a:moveTo>
                      <a:lnTo>
                        <a:pt x="22019" y="0"/>
                      </a:lnTo>
                      <a:lnTo>
                        <a:pt x="22019" y="20584"/>
                      </a:lnTo>
                      <a:lnTo>
                        <a:pt x="0" y="20584"/>
                      </a:ln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solidFill>
                    <a:srgbClr val="95B7A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963" name="Freeform: Shape 962">
                <a:extLst>
                  <a:ext uri="{FF2B5EF4-FFF2-40B4-BE49-F238E27FC236}">
                    <a16:creationId xmlns:a16="http://schemas.microsoft.com/office/drawing/2014/main" id="{30BD693C-C9B9-4044-90FB-529CC7449E12}"/>
                  </a:ext>
                </a:extLst>
              </p:cNvPr>
              <p:cNvSpPr/>
              <p:nvPr/>
            </p:nvSpPr>
            <p:spPr>
              <a:xfrm>
                <a:off x="7889505" y="-2363804"/>
                <a:ext cx="323036" cy="323993"/>
              </a:xfrm>
              <a:custGeom>
                <a:avLst/>
                <a:gdLst>
                  <a:gd name="connsiteX0" fmla="*/ 322981 w 323036"/>
                  <a:gd name="connsiteY0" fmla="*/ 161968 h 323993"/>
                  <a:gd name="connsiteX1" fmla="*/ 323036 w 323036"/>
                  <a:gd name="connsiteY1" fmla="*/ 159209 h 323993"/>
                  <a:gd name="connsiteX2" fmla="*/ 322815 w 323036"/>
                  <a:gd name="connsiteY2" fmla="*/ 151042 h 323993"/>
                  <a:gd name="connsiteX3" fmla="*/ 322540 w 323036"/>
                  <a:gd name="connsiteY3" fmla="*/ 145026 h 323993"/>
                  <a:gd name="connsiteX4" fmla="*/ 321546 w 323036"/>
                  <a:gd name="connsiteY4" fmla="*/ 137797 h 323993"/>
                  <a:gd name="connsiteX5" fmla="*/ 320332 w 323036"/>
                  <a:gd name="connsiteY5" fmla="*/ 129409 h 323993"/>
                  <a:gd name="connsiteX6" fmla="*/ 318014 w 323036"/>
                  <a:gd name="connsiteY6" fmla="*/ 120027 h 323993"/>
                  <a:gd name="connsiteX7" fmla="*/ 298147 w 323036"/>
                  <a:gd name="connsiteY7" fmla="*/ 74499 h 323993"/>
                  <a:gd name="connsiteX8" fmla="*/ 252288 w 323036"/>
                  <a:gd name="connsiteY8" fmla="*/ 27426 h 323993"/>
                  <a:gd name="connsiteX9" fmla="*/ 177346 w 323036"/>
                  <a:gd name="connsiteY9" fmla="*/ 716 h 323993"/>
                  <a:gd name="connsiteX10" fmla="*/ 155327 w 323036"/>
                  <a:gd name="connsiteY10" fmla="*/ 275 h 323993"/>
                  <a:gd name="connsiteX11" fmla="*/ 144069 w 323036"/>
                  <a:gd name="connsiteY11" fmla="*/ 992 h 323993"/>
                  <a:gd name="connsiteX12" fmla="*/ 132701 w 323036"/>
                  <a:gd name="connsiteY12" fmla="*/ 2703 h 323993"/>
                  <a:gd name="connsiteX13" fmla="*/ 87890 w 323036"/>
                  <a:gd name="connsiteY13" fmla="*/ 17989 h 323993"/>
                  <a:gd name="connsiteX14" fmla="*/ 47605 w 323036"/>
                  <a:gd name="connsiteY14" fmla="*/ 47238 h 323993"/>
                  <a:gd name="connsiteX15" fmla="*/ 17308 w 323036"/>
                  <a:gd name="connsiteY15" fmla="*/ 89399 h 323993"/>
                  <a:gd name="connsiteX16" fmla="*/ 1525 w 323036"/>
                  <a:gd name="connsiteY16" fmla="*/ 140777 h 323993"/>
                  <a:gd name="connsiteX17" fmla="*/ 366 w 323036"/>
                  <a:gd name="connsiteY17" fmla="*/ 154463 h 323993"/>
                  <a:gd name="connsiteX18" fmla="*/ 90 w 323036"/>
                  <a:gd name="connsiteY18" fmla="*/ 168315 h 323993"/>
                  <a:gd name="connsiteX19" fmla="*/ 3622 w 323036"/>
                  <a:gd name="connsiteY19" fmla="*/ 196073 h 323993"/>
                  <a:gd name="connsiteX20" fmla="*/ 26855 w 323036"/>
                  <a:gd name="connsiteY20" fmla="*/ 251314 h 323993"/>
                  <a:gd name="connsiteX21" fmla="*/ 26690 w 323036"/>
                  <a:gd name="connsiteY21" fmla="*/ 249658 h 323993"/>
                  <a:gd name="connsiteX22" fmla="*/ 4119 w 323036"/>
                  <a:gd name="connsiteY22" fmla="*/ 305948 h 323993"/>
                  <a:gd name="connsiteX23" fmla="*/ 2794 w 323036"/>
                  <a:gd name="connsiteY23" fmla="*/ 309259 h 323993"/>
                  <a:gd name="connsiteX24" fmla="*/ 6271 w 323036"/>
                  <a:gd name="connsiteY24" fmla="*/ 308321 h 323993"/>
                  <a:gd name="connsiteX25" fmla="*/ 66478 w 323036"/>
                  <a:gd name="connsiteY25" fmla="*/ 291765 h 323993"/>
                  <a:gd name="connsiteX26" fmla="*/ 64988 w 323036"/>
                  <a:gd name="connsiteY26" fmla="*/ 291489 h 323993"/>
                  <a:gd name="connsiteX27" fmla="*/ 133750 w 323036"/>
                  <a:gd name="connsiteY27" fmla="*/ 321510 h 323993"/>
                  <a:gd name="connsiteX28" fmla="*/ 168958 w 323036"/>
                  <a:gd name="connsiteY28" fmla="*/ 323717 h 323993"/>
                  <a:gd name="connsiteX29" fmla="*/ 185900 w 323036"/>
                  <a:gd name="connsiteY29" fmla="*/ 322117 h 323993"/>
                  <a:gd name="connsiteX30" fmla="*/ 194123 w 323036"/>
                  <a:gd name="connsiteY30" fmla="*/ 320848 h 323993"/>
                  <a:gd name="connsiteX31" fmla="*/ 202069 w 323036"/>
                  <a:gd name="connsiteY31" fmla="*/ 318861 h 323993"/>
                  <a:gd name="connsiteX32" fmla="*/ 293622 w 323036"/>
                  <a:gd name="connsiteY32" fmla="*/ 256060 h 323993"/>
                  <a:gd name="connsiteX33" fmla="*/ 313323 w 323036"/>
                  <a:gd name="connsiteY33" fmla="*/ 218699 h 323993"/>
                  <a:gd name="connsiteX34" fmla="*/ 316359 w 323036"/>
                  <a:gd name="connsiteY34" fmla="*/ 210256 h 323993"/>
                  <a:gd name="connsiteX35" fmla="*/ 318401 w 323036"/>
                  <a:gd name="connsiteY35" fmla="*/ 202254 h 323993"/>
                  <a:gd name="connsiteX36" fmla="*/ 320222 w 323036"/>
                  <a:gd name="connsiteY36" fmla="*/ 194914 h 323993"/>
                  <a:gd name="connsiteX37" fmla="*/ 321215 w 323036"/>
                  <a:gd name="connsiteY37" fmla="*/ 188182 h 323993"/>
                  <a:gd name="connsiteX38" fmla="*/ 322650 w 323036"/>
                  <a:gd name="connsiteY38" fmla="*/ 176924 h 323993"/>
                  <a:gd name="connsiteX39" fmla="*/ 322926 w 323036"/>
                  <a:gd name="connsiteY39" fmla="*/ 168646 h 323993"/>
                  <a:gd name="connsiteX40" fmla="*/ 323036 w 323036"/>
                  <a:gd name="connsiteY40" fmla="*/ 163569 h 323993"/>
                  <a:gd name="connsiteX41" fmla="*/ 322981 w 323036"/>
                  <a:gd name="connsiteY41" fmla="*/ 161968 h 323993"/>
                  <a:gd name="connsiteX42" fmla="*/ 322760 w 323036"/>
                  <a:gd name="connsiteY42" fmla="*/ 163679 h 323993"/>
                  <a:gd name="connsiteX43" fmla="*/ 322374 w 323036"/>
                  <a:gd name="connsiteY43" fmla="*/ 168701 h 323993"/>
                  <a:gd name="connsiteX44" fmla="*/ 321822 w 323036"/>
                  <a:gd name="connsiteY44" fmla="*/ 176924 h 323993"/>
                  <a:gd name="connsiteX45" fmla="*/ 320111 w 323036"/>
                  <a:gd name="connsiteY45" fmla="*/ 188071 h 323993"/>
                  <a:gd name="connsiteX46" fmla="*/ 291911 w 323036"/>
                  <a:gd name="connsiteY46" fmla="*/ 254846 h 323993"/>
                  <a:gd name="connsiteX47" fmla="*/ 201352 w 323036"/>
                  <a:gd name="connsiteY47" fmla="*/ 316047 h 323993"/>
                  <a:gd name="connsiteX48" fmla="*/ 193516 w 323036"/>
                  <a:gd name="connsiteY48" fmla="*/ 317923 h 323993"/>
                  <a:gd name="connsiteX49" fmla="*/ 185403 w 323036"/>
                  <a:gd name="connsiteY49" fmla="*/ 319137 h 323993"/>
                  <a:gd name="connsiteX50" fmla="*/ 168792 w 323036"/>
                  <a:gd name="connsiteY50" fmla="*/ 320627 h 323993"/>
                  <a:gd name="connsiteX51" fmla="*/ 134246 w 323036"/>
                  <a:gd name="connsiteY51" fmla="*/ 318364 h 323993"/>
                  <a:gd name="connsiteX52" fmla="*/ 66975 w 323036"/>
                  <a:gd name="connsiteY52" fmla="*/ 288730 h 323993"/>
                  <a:gd name="connsiteX53" fmla="*/ 66313 w 323036"/>
                  <a:gd name="connsiteY53" fmla="*/ 288233 h 323993"/>
                  <a:gd name="connsiteX54" fmla="*/ 65485 w 323036"/>
                  <a:gd name="connsiteY54" fmla="*/ 288454 h 323993"/>
                  <a:gd name="connsiteX55" fmla="*/ 5278 w 323036"/>
                  <a:gd name="connsiteY55" fmla="*/ 304899 h 323993"/>
                  <a:gd name="connsiteX56" fmla="*/ 7375 w 323036"/>
                  <a:gd name="connsiteY56" fmla="*/ 307272 h 323993"/>
                  <a:gd name="connsiteX57" fmla="*/ 30056 w 323036"/>
                  <a:gd name="connsiteY57" fmla="*/ 250983 h 323993"/>
                  <a:gd name="connsiteX58" fmla="*/ 30387 w 323036"/>
                  <a:gd name="connsiteY58" fmla="*/ 250100 h 323993"/>
                  <a:gd name="connsiteX59" fmla="*/ 29835 w 323036"/>
                  <a:gd name="connsiteY59" fmla="*/ 249327 h 323993"/>
                  <a:gd name="connsiteX60" fmla="*/ 7099 w 323036"/>
                  <a:gd name="connsiteY60" fmla="*/ 195301 h 323993"/>
                  <a:gd name="connsiteX61" fmla="*/ 3677 w 323036"/>
                  <a:gd name="connsiteY61" fmla="*/ 168149 h 323993"/>
                  <a:gd name="connsiteX62" fmla="*/ 3898 w 323036"/>
                  <a:gd name="connsiteY62" fmla="*/ 154574 h 323993"/>
                  <a:gd name="connsiteX63" fmla="*/ 5002 w 323036"/>
                  <a:gd name="connsiteY63" fmla="*/ 141163 h 323993"/>
                  <a:gd name="connsiteX64" fmla="*/ 20398 w 323036"/>
                  <a:gd name="connsiteY64" fmla="*/ 90889 h 323993"/>
                  <a:gd name="connsiteX65" fmla="*/ 49978 w 323036"/>
                  <a:gd name="connsiteY65" fmla="*/ 49555 h 323993"/>
                  <a:gd name="connsiteX66" fmla="*/ 89325 w 323036"/>
                  <a:gd name="connsiteY66" fmla="*/ 20804 h 323993"/>
                  <a:gd name="connsiteX67" fmla="*/ 133198 w 323036"/>
                  <a:gd name="connsiteY67" fmla="*/ 5683 h 323993"/>
                  <a:gd name="connsiteX68" fmla="*/ 144290 w 323036"/>
                  <a:gd name="connsiteY68" fmla="*/ 3972 h 323993"/>
                  <a:gd name="connsiteX69" fmla="*/ 155327 w 323036"/>
                  <a:gd name="connsiteY69" fmla="*/ 3200 h 323993"/>
                  <a:gd name="connsiteX70" fmla="*/ 176960 w 323036"/>
                  <a:gd name="connsiteY70" fmla="*/ 3531 h 323993"/>
                  <a:gd name="connsiteX71" fmla="*/ 250743 w 323036"/>
                  <a:gd name="connsiteY71" fmla="*/ 29357 h 323993"/>
                  <a:gd name="connsiteX72" fmla="*/ 296326 w 323036"/>
                  <a:gd name="connsiteY72" fmla="*/ 75437 h 323993"/>
                  <a:gd name="connsiteX73" fmla="*/ 316524 w 323036"/>
                  <a:gd name="connsiteY73" fmla="*/ 120248 h 323993"/>
                  <a:gd name="connsiteX74" fmla="*/ 319008 w 323036"/>
                  <a:gd name="connsiteY74" fmla="*/ 129519 h 323993"/>
                  <a:gd name="connsiteX75" fmla="*/ 320387 w 323036"/>
                  <a:gd name="connsiteY75" fmla="*/ 137852 h 323993"/>
                  <a:gd name="connsiteX76" fmla="*/ 321546 w 323036"/>
                  <a:gd name="connsiteY76" fmla="*/ 144971 h 323993"/>
                  <a:gd name="connsiteX77" fmla="*/ 321988 w 323036"/>
                  <a:gd name="connsiteY77" fmla="*/ 150931 h 323993"/>
                  <a:gd name="connsiteX78" fmla="*/ 322595 w 323036"/>
                  <a:gd name="connsiteY78" fmla="*/ 159044 h 323993"/>
                  <a:gd name="connsiteX79" fmla="*/ 322981 w 323036"/>
                  <a:gd name="connsiteY79" fmla="*/ 161968 h 323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323036" h="323993">
                    <a:moveTo>
                      <a:pt x="322981" y="161968"/>
                    </a:moveTo>
                    <a:cubicBezTo>
                      <a:pt x="323036" y="161968"/>
                      <a:pt x="323036" y="161030"/>
                      <a:pt x="323036" y="159209"/>
                    </a:cubicBezTo>
                    <a:cubicBezTo>
                      <a:pt x="322981" y="157167"/>
                      <a:pt x="322926" y="154463"/>
                      <a:pt x="322815" y="151042"/>
                    </a:cubicBezTo>
                    <a:cubicBezTo>
                      <a:pt x="322705" y="149221"/>
                      <a:pt x="322760" y="147234"/>
                      <a:pt x="322540" y="145026"/>
                    </a:cubicBezTo>
                    <a:cubicBezTo>
                      <a:pt x="322208" y="142819"/>
                      <a:pt x="321877" y="140391"/>
                      <a:pt x="321546" y="137797"/>
                    </a:cubicBezTo>
                    <a:cubicBezTo>
                      <a:pt x="321160" y="135203"/>
                      <a:pt x="320774" y="132389"/>
                      <a:pt x="320332" y="129409"/>
                    </a:cubicBezTo>
                    <a:cubicBezTo>
                      <a:pt x="319615" y="126484"/>
                      <a:pt x="318842" y="123339"/>
                      <a:pt x="318014" y="120027"/>
                    </a:cubicBezTo>
                    <a:cubicBezTo>
                      <a:pt x="314593" y="106838"/>
                      <a:pt x="308798" y="90834"/>
                      <a:pt x="298147" y="74499"/>
                    </a:cubicBezTo>
                    <a:cubicBezTo>
                      <a:pt x="287662" y="58164"/>
                      <a:pt x="272652" y="41167"/>
                      <a:pt x="252288" y="27426"/>
                    </a:cubicBezTo>
                    <a:cubicBezTo>
                      <a:pt x="231869" y="13906"/>
                      <a:pt x="206208" y="3475"/>
                      <a:pt x="177346" y="716"/>
                    </a:cubicBezTo>
                    <a:cubicBezTo>
                      <a:pt x="170117" y="440"/>
                      <a:pt x="162777" y="-443"/>
                      <a:pt x="155327" y="275"/>
                    </a:cubicBezTo>
                    <a:cubicBezTo>
                      <a:pt x="151630" y="551"/>
                      <a:pt x="147822" y="440"/>
                      <a:pt x="144069" y="992"/>
                    </a:cubicBezTo>
                    <a:cubicBezTo>
                      <a:pt x="140317" y="1544"/>
                      <a:pt x="136509" y="2151"/>
                      <a:pt x="132701" y="2703"/>
                    </a:cubicBezTo>
                    <a:cubicBezTo>
                      <a:pt x="117635" y="5793"/>
                      <a:pt x="102239" y="10263"/>
                      <a:pt x="87890" y="17989"/>
                    </a:cubicBezTo>
                    <a:cubicBezTo>
                      <a:pt x="73487" y="25550"/>
                      <a:pt x="59801" y="35318"/>
                      <a:pt x="47605" y="47238"/>
                    </a:cubicBezTo>
                    <a:cubicBezTo>
                      <a:pt x="35685" y="59378"/>
                      <a:pt x="25310" y="73616"/>
                      <a:pt x="17308" y="89399"/>
                    </a:cubicBezTo>
                    <a:cubicBezTo>
                      <a:pt x="9251" y="105183"/>
                      <a:pt x="3677" y="122621"/>
                      <a:pt x="1525" y="140777"/>
                    </a:cubicBezTo>
                    <a:cubicBezTo>
                      <a:pt x="642" y="145302"/>
                      <a:pt x="642" y="149883"/>
                      <a:pt x="366" y="154463"/>
                    </a:cubicBezTo>
                    <a:cubicBezTo>
                      <a:pt x="90" y="159044"/>
                      <a:pt x="-131" y="163679"/>
                      <a:pt x="90" y="168315"/>
                    </a:cubicBezTo>
                    <a:cubicBezTo>
                      <a:pt x="476" y="177586"/>
                      <a:pt x="1635" y="186912"/>
                      <a:pt x="3622" y="196073"/>
                    </a:cubicBezTo>
                    <a:cubicBezTo>
                      <a:pt x="7871" y="216050"/>
                      <a:pt x="15984" y="234813"/>
                      <a:pt x="26855" y="251314"/>
                    </a:cubicBezTo>
                    <a:lnTo>
                      <a:pt x="26690" y="249658"/>
                    </a:lnTo>
                    <a:cubicBezTo>
                      <a:pt x="19019" y="268808"/>
                      <a:pt x="11458" y="287626"/>
                      <a:pt x="4119" y="305948"/>
                    </a:cubicBezTo>
                    <a:lnTo>
                      <a:pt x="2794" y="309259"/>
                    </a:lnTo>
                    <a:lnTo>
                      <a:pt x="6271" y="308321"/>
                    </a:lnTo>
                    <a:cubicBezTo>
                      <a:pt x="26910" y="302637"/>
                      <a:pt x="46998" y="297118"/>
                      <a:pt x="66478" y="291765"/>
                    </a:cubicBezTo>
                    <a:lnTo>
                      <a:pt x="64988" y="291489"/>
                    </a:lnTo>
                    <a:cubicBezTo>
                      <a:pt x="85959" y="307272"/>
                      <a:pt x="109965" y="317371"/>
                      <a:pt x="133750" y="321510"/>
                    </a:cubicBezTo>
                    <a:cubicBezTo>
                      <a:pt x="145615" y="323607"/>
                      <a:pt x="157535" y="324490"/>
                      <a:pt x="168958" y="323717"/>
                    </a:cubicBezTo>
                    <a:cubicBezTo>
                      <a:pt x="174697" y="323497"/>
                      <a:pt x="180381" y="323221"/>
                      <a:pt x="185900" y="322117"/>
                    </a:cubicBezTo>
                    <a:cubicBezTo>
                      <a:pt x="188659" y="321676"/>
                      <a:pt x="191419" y="321289"/>
                      <a:pt x="194123" y="320848"/>
                    </a:cubicBezTo>
                    <a:cubicBezTo>
                      <a:pt x="196827" y="320351"/>
                      <a:pt x="199476" y="319523"/>
                      <a:pt x="202069" y="318861"/>
                    </a:cubicBezTo>
                    <a:cubicBezTo>
                      <a:pt x="244452" y="307990"/>
                      <a:pt x="275742" y="281887"/>
                      <a:pt x="293622" y="256060"/>
                    </a:cubicBezTo>
                    <a:cubicBezTo>
                      <a:pt x="302728" y="243146"/>
                      <a:pt x="309295" y="230343"/>
                      <a:pt x="313323" y="218699"/>
                    </a:cubicBezTo>
                    <a:cubicBezTo>
                      <a:pt x="314372" y="215774"/>
                      <a:pt x="315365" y="212960"/>
                      <a:pt x="316359" y="210256"/>
                    </a:cubicBezTo>
                    <a:cubicBezTo>
                      <a:pt x="317076" y="207497"/>
                      <a:pt x="317738" y="204792"/>
                      <a:pt x="318401" y="202254"/>
                    </a:cubicBezTo>
                    <a:cubicBezTo>
                      <a:pt x="319008" y="199715"/>
                      <a:pt x="319615" y="197287"/>
                      <a:pt x="320222" y="194914"/>
                    </a:cubicBezTo>
                    <a:cubicBezTo>
                      <a:pt x="320663" y="192541"/>
                      <a:pt x="320939" y="190279"/>
                      <a:pt x="321215" y="188182"/>
                    </a:cubicBezTo>
                    <a:cubicBezTo>
                      <a:pt x="321767" y="183932"/>
                      <a:pt x="322484" y="180180"/>
                      <a:pt x="322650" y="176924"/>
                    </a:cubicBezTo>
                    <a:cubicBezTo>
                      <a:pt x="322760" y="173723"/>
                      <a:pt x="322871" y="170964"/>
                      <a:pt x="322926" y="168646"/>
                    </a:cubicBezTo>
                    <a:cubicBezTo>
                      <a:pt x="322981" y="166549"/>
                      <a:pt x="323036" y="164893"/>
                      <a:pt x="323036" y="163569"/>
                    </a:cubicBezTo>
                    <a:cubicBezTo>
                      <a:pt x="323036" y="162520"/>
                      <a:pt x="322981" y="161968"/>
                      <a:pt x="322981" y="161968"/>
                    </a:cubicBezTo>
                    <a:cubicBezTo>
                      <a:pt x="322926" y="161968"/>
                      <a:pt x="322871" y="162520"/>
                      <a:pt x="322760" y="163679"/>
                    </a:cubicBezTo>
                    <a:cubicBezTo>
                      <a:pt x="322650" y="164948"/>
                      <a:pt x="322540" y="166604"/>
                      <a:pt x="322374" y="168701"/>
                    </a:cubicBezTo>
                    <a:cubicBezTo>
                      <a:pt x="322208" y="170964"/>
                      <a:pt x="322043" y="173723"/>
                      <a:pt x="321822" y="176924"/>
                    </a:cubicBezTo>
                    <a:cubicBezTo>
                      <a:pt x="321546" y="180180"/>
                      <a:pt x="320774" y="183877"/>
                      <a:pt x="320111" y="188071"/>
                    </a:cubicBezTo>
                    <a:cubicBezTo>
                      <a:pt x="317076" y="204627"/>
                      <a:pt x="310454" y="229460"/>
                      <a:pt x="291911" y="254846"/>
                    </a:cubicBezTo>
                    <a:cubicBezTo>
                      <a:pt x="273976" y="280176"/>
                      <a:pt x="243017" y="305617"/>
                      <a:pt x="201352" y="316047"/>
                    </a:cubicBezTo>
                    <a:cubicBezTo>
                      <a:pt x="198758" y="316654"/>
                      <a:pt x="196164" y="317481"/>
                      <a:pt x="193516" y="317923"/>
                    </a:cubicBezTo>
                    <a:cubicBezTo>
                      <a:pt x="190811" y="318309"/>
                      <a:pt x="188163" y="318751"/>
                      <a:pt x="185403" y="319137"/>
                    </a:cubicBezTo>
                    <a:cubicBezTo>
                      <a:pt x="179995" y="320186"/>
                      <a:pt x="174421" y="320406"/>
                      <a:pt x="168792" y="320627"/>
                    </a:cubicBezTo>
                    <a:cubicBezTo>
                      <a:pt x="157535" y="321344"/>
                      <a:pt x="145890" y="320461"/>
                      <a:pt x="134246" y="318364"/>
                    </a:cubicBezTo>
                    <a:cubicBezTo>
                      <a:pt x="110958" y="314170"/>
                      <a:pt x="87504" y="304237"/>
                      <a:pt x="66975" y="288730"/>
                    </a:cubicBezTo>
                    <a:lnTo>
                      <a:pt x="66313" y="288233"/>
                    </a:lnTo>
                    <a:lnTo>
                      <a:pt x="65485" y="288454"/>
                    </a:lnTo>
                    <a:cubicBezTo>
                      <a:pt x="46060" y="293752"/>
                      <a:pt x="25917" y="299215"/>
                      <a:pt x="5278" y="304899"/>
                    </a:cubicBezTo>
                    <a:lnTo>
                      <a:pt x="7375" y="307272"/>
                    </a:lnTo>
                    <a:cubicBezTo>
                      <a:pt x="14769" y="288950"/>
                      <a:pt x="22330" y="270132"/>
                      <a:pt x="30056" y="250983"/>
                    </a:cubicBezTo>
                    <a:lnTo>
                      <a:pt x="30387" y="250100"/>
                    </a:lnTo>
                    <a:lnTo>
                      <a:pt x="29835" y="249327"/>
                    </a:lnTo>
                    <a:cubicBezTo>
                      <a:pt x="19184" y="233158"/>
                      <a:pt x="11293" y="214781"/>
                      <a:pt x="7099" y="195301"/>
                    </a:cubicBezTo>
                    <a:cubicBezTo>
                      <a:pt x="5167" y="186305"/>
                      <a:pt x="4063" y="177255"/>
                      <a:pt x="3677" y="168149"/>
                    </a:cubicBezTo>
                    <a:cubicBezTo>
                      <a:pt x="3456" y="163624"/>
                      <a:pt x="3622" y="159099"/>
                      <a:pt x="3898" y="154574"/>
                    </a:cubicBezTo>
                    <a:cubicBezTo>
                      <a:pt x="4174" y="150104"/>
                      <a:pt x="4174" y="145578"/>
                      <a:pt x="5002" y="141163"/>
                    </a:cubicBezTo>
                    <a:cubicBezTo>
                      <a:pt x="7099" y="123394"/>
                      <a:pt x="12507" y="106341"/>
                      <a:pt x="20398" y="90889"/>
                    </a:cubicBezTo>
                    <a:cubicBezTo>
                      <a:pt x="28179" y="75437"/>
                      <a:pt x="38279" y="61531"/>
                      <a:pt x="49978" y="49555"/>
                    </a:cubicBezTo>
                    <a:cubicBezTo>
                      <a:pt x="61898" y="37856"/>
                      <a:pt x="75253" y="28254"/>
                      <a:pt x="89325" y="20804"/>
                    </a:cubicBezTo>
                    <a:cubicBezTo>
                      <a:pt x="103342" y="13188"/>
                      <a:pt x="118463" y="8718"/>
                      <a:pt x="133198" y="5683"/>
                    </a:cubicBezTo>
                    <a:cubicBezTo>
                      <a:pt x="136950" y="5131"/>
                      <a:pt x="140648" y="4524"/>
                      <a:pt x="144290" y="3972"/>
                    </a:cubicBezTo>
                    <a:cubicBezTo>
                      <a:pt x="147988" y="3420"/>
                      <a:pt x="151685" y="3475"/>
                      <a:pt x="155327" y="3200"/>
                    </a:cubicBezTo>
                    <a:cubicBezTo>
                      <a:pt x="162667" y="2482"/>
                      <a:pt x="169841" y="3310"/>
                      <a:pt x="176960" y="3531"/>
                    </a:cubicBezTo>
                    <a:cubicBezTo>
                      <a:pt x="205270" y="6124"/>
                      <a:pt x="230545" y="16223"/>
                      <a:pt x="250743" y="29357"/>
                    </a:cubicBezTo>
                    <a:cubicBezTo>
                      <a:pt x="270886" y="42768"/>
                      <a:pt x="285841" y="59378"/>
                      <a:pt x="296326" y="75437"/>
                    </a:cubicBezTo>
                    <a:cubicBezTo>
                      <a:pt x="307032" y="91496"/>
                      <a:pt x="312937" y="107224"/>
                      <a:pt x="316524" y="120248"/>
                    </a:cubicBezTo>
                    <a:cubicBezTo>
                      <a:pt x="317407" y="123504"/>
                      <a:pt x="318235" y="126594"/>
                      <a:pt x="319008" y="129519"/>
                    </a:cubicBezTo>
                    <a:cubicBezTo>
                      <a:pt x="319504" y="132499"/>
                      <a:pt x="319946" y="135259"/>
                      <a:pt x="320387" y="137852"/>
                    </a:cubicBezTo>
                    <a:cubicBezTo>
                      <a:pt x="320829" y="140446"/>
                      <a:pt x="321215" y="142819"/>
                      <a:pt x="321546" y="144971"/>
                    </a:cubicBezTo>
                    <a:cubicBezTo>
                      <a:pt x="321767" y="147179"/>
                      <a:pt x="321822" y="149165"/>
                      <a:pt x="321988" y="150931"/>
                    </a:cubicBezTo>
                    <a:cubicBezTo>
                      <a:pt x="322264" y="154353"/>
                      <a:pt x="322429" y="157057"/>
                      <a:pt x="322595" y="159044"/>
                    </a:cubicBezTo>
                    <a:cubicBezTo>
                      <a:pt x="322760" y="161030"/>
                      <a:pt x="322871" y="161968"/>
                      <a:pt x="322981" y="161968"/>
                    </a:cubicBezTo>
                    <a:close/>
                  </a:path>
                </a:pathLst>
              </a:custGeom>
              <a:solidFill>
                <a:srgbClr val="103464"/>
              </a:solidFill>
              <a:ln w="5505" cap="flat">
                <a:solidFill>
                  <a:srgbClr val="95B7A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810" name="Graphic 179">
              <a:extLst>
                <a:ext uri="{FF2B5EF4-FFF2-40B4-BE49-F238E27FC236}">
                  <a16:creationId xmlns:a16="http://schemas.microsoft.com/office/drawing/2014/main" id="{9B16689F-A8B7-4F48-B15B-FD663D1D0AA2}"/>
                </a:ext>
              </a:extLst>
            </p:cNvPr>
            <p:cNvGrpSpPr/>
            <p:nvPr/>
          </p:nvGrpSpPr>
          <p:grpSpPr>
            <a:xfrm>
              <a:off x="1902822" y="2704338"/>
              <a:ext cx="2013555" cy="3106678"/>
              <a:chOff x="6434680" y="-2148541"/>
              <a:chExt cx="1325780" cy="2045522"/>
            </a:xfrm>
          </p:grpSpPr>
          <p:grpSp>
            <p:nvGrpSpPr>
              <p:cNvPr id="946" name="Graphic 179">
                <a:extLst>
                  <a:ext uri="{FF2B5EF4-FFF2-40B4-BE49-F238E27FC236}">
                    <a16:creationId xmlns:a16="http://schemas.microsoft.com/office/drawing/2014/main" id="{2FC2EF43-EA21-460E-96B4-F2222FCE328C}"/>
                  </a:ext>
                </a:extLst>
              </p:cNvPr>
              <p:cNvGrpSpPr/>
              <p:nvPr/>
            </p:nvGrpSpPr>
            <p:grpSpPr>
              <a:xfrm>
                <a:off x="6434680" y="-2148541"/>
                <a:ext cx="1325780" cy="2045522"/>
                <a:chOff x="6434680" y="-2148541"/>
                <a:chExt cx="1325780" cy="2045522"/>
              </a:xfrm>
            </p:grpSpPr>
            <p:grpSp>
              <p:nvGrpSpPr>
                <p:cNvPr id="952" name="Graphic 179">
                  <a:extLst>
                    <a:ext uri="{FF2B5EF4-FFF2-40B4-BE49-F238E27FC236}">
                      <a16:creationId xmlns:a16="http://schemas.microsoft.com/office/drawing/2014/main" id="{6C9CEC1B-EE76-4427-BA07-3D9AB3BEAC84}"/>
                    </a:ext>
                  </a:extLst>
                </p:cNvPr>
                <p:cNvGrpSpPr/>
                <p:nvPr/>
              </p:nvGrpSpPr>
              <p:grpSpPr>
                <a:xfrm>
                  <a:off x="6566727" y="-2148541"/>
                  <a:ext cx="1193734" cy="2045522"/>
                  <a:chOff x="6566727" y="-2148541"/>
                  <a:chExt cx="1193734" cy="2045522"/>
                </a:xfrm>
              </p:grpSpPr>
              <p:sp>
                <p:nvSpPr>
                  <p:cNvPr id="958" name="Freeform: Shape 957">
                    <a:extLst>
                      <a:ext uri="{FF2B5EF4-FFF2-40B4-BE49-F238E27FC236}">
                        <a16:creationId xmlns:a16="http://schemas.microsoft.com/office/drawing/2014/main" id="{D7093232-C0DD-4EDE-BF7D-07E1BA9318CA}"/>
                      </a:ext>
                    </a:extLst>
                  </p:cNvPr>
                  <p:cNvSpPr/>
                  <p:nvPr/>
                </p:nvSpPr>
                <p:spPr>
                  <a:xfrm>
                    <a:off x="6566727" y="-2148541"/>
                    <a:ext cx="1193734" cy="1598795"/>
                  </a:xfrm>
                  <a:custGeom>
                    <a:avLst/>
                    <a:gdLst>
                      <a:gd name="connsiteX0" fmla="*/ 70 w 1193734"/>
                      <a:gd name="connsiteY0" fmla="*/ 597509 h 1598795"/>
                      <a:gd name="connsiteX1" fmla="*/ 318767 w 1193734"/>
                      <a:gd name="connsiteY1" fmla="*/ 597509 h 1598795"/>
                      <a:gd name="connsiteX2" fmla="*/ 596847 w 1193734"/>
                      <a:gd name="connsiteY2" fmla="*/ 325113 h 1598795"/>
                      <a:gd name="connsiteX3" fmla="*/ 846562 w 1193734"/>
                      <a:gd name="connsiteY3" fmla="*/ 489731 h 1598795"/>
                      <a:gd name="connsiteX4" fmla="*/ 823880 w 1193734"/>
                      <a:gd name="connsiteY4" fmla="*/ 747889 h 1598795"/>
                      <a:gd name="connsiteX5" fmla="*/ 438630 w 1193734"/>
                      <a:gd name="connsiteY5" fmla="*/ 888723 h 1598795"/>
                      <a:gd name="connsiteX6" fmla="*/ 436588 w 1193734"/>
                      <a:gd name="connsiteY6" fmla="*/ 1598796 h 1598795"/>
                      <a:gd name="connsiteX7" fmla="*/ 751753 w 1193734"/>
                      <a:gd name="connsiteY7" fmla="*/ 1598796 h 1598795"/>
                      <a:gd name="connsiteX8" fmla="*/ 751753 w 1193734"/>
                      <a:gd name="connsiteY8" fmla="*/ 1177840 h 1598795"/>
                      <a:gd name="connsiteX9" fmla="*/ 1193734 w 1193734"/>
                      <a:gd name="connsiteY9" fmla="*/ 576483 h 1598795"/>
                      <a:gd name="connsiteX10" fmla="*/ 614286 w 1193734"/>
                      <a:gd name="connsiteY10" fmla="*/ 3270 h 1598795"/>
                      <a:gd name="connsiteX11" fmla="*/ 321305 w 1193734"/>
                      <a:gd name="connsiteY11" fmla="*/ 14638 h 1598795"/>
                      <a:gd name="connsiteX12" fmla="*/ 70 w 1193734"/>
                      <a:gd name="connsiteY12" fmla="*/ 597509 h 1598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93734" h="1598795">
                        <a:moveTo>
                          <a:pt x="70" y="597509"/>
                        </a:moveTo>
                        <a:lnTo>
                          <a:pt x="318767" y="597509"/>
                        </a:lnTo>
                        <a:cubicBezTo>
                          <a:pt x="318767" y="597509"/>
                          <a:pt x="318767" y="329914"/>
                          <a:pt x="596847" y="325113"/>
                        </a:cubicBezTo>
                        <a:cubicBezTo>
                          <a:pt x="741268" y="322629"/>
                          <a:pt x="816155" y="417217"/>
                          <a:pt x="846562" y="489731"/>
                        </a:cubicBezTo>
                        <a:cubicBezTo>
                          <a:pt x="881880" y="573889"/>
                          <a:pt x="871175" y="669802"/>
                          <a:pt x="823880" y="747889"/>
                        </a:cubicBezTo>
                        <a:cubicBezTo>
                          <a:pt x="769799" y="837014"/>
                          <a:pt x="653412" y="926580"/>
                          <a:pt x="438630" y="888723"/>
                        </a:cubicBezTo>
                        <a:lnTo>
                          <a:pt x="436588" y="1598796"/>
                        </a:lnTo>
                        <a:lnTo>
                          <a:pt x="751753" y="1598796"/>
                        </a:lnTo>
                        <a:lnTo>
                          <a:pt x="751753" y="1177840"/>
                        </a:lnTo>
                        <a:cubicBezTo>
                          <a:pt x="751753" y="1177840"/>
                          <a:pt x="1193734" y="1063606"/>
                          <a:pt x="1193734" y="576483"/>
                        </a:cubicBezTo>
                        <a:cubicBezTo>
                          <a:pt x="1193734" y="110441"/>
                          <a:pt x="816872" y="9782"/>
                          <a:pt x="614286" y="3270"/>
                        </a:cubicBezTo>
                        <a:cubicBezTo>
                          <a:pt x="501597" y="-317"/>
                          <a:pt x="460704" y="-5173"/>
                          <a:pt x="321305" y="14638"/>
                        </a:cubicBezTo>
                        <a:cubicBezTo>
                          <a:pt x="143718" y="39858"/>
                          <a:pt x="-3683" y="246142"/>
                          <a:pt x="70" y="597509"/>
                        </a:cubicBezTo>
                        <a:close/>
                      </a:path>
                    </a:pathLst>
                  </a:custGeom>
                  <a:solidFill>
                    <a:srgbClr val="E8505B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9" name="Freeform: Shape 958">
                    <a:extLst>
                      <a:ext uri="{FF2B5EF4-FFF2-40B4-BE49-F238E27FC236}">
                        <a16:creationId xmlns:a16="http://schemas.microsoft.com/office/drawing/2014/main" id="{8371F9B8-D624-4A06-9EDA-1B1A78EC4651}"/>
                      </a:ext>
                    </a:extLst>
                  </p:cNvPr>
                  <p:cNvSpPr/>
                  <p:nvPr/>
                </p:nvSpPr>
                <p:spPr>
                  <a:xfrm>
                    <a:off x="7002432" y="-401737"/>
                    <a:ext cx="319855" cy="298719"/>
                  </a:xfrm>
                  <a:custGeom>
                    <a:avLst/>
                    <a:gdLst>
                      <a:gd name="connsiteX0" fmla="*/ 0 w 319855"/>
                      <a:gd name="connsiteY0" fmla="*/ 0 h 298719"/>
                      <a:gd name="connsiteX1" fmla="*/ 319856 w 319855"/>
                      <a:gd name="connsiteY1" fmla="*/ 0 h 298719"/>
                      <a:gd name="connsiteX2" fmla="*/ 319856 w 319855"/>
                      <a:gd name="connsiteY2" fmla="*/ 298720 h 298719"/>
                      <a:gd name="connsiteX3" fmla="*/ 0 w 319855"/>
                      <a:gd name="connsiteY3" fmla="*/ 298720 h 298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9855" h="298719">
                        <a:moveTo>
                          <a:pt x="0" y="0"/>
                        </a:moveTo>
                        <a:lnTo>
                          <a:pt x="319856" y="0"/>
                        </a:lnTo>
                        <a:lnTo>
                          <a:pt x="319856" y="298720"/>
                        </a:lnTo>
                        <a:lnTo>
                          <a:pt x="0" y="298720"/>
                        </a:lnTo>
                        <a:close/>
                      </a:path>
                    </a:pathLst>
                  </a:custGeom>
                  <a:solidFill>
                    <a:srgbClr val="E8505B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0" name="Freeform: Shape 959">
                    <a:extLst>
                      <a:ext uri="{FF2B5EF4-FFF2-40B4-BE49-F238E27FC236}">
                        <a16:creationId xmlns:a16="http://schemas.microsoft.com/office/drawing/2014/main" id="{A6DBAB82-84D2-4AF4-8F2A-182BF68D6D00}"/>
                      </a:ext>
                    </a:extLst>
                  </p:cNvPr>
                  <p:cNvSpPr/>
                  <p:nvPr/>
                </p:nvSpPr>
                <p:spPr>
                  <a:xfrm>
                    <a:off x="7002432" y="-401737"/>
                    <a:ext cx="319855" cy="298719"/>
                  </a:xfrm>
                  <a:custGeom>
                    <a:avLst/>
                    <a:gdLst>
                      <a:gd name="connsiteX0" fmla="*/ 0 w 319855"/>
                      <a:gd name="connsiteY0" fmla="*/ 0 h 298719"/>
                      <a:gd name="connsiteX1" fmla="*/ 319856 w 319855"/>
                      <a:gd name="connsiteY1" fmla="*/ 0 h 298719"/>
                      <a:gd name="connsiteX2" fmla="*/ 319856 w 319855"/>
                      <a:gd name="connsiteY2" fmla="*/ 298720 h 298719"/>
                      <a:gd name="connsiteX3" fmla="*/ 0 w 319855"/>
                      <a:gd name="connsiteY3" fmla="*/ 298720 h 298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9855" h="298719">
                        <a:moveTo>
                          <a:pt x="0" y="0"/>
                        </a:moveTo>
                        <a:lnTo>
                          <a:pt x="319856" y="0"/>
                        </a:lnTo>
                        <a:lnTo>
                          <a:pt x="319856" y="298720"/>
                        </a:lnTo>
                        <a:lnTo>
                          <a:pt x="0" y="298720"/>
                        </a:lnTo>
                        <a:close/>
                      </a:path>
                    </a:pathLst>
                  </a:custGeom>
                  <a:solidFill>
                    <a:srgbClr val="0D616C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61" name="Freeform: Shape 960">
                    <a:extLst>
                      <a:ext uri="{FF2B5EF4-FFF2-40B4-BE49-F238E27FC236}">
                        <a16:creationId xmlns:a16="http://schemas.microsoft.com/office/drawing/2014/main" id="{BFBD3F15-65F0-4DAD-B7A1-7DFDA917F87E}"/>
                      </a:ext>
                    </a:extLst>
                  </p:cNvPr>
                  <p:cNvSpPr/>
                  <p:nvPr/>
                </p:nvSpPr>
                <p:spPr>
                  <a:xfrm>
                    <a:off x="6566727" y="-2148541"/>
                    <a:ext cx="1193734" cy="1598795"/>
                  </a:xfrm>
                  <a:custGeom>
                    <a:avLst/>
                    <a:gdLst>
                      <a:gd name="connsiteX0" fmla="*/ 70 w 1193734"/>
                      <a:gd name="connsiteY0" fmla="*/ 597509 h 1598795"/>
                      <a:gd name="connsiteX1" fmla="*/ 318767 w 1193734"/>
                      <a:gd name="connsiteY1" fmla="*/ 597509 h 1598795"/>
                      <a:gd name="connsiteX2" fmla="*/ 596847 w 1193734"/>
                      <a:gd name="connsiteY2" fmla="*/ 325113 h 1598795"/>
                      <a:gd name="connsiteX3" fmla="*/ 846562 w 1193734"/>
                      <a:gd name="connsiteY3" fmla="*/ 489731 h 1598795"/>
                      <a:gd name="connsiteX4" fmla="*/ 823880 w 1193734"/>
                      <a:gd name="connsiteY4" fmla="*/ 747889 h 1598795"/>
                      <a:gd name="connsiteX5" fmla="*/ 438630 w 1193734"/>
                      <a:gd name="connsiteY5" fmla="*/ 888723 h 1598795"/>
                      <a:gd name="connsiteX6" fmla="*/ 436588 w 1193734"/>
                      <a:gd name="connsiteY6" fmla="*/ 1598796 h 1598795"/>
                      <a:gd name="connsiteX7" fmla="*/ 751753 w 1193734"/>
                      <a:gd name="connsiteY7" fmla="*/ 1598796 h 1598795"/>
                      <a:gd name="connsiteX8" fmla="*/ 751753 w 1193734"/>
                      <a:gd name="connsiteY8" fmla="*/ 1177840 h 1598795"/>
                      <a:gd name="connsiteX9" fmla="*/ 1193734 w 1193734"/>
                      <a:gd name="connsiteY9" fmla="*/ 576483 h 1598795"/>
                      <a:gd name="connsiteX10" fmla="*/ 614286 w 1193734"/>
                      <a:gd name="connsiteY10" fmla="*/ 3270 h 1598795"/>
                      <a:gd name="connsiteX11" fmla="*/ 321305 w 1193734"/>
                      <a:gd name="connsiteY11" fmla="*/ 14638 h 1598795"/>
                      <a:gd name="connsiteX12" fmla="*/ 70 w 1193734"/>
                      <a:gd name="connsiteY12" fmla="*/ 597509 h 1598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93734" h="1598795">
                        <a:moveTo>
                          <a:pt x="70" y="597509"/>
                        </a:moveTo>
                        <a:lnTo>
                          <a:pt x="318767" y="597509"/>
                        </a:lnTo>
                        <a:cubicBezTo>
                          <a:pt x="318767" y="597509"/>
                          <a:pt x="318767" y="329914"/>
                          <a:pt x="596847" y="325113"/>
                        </a:cubicBezTo>
                        <a:cubicBezTo>
                          <a:pt x="741268" y="322629"/>
                          <a:pt x="816155" y="417217"/>
                          <a:pt x="846562" y="489731"/>
                        </a:cubicBezTo>
                        <a:cubicBezTo>
                          <a:pt x="881880" y="573889"/>
                          <a:pt x="871175" y="669802"/>
                          <a:pt x="823880" y="747889"/>
                        </a:cubicBezTo>
                        <a:cubicBezTo>
                          <a:pt x="769799" y="837014"/>
                          <a:pt x="653412" y="926580"/>
                          <a:pt x="438630" y="888723"/>
                        </a:cubicBezTo>
                        <a:lnTo>
                          <a:pt x="436588" y="1598796"/>
                        </a:lnTo>
                        <a:lnTo>
                          <a:pt x="751753" y="1598796"/>
                        </a:lnTo>
                        <a:lnTo>
                          <a:pt x="751753" y="1177840"/>
                        </a:lnTo>
                        <a:cubicBezTo>
                          <a:pt x="751753" y="1177840"/>
                          <a:pt x="1193734" y="1063606"/>
                          <a:pt x="1193734" y="576483"/>
                        </a:cubicBezTo>
                        <a:cubicBezTo>
                          <a:pt x="1193734" y="110441"/>
                          <a:pt x="816872" y="9782"/>
                          <a:pt x="614286" y="3270"/>
                        </a:cubicBezTo>
                        <a:cubicBezTo>
                          <a:pt x="501597" y="-317"/>
                          <a:pt x="460704" y="-5173"/>
                          <a:pt x="321305" y="14638"/>
                        </a:cubicBezTo>
                        <a:cubicBezTo>
                          <a:pt x="143718" y="39858"/>
                          <a:pt x="-3683" y="246142"/>
                          <a:pt x="70" y="597509"/>
                        </a:cubicBezTo>
                        <a:close/>
                      </a:path>
                    </a:pathLst>
                  </a:custGeom>
                  <a:solidFill>
                    <a:srgbClr val="0D616C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53" name="Graphic 179">
                  <a:extLst>
                    <a:ext uri="{FF2B5EF4-FFF2-40B4-BE49-F238E27FC236}">
                      <a16:creationId xmlns:a16="http://schemas.microsoft.com/office/drawing/2014/main" id="{26DD7F55-B597-4447-8897-4E13DF46ABF3}"/>
                    </a:ext>
                  </a:extLst>
                </p:cNvPr>
                <p:cNvGrpSpPr/>
                <p:nvPr/>
              </p:nvGrpSpPr>
              <p:grpSpPr>
                <a:xfrm>
                  <a:off x="6434680" y="-2146319"/>
                  <a:ext cx="1193721" cy="2043301"/>
                  <a:chOff x="6434680" y="-2146319"/>
                  <a:chExt cx="1193721" cy="2043301"/>
                </a:xfrm>
              </p:grpSpPr>
              <p:sp>
                <p:nvSpPr>
                  <p:cNvPr id="954" name="Freeform: Shape 953">
                    <a:extLst>
                      <a:ext uri="{FF2B5EF4-FFF2-40B4-BE49-F238E27FC236}">
                        <a16:creationId xmlns:a16="http://schemas.microsoft.com/office/drawing/2014/main" id="{6CA02364-41DA-452B-835A-1B480CDDDB1D}"/>
                      </a:ext>
                    </a:extLst>
                  </p:cNvPr>
                  <p:cNvSpPr/>
                  <p:nvPr/>
                </p:nvSpPr>
                <p:spPr>
                  <a:xfrm>
                    <a:off x="6434680" y="-2146319"/>
                    <a:ext cx="1193721" cy="1596574"/>
                  </a:xfrm>
                  <a:custGeom>
                    <a:avLst/>
                    <a:gdLst>
                      <a:gd name="connsiteX0" fmla="*/ 58 w 1193721"/>
                      <a:gd name="connsiteY0" fmla="*/ 595287 h 1596574"/>
                      <a:gd name="connsiteX1" fmla="*/ 318754 w 1193721"/>
                      <a:gd name="connsiteY1" fmla="*/ 595287 h 1596574"/>
                      <a:gd name="connsiteX2" fmla="*/ 596835 w 1193721"/>
                      <a:gd name="connsiteY2" fmla="*/ 322891 h 1596574"/>
                      <a:gd name="connsiteX3" fmla="*/ 846549 w 1193721"/>
                      <a:gd name="connsiteY3" fmla="*/ 487509 h 1596574"/>
                      <a:gd name="connsiteX4" fmla="*/ 823868 w 1193721"/>
                      <a:gd name="connsiteY4" fmla="*/ 745668 h 1596574"/>
                      <a:gd name="connsiteX5" fmla="*/ 436576 w 1193721"/>
                      <a:gd name="connsiteY5" fmla="*/ 877947 h 1596574"/>
                      <a:gd name="connsiteX6" fmla="*/ 436576 w 1193721"/>
                      <a:gd name="connsiteY6" fmla="*/ 1596574 h 1596574"/>
                      <a:gd name="connsiteX7" fmla="*/ 751741 w 1193721"/>
                      <a:gd name="connsiteY7" fmla="*/ 1596574 h 1596574"/>
                      <a:gd name="connsiteX8" fmla="*/ 751741 w 1193721"/>
                      <a:gd name="connsiteY8" fmla="*/ 1175619 h 1596574"/>
                      <a:gd name="connsiteX9" fmla="*/ 1193722 w 1193721"/>
                      <a:gd name="connsiteY9" fmla="*/ 574261 h 1596574"/>
                      <a:gd name="connsiteX10" fmla="*/ 596890 w 1193721"/>
                      <a:gd name="connsiteY10" fmla="*/ 0 h 1596574"/>
                      <a:gd name="connsiteX11" fmla="*/ 58 w 1193721"/>
                      <a:gd name="connsiteY11" fmla="*/ 595287 h 1596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193721" h="1596574">
                        <a:moveTo>
                          <a:pt x="58" y="595287"/>
                        </a:moveTo>
                        <a:lnTo>
                          <a:pt x="318754" y="595287"/>
                        </a:lnTo>
                        <a:cubicBezTo>
                          <a:pt x="318754" y="595287"/>
                          <a:pt x="318754" y="327692"/>
                          <a:pt x="596835" y="322891"/>
                        </a:cubicBezTo>
                        <a:cubicBezTo>
                          <a:pt x="741255" y="320408"/>
                          <a:pt x="816142" y="414996"/>
                          <a:pt x="846549" y="487509"/>
                        </a:cubicBezTo>
                        <a:cubicBezTo>
                          <a:pt x="881868" y="571667"/>
                          <a:pt x="871162" y="667580"/>
                          <a:pt x="823868" y="745668"/>
                        </a:cubicBezTo>
                        <a:cubicBezTo>
                          <a:pt x="769786" y="834792"/>
                          <a:pt x="651358" y="915805"/>
                          <a:pt x="436576" y="877947"/>
                        </a:cubicBezTo>
                        <a:lnTo>
                          <a:pt x="436576" y="1596574"/>
                        </a:lnTo>
                        <a:lnTo>
                          <a:pt x="751741" y="1596574"/>
                        </a:lnTo>
                        <a:lnTo>
                          <a:pt x="751741" y="1175619"/>
                        </a:lnTo>
                        <a:cubicBezTo>
                          <a:pt x="751741" y="1175619"/>
                          <a:pt x="1193722" y="1061384"/>
                          <a:pt x="1193722" y="574261"/>
                        </a:cubicBezTo>
                        <a:cubicBezTo>
                          <a:pt x="1193722" y="108219"/>
                          <a:pt x="775801" y="-55"/>
                          <a:pt x="596890" y="0"/>
                        </a:cubicBezTo>
                        <a:cubicBezTo>
                          <a:pt x="460140" y="0"/>
                          <a:pt x="-5958" y="33056"/>
                          <a:pt x="58" y="595287"/>
                        </a:cubicBezTo>
                        <a:close/>
                      </a:path>
                    </a:pathLst>
                  </a:custGeom>
                  <a:solidFill>
                    <a:srgbClr val="E8505B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5" name="Freeform: Shape 954">
                    <a:extLst>
                      <a:ext uri="{FF2B5EF4-FFF2-40B4-BE49-F238E27FC236}">
                        <a16:creationId xmlns:a16="http://schemas.microsoft.com/office/drawing/2014/main" id="{70023D1C-F860-475C-80AE-B358004937E4}"/>
                      </a:ext>
                    </a:extLst>
                  </p:cNvPr>
                  <p:cNvSpPr/>
                  <p:nvPr/>
                </p:nvSpPr>
                <p:spPr>
                  <a:xfrm>
                    <a:off x="6434680" y="-2146319"/>
                    <a:ext cx="1193721" cy="1596574"/>
                  </a:xfrm>
                  <a:custGeom>
                    <a:avLst/>
                    <a:gdLst>
                      <a:gd name="connsiteX0" fmla="*/ 58 w 1193721"/>
                      <a:gd name="connsiteY0" fmla="*/ 595287 h 1596574"/>
                      <a:gd name="connsiteX1" fmla="*/ 318754 w 1193721"/>
                      <a:gd name="connsiteY1" fmla="*/ 595287 h 1596574"/>
                      <a:gd name="connsiteX2" fmla="*/ 596835 w 1193721"/>
                      <a:gd name="connsiteY2" fmla="*/ 322891 h 1596574"/>
                      <a:gd name="connsiteX3" fmla="*/ 846549 w 1193721"/>
                      <a:gd name="connsiteY3" fmla="*/ 487509 h 1596574"/>
                      <a:gd name="connsiteX4" fmla="*/ 823868 w 1193721"/>
                      <a:gd name="connsiteY4" fmla="*/ 745668 h 1596574"/>
                      <a:gd name="connsiteX5" fmla="*/ 436576 w 1193721"/>
                      <a:gd name="connsiteY5" fmla="*/ 877947 h 1596574"/>
                      <a:gd name="connsiteX6" fmla="*/ 436576 w 1193721"/>
                      <a:gd name="connsiteY6" fmla="*/ 1596574 h 1596574"/>
                      <a:gd name="connsiteX7" fmla="*/ 751741 w 1193721"/>
                      <a:gd name="connsiteY7" fmla="*/ 1596574 h 1596574"/>
                      <a:gd name="connsiteX8" fmla="*/ 751741 w 1193721"/>
                      <a:gd name="connsiteY8" fmla="*/ 1175619 h 1596574"/>
                      <a:gd name="connsiteX9" fmla="*/ 1193722 w 1193721"/>
                      <a:gd name="connsiteY9" fmla="*/ 574261 h 1596574"/>
                      <a:gd name="connsiteX10" fmla="*/ 596890 w 1193721"/>
                      <a:gd name="connsiteY10" fmla="*/ 0 h 1596574"/>
                      <a:gd name="connsiteX11" fmla="*/ 58 w 1193721"/>
                      <a:gd name="connsiteY11" fmla="*/ 595287 h 15965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193721" h="1596574">
                        <a:moveTo>
                          <a:pt x="58" y="595287"/>
                        </a:moveTo>
                        <a:lnTo>
                          <a:pt x="318754" y="595287"/>
                        </a:lnTo>
                        <a:cubicBezTo>
                          <a:pt x="318754" y="595287"/>
                          <a:pt x="318754" y="327692"/>
                          <a:pt x="596835" y="322891"/>
                        </a:cubicBezTo>
                        <a:cubicBezTo>
                          <a:pt x="741255" y="320408"/>
                          <a:pt x="816142" y="414996"/>
                          <a:pt x="846549" y="487509"/>
                        </a:cubicBezTo>
                        <a:cubicBezTo>
                          <a:pt x="881868" y="571667"/>
                          <a:pt x="871162" y="667580"/>
                          <a:pt x="823868" y="745668"/>
                        </a:cubicBezTo>
                        <a:cubicBezTo>
                          <a:pt x="769786" y="834792"/>
                          <a:pt x="651358" y="915805"/>
                          <a:pt x="436576" y="877947"/>
                        </a:cubicBezTo>
                        <a:lnTo>
                          <a:pt x="436576" y="1596574"/>
                        </a:lnTo>
                        <a:lnTo>
                          <a:pt x="751741" y="1596574"/>
                        </a:lnTo>
                        <a:lnTo>
                          <a:pt x="751741" y="1175619"/>
                        </a:lnTo>
                        <a:cubicBezTo>
                          <a:pt x="751741" y="1175619"/>
                          <a:pt x="1193722" y="1061384"/>
                          <a:pt x="1193722" y="574261"/>
                        </a:cubicBezTo>
                        <a:cubicBezTo>
                          <a:pt x="1193722" y="108219"/>
                          <a:pt x="775801" y="-55"/>
                          <a:pt x="596890" y="0"/>
                        </a:cubicBezTo>
                        <a:cubicBezTo>
                          <a:pt x="460140" y="0"/>
                          <a:pt x="-5958" y="33056"/>
                          <a:pt x="58" y="595287"/>
                        </a:cubicBezTo>
                        <a:close/>
                      </a:path>
                    </a:pathLst>
                  </a:custGeom>
                  <a:solidFill>
                    <a:srgbClr val="002E35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6" name="Freeform: Shape 955">
                    <a:extLst>
                      <a:ext uri="{FF2B5EF4-FFF2-40B4-BE49-F238E27FC236}">
                        <a16:creationId xmlns:a16="http://schemas.microsoft.com/office/drawing/2014/main" id="{F81E0ACB-29F7-4660-86CF-2627F0095483}"/>
                      </a:ext>
                    </a:extLst>
                  </p:cNvPr>
                  <p:cNvSpPr/>
                  <p:nvPr/>
                </p:nvSpPr>
                <p:spPr>
                  <a:xfrm>
                    <a:off x="6870428" y="-401737"/>
                    <a:ext cx="319855" cy="298719"/>
                  </a:xfrm>
                  <a:custGeom>
                    <a:avLst/>
                    <a:gdLst>
                      <a:gd name="connsiteX0" fmla="*/ 0 w 319855"/>
                      <a:gd name="connsiteY0" fmla="*/ 0 h 298719"/>
                      <a:gd name="connsiteX1" fmla="*/ 319856 w 319855"/>
                      <a:gd name="connsiteY1" fmla="*/ 0 h 298719"/>
                      <a:gd name="connsiteX2" fmla="*/ 319856 w 319855"/>
                      <a:gd name="connsiteY2" fmla="*/ 298720 h 298719"/>
                      <a:gd name="connsiteX3" fmla="*/ 0 w 319855"/>
                      <a:gd name="connsiteY3" fmla="*/ 298720 h 298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9855" h="298719">
                        <a:moveTo>
                          <a:pt x="0" y="0"/>
                        </a:moveTo>
                        <a:lnTo>
                          <a:pt x="319856" y="0"/>
                        </a:lnTo>
                        <a:lnTo>
                          <a:pt x="319856" y="298720"/>
                        </a:lnTo>
                        <a:lnTo>
                          <a:pt x="0" y="298720"/>
                        </a:lnTo>
                        <a:close/>
                      </a:path>
                    </a:pathLst>
                  </a:custGeom>
                  <a:solidFill>
                    <a:srgbClr val="E8505B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7" name="Freeform: Shape 956">
                    <a:extLst>
                      <a:ext uri="{FF2B5EF4-FFF2-40B4-BE49-F238E27FC236}">
                        <a16:creationId xmlns:a16="http://schemas.microsoft.com/office/drawing/2014/main" id="{D0848BF5-B9EB-40DB-AD07-9AA7F77AE3AB}"/>
                      </a:ext>
                    </a:extLst>
                  </p:cNvPr>
                  <p:cNvSpPr/>
                  <p:nvPr/>
                </p:nvSpPr>
                <p:spPr>
                  <a:xfrm>
                    <a:off x="6870428" y="-401737"/>
                    <a:ext cx="319855" cy="298719"/>
                  </a:xfrm>
                  <a:custGeom>
                    <a:avLst/>
                    <a:gdLst>
                      <a:gd name="connsiteX0" fmla="*/ 0 w 319855"/>
                      <a:gd name="connsiteY0" fmla="*/ 0 h 298719"/>
                      <a:gd name="connsiteX1" fmla="*/ 319856 w 319855"/>
                      <a:gd name="connsiteY1" fmla="*/ 0 h 298719"/>
                      <a:gd name="connsiteX2" fmla="*/ 319856 w 319855"/>
                      <a:gd name="connsiteY2" fmla="*/ 298720 h 298719"/>
                      <a:gd name="connsiteX3" fmla="*/ 0 w 319855"/>
                      <a:gd name="connsiteY3" fmla="*/ 298720 h 298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19855" h="298719">
                        <a:moveTo>
                          <a:pt x="0" y="0"/>
                        </a:moveTo>
                        <a:lnTo>
                          <a:pt x="319856" y="0"/>
                        </a:lnTo>
                        <a:lnTo>
                          <a:pt x="319856" y="298720"/>
                        </a:lnTo>
                        <a:lnTo>
                          <a:pt x="0" y="298720"/>
                        </a:lnTo>
                        <a:close/>
                      </a:path>
                    </a:pathLst>
                  </a:custGeom>
                  <a:solidFill>
                    <a:srgbClr val="002E35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947" name="Freeform: Shape 946">
                <a:extLst>
                  <a:ext uri="{FF2B5EF4-FFF2-40B4-BE49-F238E27FC236}">
                    <a16:creationId xmlns:a16="http://schemas.microsoft.com/office/drawing/2014/main" id="{6B29BEB2-7B62-4631-AF61-0CCC6652E043}"/>
                  </a:ext>
                </a:extLst>
              </p:cNvPr>
              <p:cNvSpPr/>
              <p:nvPr/>
            </p:nvSpPr>
            <p:spPr>
              <a:xfrm>
                <a:off x="6751613" y="-1825238"/>
                <a:ext cx="315938" cy="269956"/>
              </a:xfrm>
              <a:custGeom>
                <a:avLst/>
                <a:gdLst>
                  <a:gd name="connsiteX0" fmla="*/ 315937 w 315938"/>
                  <a:gd name="connsiteY0" fmla="*/ 3300 h 269956"/>
                  <a:gd name="connsiteX1" fmla="*/ 311191 w 315938"/>
                  <a:gd name="connsiteY1" fmla="*/ 3024 h 269956"/>
                  <a:gd name="connsiteX2" fmla="*/ 297616 w 315938"/>
                  <a:gd name="connsiteY2" fmla="*/ 1920 h 269956"/>
                  <a:gd name="connsiteX3" fmla="*/ 247618 w 315938"/>
                  <a:gd name="connsiteY3" fmla="*/ 4017 h 269956"/>
                  <a:gd name="connsiteX4" fmla="*/ 175490 w 315938"/>
                  <a:gd name="connsiteY4" fmla="*/ 20959 h 269956"/>
                  <a:gd name="connsiteX5" fmla="*/ 135315 w 315938"/>
                  <a:gd name="connsiteY5" fmla="*/ 38232 h 269956"/>
                  <a:gd name="connsiteX6" fmla="*/ 96023 w 315938"/>
                  <a:gd name="connsiteY6" fmla="*/ 63673 h 269956"/>
                  <a:gd name="connsiteX7" fmla="*/ 63850 w 315938"/>
                  <a:gd name="connsiteY7" fmla="*/ 97667 h 269956"/>
                  <a:gd name="connsiteX8" fmla="*/ 39734 w 315938"/>
                  <a:gd name="connsiteY8" fmla="*/ 134200 h 269956"/>
                  <a:gd name="connsiteX9" fmla="*/ 11203 w 315938"/>
                  <a:gd name="connsiteY9" fmla="*/ 202575 h 269956"/>
                  <a:gd name="connsiteX10" fmla="*/ 1600 w 315938"/>
                  <a:gd name="connsiteY10" fmla="*/ 251635 h 269956"/>
                  <a:gd name="connsiteX11" fmla="*/ 607 w 315938"/>
                  <a:gd name="connsiteY11" fmla="*/ 265211 h 269956"/>
                  <a:gd name="connsiteX12" fmla="*/ 166 w 315938"/>
                  <a:gd name="connsiteY12" fmla="*/ 269957 h 269956"/>
                  <a:gd name="connsiteX13" fmla="*/ 0 w 315938"/>
                  <a:gd name="connsiteY13" fmla="*/ 265211 h 269956"/>
                  <a:gd name="connsiteX14" fmla="*/ 497 w 315938"/>
                  <a:gd name="connsiteY14" fmla="*/ 251525 h 269956"/>
                  <a:gd name="connsiteX15" fmla="*/ 9216 w 315938"/>
                  <a:gd name="connsiteY15" fmla="*/ 201968 h 269956"/>
                  <a:gd name="connsiteX16" fmla="*/ 37416 w 315938"/>
                  <a:gd name="connsiteY16" fmla="*/ 132876 h 269956"/>
                  <a:gd name="connsiteX17" fmla="*/ 61587 w 315938"/>
                  <a:gd name="connsiteY17" fmla="*/ 95901 h 269956"/>
                  <a:gd name="connsiteX18" fmla="*/ 94147 w 315938"/>
                  <a:gd name="connsiteY18" fmla="*/ 61410 h 269956"/>
                  <a:gd name="connsiteX19" fmla="*/ 133991 w 315938"/>
                  <a:gd name="connsiteY19" fmla="*/ 35694 h 269956"/>
                  <a:gd name="connsiteX20" fmla="*/ 174607 w 315938"/>
                  <a:gd name="connsiteY20" fmla="*/ 18421 h 269956"/>
                  <a:gd name="connsiteX21" fmla="*/ 247397 w 315938"/>
                  <a:gd name="connsiteY21" fmla="*/ 1920 h 269956"/>
                  <a:gd name="connsiteX22" fmla="*/ 297671 w 315938"/>
                  <a:gd name="connsiteY22" fmla="*/ 761 h 269956"/>
                  <a:gd name="connsiteX23" fmla="*/ 311247 w 315938"/>
                  <a:gd name="connsiteY23" fmla="*/ 2417 h 269956"/>
                  <a:gd name="connsiteX24" fmla="*/ 315937 w 315938"/>
                  <a:gd name="connsiteY24" fmla="*/ 3300 h 26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15938" h="269956">
                    <a:moveTo>
                      <a:pt x="315937" y="3300"/>
                    </a:moveTo>
                    <a:cubicBezTo>
                      <a:pt x="315937" y="3410"/>
                      <a:pt x="314282" y="3300"/>
                      <a:pt x="311191" y="3024"/>
                    </a:cubicBezTo>
                    <a:cubicBezTo>
                      <a:pt x="308046" y="2858"/>
                      <a:pt x="303521" y="1975"/>
                      <a:pt x="297616" y="1920"/>
                    </a:cubicBezTo>
                    <a:cubicBezTo>
                      <a:pt x="285806" y="1148"/>
                      <a:pt x="268643" y="1423"/>
                      <a:pt x="247618" y="4017"/>
                    </a:cubicBezTo>
                    <a:cubicBezTo>
                      <a:pt x="226647" y="6666"/>
                      <a:pt x="201869" y="11854"/>
                      <a:pt x="175490" y="20959"/>
                    </a:cubicBezTo>
                    <a:cubicBezTo>
                      <a:pt x="162356" y="25705"/>
                      <a:pt x="148725" y="31113"/>
                      <a:pt x="135315" y="38232"/>
                    </a:cubicBezTo>
                    <a:cubicBezTo>
                      <a:pt x="121795" y="45075"/>
                      <a:pt x="108384" y="53464"/>
                      <a:pt x="96023" y="63673"/>
                    </a:cubicBezTo>
                    <a:cubicBezTo>
                      <a:pt x="83551" y="73772"/>
                      <a:pt x="73011" y="85581"/>
                      <a:pt x="63850" y="97667"/>
                    </a:cubicBezTo>
                    <a:cubicBezTo>
                      <a:pt x="54634" y="109753"/>
                      <a:pt x="46632" y="122059"/>
                      <a:pt x="39734" y="134200"/>
                    </a:cubicBezTo>
                    <a:cubicBezTo>
                      <a:pt x="26158" y="158647"/>
                      <a:pt x="16942" y="182211"/>
                      <a:pt x="11203" y="202575"/>
                    </a:cubicBezTo>
                    <a:cubicBezTo>
                      <a:pt x="5353" y="222883"/>
                      <a:pt x="2759" y="239880"/>
                      <a:pt x="1600" y="251635"/>
                    </a:cubicBezTo>
                    <a:cubicBezTo>
                      <a:pt x="938" y="257540"/>
                      <a:pt x="717" y="262120"/>
                      <a:pt x="607" y="265211"/>
                    </a:cubicBezTo>
                    <a:cubicBezTo>
                      <a:pt x="441" y="268301"/>
                      <a:pt x="276" y="269957"/>
                      <a:pt x="166" y="269957"/>
                    </a:cubicBezTo>
                    <a:cubicBezTo>
                      <a:pt x="55" y="269957"/>
                      <a:pt x="0" y="268301"/>
                      <a:pt x="0" y="265211"/>
                    </a:cubicBezTo>
                    <a:cubicBezTo>
                      <a:pt x="0" y="262065"/>
                      <a:pt x="0" y="257485"/>
                      <a:pt x="497" y="251525"/>
                    </a:cubicBezTo>
                    <a:cubicBezTo>
                      <a:pt x="1324" y="239660"/>
                      <a:pt x="3587" y="222497"/>
                      <a:pt x="9216" y="201968"/>
                    </a:cubicBezTo>
                    <a:cubicBezTo>
                      <a:pt x="14735" y="181439"/>
                      <a:pt x="23840" y="157599"/>
                      <a:pt x="37416" y="132876"/>
                    </a:cubicBezTo>
                    <a:cubicBezTo>
                      <a:pt x="44314" y="120624"/>
                      <a:pt x="52316" y="108152"/>
                      <a:pt x="61587" y="95901"/>
                    </a:cubicBezTo>
                    <a:cubicBezTo>
                      <a:pt x="70803" y="83705"/>
                      <a:pt x="81454" y="71675"/>
                      <a:pt x="94147" y="61410"/>
                    </a:cubicBezTo>
                    <a:cubicBezTo>
                      <a:pt x="106729" y="51035"/>
                      <a:pt x="120305" y="42592"/>
                      <a:pt x="133991" y="35694"/>
                    </a:cubicBezTo>
                    <a:cubicBezTo>
                      <a:pt x="147566" y="28520"/>
                      <a:pt x="161363" y="23111"/>
                      <a:pt x="174607" y="18421"/>
                    </a:cubicBezTo>
                    <a:cubicBezTo>
                      <a:pt x="201262" y="9315"/>
                      <a:pt x="226261" y="4293"/>
                      <a:pt x="247397" y="1920"/>
                    </a:cubicBezTo>
                    <a:cubicBezTo>
                      <a:pt x="268533" y="-398"/>
                      <a:pt x="285861" y="-398"/>
                      <a:pt x="297671" y="761"/>
                    </a:cubicBezTo>
                    <a:cubicBezTo>
                      <a:pt x="303631" y="982"/>
                      <a:pt x="308156" y="2086"/>
                      <a:pt x="311247" y="2417"/>
                    </a:cubicBezTo>
                    <a:cubicBezTo>
                      <a:pt x="314337" y="2913"/>
                      <a:pt x="315993" y="3245"/>
                      <a:pt x="315937" y="3300"/>
                    </a:cubicBezTo>
                    <a:close/>
                  </a:path>
                </a:pathLst>
              </a:custGeom>
              <a:solidFill>
                <a:srgbClr val="263238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8" name="Freeform: Shape 947">
                <a:extLst>
                  <a:ext uri="{FF2B5EF4-FFF2-40B4-BE49-F238E27FC236}">
                    <a16:creationId xmlns:a16="http://schemas.microsoft.com/office/drawing/2014/main" id="{8E086044-36D8-4E4E-A7BB-DFB006A7D1EA}"/>
                  </a:ext>
                </a:extLst>
              </p:cNvPr>
              <p:cNvSpPr/>
              <p:nvPr/>
            </p:nvSpPr>
            <p:spPr>
              <a:xfrm>
                <a:off x="7009716" y="-2146430"/>
                <a:ext cx="538066" cy="267594"/>
              </a:xfrm>
              <a:custGeom>
                <a:avLst/>
                <a:gdLst>
                  <a:gd name="connsiteX0" fmla="*/ 538059 w 538066"/>
                  <a:gd name="connsiteY0" fmla="*/ 267595 h 267594"/>
                  <a:gd name="connsiteX1" fmla="*/ 537011 w 538066"/>
                  <a:gd name="connsiteY1" fmla="*/ 266326 h 267594"/>
                  <a:gd name="connsiteX2" fmla="*/ 534196 w 538066"/>
                  <a:gd name="connsiteY2" fmla="*/ 262463 h 267594"/>
                  <a:gd name="connsiteX3" fmla="*/ 523711 w 538066"/>
                  <a:gd name="connsiteY3" fmla="*/ 247563 h 267594"/>
                  <a:gd name="connsiteX4" fmla="*/ 516096 w 538066"/>
                  <a:gd name="connsiteY4" fmla="*/ 236857 h 267594"/>
                  <a:gd name="connsiteX5" fmla="*/ 506162 w 538066"/>
                  <a:gd name="connsiteY5" fmla="*/ 224771 h 267594"/>
                  <a:gd name="connsiteX6" fmla="*/ 494739 w 538066"/>
                  <a:gd name="connsiteY6" fmla="*/ 210864 h 267594"/>
                  <a:gd name="connsiteX7" fmla="*/ 480942 w 538066"/>
                  <a:gd name="connsiteY7" fmla="*/ 196185 h 267594"/>
                  <a:gd name="connsiteX8" fmla="*/ 465490 w 538066"/>
                  <a:gd name="connsiteY8" fmla="*/ 180291 h 267594"/>
                  <a:gd name="connsiteX9" fmla="*/ 447665 w 538066"/>
                  <a:gd name="connsiteY9" fmla="*/ 164177 h 267594"/>
                  <a:gd name="connsiteX10" fmla="*/ 438229 w 538066"/>
                  <a:gd name="connsiteY10" fmla="*/ 155734 h 267594"/>
                  <a:gd name="connsiteX11" fmla="*/ 427964 w 538066"/>
                  <a:gd name="connsiteY11" fmla="*/ 147621 h 267594"/>
                  <a:gd name="connsiteX12" fmla="*/ 406442 w 538066"/>
                  <a:gd name="connsiteY12" fmla="*/ 130900 h 267594"/>
                  <a:gd name="connsiteX13" fmla="*/ 302031 w 538066"/>
                  <a:gd name="connsiteY13" fmla="*/ 69203 h 267594"/>
                  <a:gd name="connsiteX14" fmla="*/ 272948 w 538066"/>
                  <a:gd name="connsiteY14" fmla="*/ 56069 h 267594"/>
                  <a:gd name="connsiteX15" fmla="*/ 244031 w 538066"/>
                  <a:gd name="connsiteY15" fmla="*/ 44866 h 267594"/>
                  <a:gd name="connsiteX16" fmla="*/ 215776 w 538066"/>
                  <a:gd name="connsiteY16" fmla="*/ 35153 h 267594"/>
                  <a:gd name="connsiteX17" fmla="*/ 188348 w 538066"/>
                  <a:gd name="connsiteY17" fmla="*/ 26765 h 267594"/>
                  <a:gd name="connsiteX18" fmla="*/ 161970 w 538066"/>
                  <a:gd name="connsiteY18" fmla="*/ 19812 h 267594"/>
                  <a:gd name="connsiteX19" fmla="*/ 136805 w 538066"/>
                  <a:gd name="connsiteY19" fmla="*/ 14459 h 267594"/>
                  <a:gd name="connsiteX20" fmla="*/ 113186 w 538066"/>
                  <a:gd name="connsiteY20" fmla="*/ 9933 h 267594"/>
                  <a:gd name="connsiteX21" fmla="*/ 91222 w 538066"/>
                  <a:gd name="connsiteY21" fmla="*/ 6733 h 267594"/>
                  <a:gd name="connsiteX22" fmla="*/ 53309 w 538066"/>
                  <a:gd name="connsiteY22" fmla="*/ 2759 h 267594"/>
                  <a:gd name="connsiteX23" fmla="*/ 37692 w 538066"/>
                  <a:gd name="connsiteY23" fmla="*/ 1490 h 267594"/>
                  <a:gd name="connsiteX24" fmla="*/ 24558 w 538066"/>
                  <a:gd name="connsiteY24" fmla="*/ 1159 h 267594"/>
                  <a:gd name="connsiteX25" fmla="*/ 6346 w 538066"/>
                  <a:gd name="connsiteY25" fmla="*/ 552 h 267594"/>
                  <a:gd name="connsiteX26" fmla="*/ 1600 w 538066"/>
                  <a:gd name="connsiteY26" fmla="*/ 331 h 267594"/>
                  <a:gd name="connsiteX27" fmla="*/ 0 w 538066"/>
                  <a:gd name="connsiteY27" fmla="*/ 166 h 267594"/>
                  <a:gd name="connsiteX28" fmla="*/ 1600 w 538066"/>
                  <a:gd name="connsiteY28" fmla="*/ 55 h 267594"/>
                  <a:gd name="connsiteX29" fmla="*/ 6346 w 538066"/>
                  <a:gd name="connsiteY29" fmla="*/ 0 h 267594"/>
                  <a:gd name="connsiteX30" fmla="*/ 24558 w 538066"/>
                  <a:gd name="connsiteY30" fmla="*/ 55 h 267594"/>
                  <a:gd name="connsiteX31" fmla="*/ 37747 w 538066"/>
                  <a:gd name="connsiteY31" fmla="*/ 166 h 267594"/>
                  <a:gd name="connsiteX32" fmla="*/ 53364 w 538066"/>
                  <a:gd name="connsiteY32" fmla="*/ 1214 h 267594"/>
                  <a:gd name="connsiteX33" fmla="*/ 91442 w 538066"/>
                  <a:gd name="connsiteY33" fmla="*/ 4801 h 267594"/>
                  <a:gd name="connsiteX34" fmla="*/ 113462 w 538066"/>
                  <a:gd name="connsiteY34" fmla="*/ 7781 h 267594"/>
                  <a:gd name="connsiteX35" fmla="*/ 137191 w 538066"/>
                  <a:gd name="connsiteY35" fmla="*/ 12141 h 267594"/>
                  <a:gd name="connsiteX36" fmla="*/ 162466 w 538066"/>
                  <a:gd name="connsiteY36" fmla="*/ 17383 h 267594"/>
                  <a:gd name="connsiteX37" fmla="*/ 189011 w 538066"/>
                  <a:gd name="connsiteY37" fmla="*/ 24226 h 267594"/>
                  <a:gd name="connsiteX38" fmla="*/ 216548 w 538066"/>
                  <a:gd name="connsiteY38" fmla="*/ 32560 h 267594"/>
                  <a:gd name="connsiteX39" fmla="*/ 244969 w 538066"/>
                  <a:gd name="connsiteY39" fmla="*/ 42272 h 267594"/>
                  <a:gd name="connsiteX40" fmla="*/ 273996 w 538066"/>
                  <a:gd name="connsiteY40" fmla="*/ 53475 h 267594"/>
                  <a:gd name="connsiteX41" fmla="*/ 303190 w 538066"/>
                  <a:gd name="connsiteY41" fmla="*/ 66664 h 267594"/>
                  <a:gd name="connsiteX42" fmla="*/ 407932 w 538066"/>
                  <a:gd name="connsiteY42" fmla="*/ 128803 h 267594"/>
                  <a:gd name="connsiteX43" fmla="*/ 429509 w 538066"/>
                  <a:gd name="connsiteY43" fmla="*/ 145690 h 267594"/>
                  <a:gd name="connsiteX44" fmla="*/ 439774 w 538066"/>
                  <a:gd name="connsiteY44" fmla="*/ 153857 h 267594"/>
                  <a:gd name="connsiteX45" fmla="*/ 449211 w 538066"/>
                  <a:gd name="connsiteY45" fmla="*/ 162356 h 267594"/>
                  <a:gd name="connsiteX46" fmla="*/ 466980 w 538066"/>
                  <a:gd name="connsiteY46" fmla="*/ 178636 h 267594"/>
                  <a:gd name="connsiteX47" fmla="*/ 482377 w 538066"/>
                  <a:gd name="connsiteY47" fmla="*/ 194695 h 267594"/>
                  <a:gd name="connsiteX48" fmla="*/ 496118 w 538066"/>
                  <a:gd name="connsiteY48" fmla="*/ 209540 h 267594"/>
                  <a:gd name="connsiteX49" fmla="*/ 507376 w 538066"/>
                  <a:gd name="connsiteY49" fmla="*/ 223612 h 267594"/>
                  <a:gd name="connsiteX50" fmla="*/ 517144 w 538066"/>
                  <a:gd name="connsiteY50" fmla="*/ 235863 h 267594"/>
                  <a:gd name="connsiteX51" fmla="*/ 524539 w 538066"/>
                  <a:gd name="connsiteY51" fmla="*/ 246790 h 267594"/>
                  <a:gd name="connsiteX52" fmla="*/ 534583 w 538066"/>
                  <a:gd name="connsiteY52" fmla="*/ 262021 h 267594"/>
                  <a:gd name="connsiteX53" fmla="*/ 537121 w 538066"/>
                  <a:gd name="connsiteY53" fmla="*/ 265995 h 267594"/>
                  <a:gd name="connsiteX54" fmla="*/ 538059 w 538066"/>
                  <a:gd name="connsiteY54" fmla="*/ 267595 h 26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538066" h="267594">
                    <a:moveTo>
                      <a:pt x="538059" y="267595"/>
                    </a:moveTo>
                    <a:cubicBezTo>
                      <a:pt x="538004" y="267595"/>
                      <a:pt x="537673" y="267209"/>
                      <a:pt x="537011" y="266326"/>
                    </a:cubicBezTo>
                    <a:cubicBezTo>
                      <a:pt x="536294" y="265332"/>
                      <a:pt x="535355" y="264063"/>
                      <a:pt x="534196" y="262463"/>
                    </a:cubicBezTo>
                    <a:cubicBezTo>
                      <a:pt x="531658" y="258876"/>
                      <a:pt x="528181" y="253909"/>
                      <a:pt x="523711" y="247563"/>
                    </a:cubicBezTo>
                    <a:cubicBezTo>
                      <a:pt x="521393" y="244362"/>
                      <a:pt x="519020" y="240664"/>
                      <a:pt x="516096" y="236857"/>
                    </a:cubicBezTo>
                    <a:cubicBezTo>
                      <a:pt x="513005" y="233159"/>
                      <a:pt x="509694" y="229131"/>
                      <a:pt x="506162" y="224771"/>
                    </a:cubicBezTo>
                    <a:cubicBezTo>
                      <a:pt x="502575" y="220411"/>
                      <a:pt x="498767" y="215776"/>
                      <a:pt x="494739" y="210864"/>
                    </a:cubicBezTo>
                    <a:cubicBezTo>
                      <a:pt x="490600" y="206063"/>
                      <a:pt x="485744" y="201372"/>
                      <a:pt x="480942" y="196185"/>
                    </a:cubicBezTo>
                    <a:cubicBezTo>
                      <a:pt x="475976" y="191163"/>
                      <a:pt x="471064" y="185589"/>
                      <a:pt x="465490" y="180291"/>
                    </a:cubicBezTo>
                    <a:cubicBezTo>
                      <a:pt x="459751" y="175104"/>
                      <a:pt x="453846" y="169751"/>
                      <a:pt x="447665" y="164177"/>
                    </a:cubicBezTo>
                    <a:cubicBezTo>
                      <a:pt x="444575" y="161418"/>
                      <a:pt x="441540" y="158493"/>
                      <a:pt x="438229" y="155734"/>
                    </a:cubicBezTo>
                    <a:cubicBezTo>
                      <a:pt x="434862" y="153085"/>
                      <a:pt x="431441" y="150381"/>
                      <a:pt x="427964" y="147621"/>
                    </a:cubicBezTo>
                    <a:cubicBezTo>
                      <a:pt x="420956" y="142213"/>
                      <a:pt x="414002" y="136364"/>
                      <a:pt x="406442" y="130900"/>
                    </a:cubicBezTo>
                    <a:cubicBezTo>
                      <a:pt x="376200" y="108992"/>
                      <a:pt x="340826" y="87911"/>
                      <a:pt x="302031" y="69203"/>
                    </a:cubicBezTo>
                    <a:cubicBezTo>
                      <a:pt x="292208" y="64788"/>
                      <a:pt x="282495" y="60373"/>
                      <a:pt x="272948" y="56069"/>
                    </a:cubicBezTo>
                    <a:cubicBezTo>
                      <a:pt x="263180" y="52261"/>
                      <a:pt x="253522" y="48508"/>
                      <a:pt x="244031" y="44866"/>
                    </a:cubicBezTo>
                    <a:cubicBezTo>
                      <a:pt x="234649" y="40948"/>
                      <a:pt x="225047" y="38188"/>
                      <a:pt x="215776" y="35153"/>
                    </a:cubicBezTo>
                    <a:cubicBezTo>
                      <a:pt x="206449" y="32284"/>
                      <a:pt x="197454" y="28917"/>
                      <a:pt x="188348" y="26765"/>
                    </a:cubicBezTo>
                    <a:cubicBezTo>
                      <a:pt x="179298" y="24392"/>
                      <a:pt x="170524" y="22074"/>
                      <a:pt x="161970" y="19812"/>
                    </a:cubicBezTo>
                    <a:cubicBezTo>
                      <a:pt x="153416" y="17549"/>
                      <a:pt x="144917" y="16225"/>
                      <a:pt x="136805" y="14459"/>
                    </a:cubicBezTo>
                    <a:cubicBezTo>
                      <a:pt x="128638" y="12913"/>
                      <a:pt x="120856" y="10927"/>
                      <a:pt x="113186" y="9933"/>
                    </a:cubicBezTo>
                    <a:cubicBezTo>
                      <a:pt x="105570" y="8830"/>
                      <a:pt x="98230" y="7781"/>
                      <a:pt x="91222" y="6733"/>
                    </a:cubicBezTo>
                    <a:cubicBezTo>
                      <a:pt x="77260" y="4360"/>
                      <a:pt x="64457" y="3863"/>
                      <a:pt x="53309" y="2759"/>
                    </a:cubicBezTo>
                    <a:cubicBezTo>
                      <a:pt x="47735" y="2318"/>
                      <a:pt x="42493" y="1711"/>
                      <a:pt x="37692" y="1490"/>
                    </a:cubicBezTo>
                    <a:cubicBezTo>
                      <a:pt x="32891" y="1380"/>
                      <a:pt x="28531" y="1269"/>
                      <a:pt x="24558" y="1159"/>
                    </a:cubicBezTo>
                    <a:cubicBezTo>
                      <a:pt x="16832" y="883"/>
                      <a:pt x="10706" y="717"/>
                      <a:pt x="6346" y="552"/>
                    </a:cubicBezTo>
                    <a:cubicBezTo>
                      <a:pt x="4415" y="441"/>
                      <a:pt x="2814" y="386"/>
                      <a:pt x="1600" y="331"/>
                    </a:cubicBezTo>
                    <a:cubicBezTo>
                      <a:pt x="552" y="276"/>
                      <a:pt x="0" y="221"/>
                      <a:pt x="0" y="166"/>
                    </a:cubicBezTo>
                    <a:cubicBezTo>
                      <a:pt x="0" y="110"/>
                      <a:pt x="552" y="55"/>
                      <a:pt x="1600" y="55"/>
                    </a:cubicBezTo>
                    <a:cubicBezTo>
                      <a:pt x="2814" y="55"/>
                      <a:pt x="4415" y="0"/>
                      <a:pt x="6346" y="0"/>
                    </a:cubicBezTo>
                    <a:cubicBezTo>
                      <a:pt x="10706" y="0"/>
                      <a:pt x="16832" y="0"/>
                      <a:pt x="24558" y="55"/>
                    </a:cubicBezTo>
                    <a:cubicBezTo>
                      <a:pt x="28531" y="110"/>
                      <a:pt x="32946" y="110"/>
                      <a:pt x="37747" y="166"/>
                    </a:cubicBezTo>
                    <a:cubicBezTo>
                      <a:pt x="42548" y="331"/>
                      <a:pt x="47791" y="828"/>
                      <a:pt x="53364" y="1214"/>
                    </a:cubicBezTo>
                    <a:cubicBezTo>
                      <a:pt x="64567" y="2207"/>
                      <a:pt x="77425" y="2539"/>
                      <a:pt x="91442" y="4801"/>
                    </a:cubicBezTo>
                    <a:cubicBezTo>
                      <a:pt x="98451" y="5739"/>
                      <a:pt x="105846" y="6733"/>
                      <a:pt x="113462" y="7781"/>
                    </a:cubicBezTo>
                    <a:cubicBezTo>
                      <a:pt x="121132" y="8664"/>
                      <a:pt x="128969" y="10651"/>
                      <a:pt x="137191" y="12141"/>
                    </a:cubicBezTo>
                    <a:cubicBezTo>
                      <a:pt x="145359" y="13852"/>
                      <a:pt x="153857" y="15176"/>
                      <a:pt x="162466" y="17383"/>
                    </a:cubicBezTo>
                    <a:cubicBezTo>
                      <a:pt x="171075" y="19591"/>
                      <a:pt x="179905" y="21909"/>
                      <a:pt x="189011" y="24226"/>
                    </a:cubicBezTo>
                    <a:cubicBezTo>
                      <a:pt x="198171" y="26324"/>
                      <a:pt x="207167" y="29635"/>
                      <a:pt x="216548" y="32560"/>
                    </a:cubicBezTo>
                    <a:cubicBezTo>
                      <a:pt x="225875" y="35595"/>
                      <a:pt x="235532" y="38354"/>
                      <a:pt x="244969" y="42272"/>
                    </a:cubicBezTo>
                    <a:cubicBezTo>
                      <a:pt x="254461" y="45970"/>
                      <a:pt x="264173" y="49667"/>
                      <a:pt x="273996" y="53475"/>
                    </a:cubicBezTo>
                    <a:cubicBezTo>
                      <a:pt x="283599" y="57835"/>
                      <a:pt x="293366" y="62194"/>
                      <a:pt x="303190" y="66664"/>
                    </a:cubicBezTo>
                    <a:cubicBezTo>
                      <a:pt x="342151" y="85427"/>
                      <a:pt x="377635" y="106674"/>
                      <a:pt x="407932" y="128803"/>
                    </a:cubicBezTo>
                    <a:cubicBezTo>
                      <a:pt x="415547" y="134267"/>
                      <a:pt x="422501" y="140227"/>
                      <a:pt x="429509" y="145690"/>
                    </a:cubicBezTo>
                    <a:cubicBezTo>
                      <a:pt x="432986" y="148449"/>
                      <a:pt x="436408" y="151209"/>
                      <a:pt x="439774" y="153857"/>
                    </a:cubicBezTo>
                    <a:cubicBezTo>
                      <a:pt x="443085" y="156617"/>
                      <a:pt x="446120" y="159597"/>
                      <a:pt x="449211" y="162356"/>
                    </a:cubicBezTo>
                    <a:cubicBezTo>
                      <a:pt x="455336" y="167985"/>
                      <a:pt x="461296" y="173448"/>
                      <a:pt x="466980" y="178636"/>
                    </a:cubicBezTo>
                    <a:cubicBezTo>
                      <a:pt x="472554" y="183989"/>
                      <a:pt x="477466" y="189618"/>
                      <a:pt x="482377" y="194695"/>
                    </a:cubicBezTo>
                    <a:cubicBezTo>
                      <a:pt x="487178" y="199882"/>
                      <a:pt x="491980" y="204683"/>
                      <a:pt x="496118" y="209540"/>
                    </a:cubicBezTo>
                    <a:cubicBezTo>
                      <a:pt x="500092" y="214506"/>
                      <a:pt x="503900" y="219197"/>
                      <a:pt x="507376" y="223612"/>
                    </a:cubicBezTo>
                    <a:cubicBezTo>
                      <a:pt x="510908" y="228027"/>
                      <a:pt x="514164" y="232111"/>
                      <a:pt x="517144" y="235863"/>
                    </a:cubicBezTo>
                    <a:cubicBezTo>
                      <a:pt x="519958" y="239781"/>
                      <a:pt x="522332" y="243479"/>
                      <a:pt x="524539" y="246790"/>
                    </a:cubicBezTo>
                    <a:cubicBezTo>
                      <a:pt x="528843" y="253247"/>
                      <a:pt x="532210" y="258379"/>
                      <a:pt x="534583" y="262021"/>
                    </a:cubicBezTo>
                    <a:cubicBezTo>
                      <a:pt x="535631" y="263677"/>
                      <a:pt x="536459" y="265001"/>
                      <a:pt x="537121" y="265995"/>
                    </a:cubicBezTo>
                    <a:cubicBezTo>
                      <a:pt x="537839" y="267098"/>
                      <a:pt x="538115" y="267595"/>
                      <a:pt x="538059" y="267595"/>
                    </a:cubicBezTo>
                    <a:close/>
                  </a:path>
                </a:pathLst>
              </a:custGeom>
              <a:solidFill>
                <a:srgbClr val="263238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9" name="Freeform: Shape 948">
                <a:extLst>
                  <a:ext uri="{FF2B5EF4-FFF2-40B4-BE49-F238E27FC236}">
                    <a16:creationId xmlns:a16="http://schemas.microsoft.com/office/drawing/2014/main" id="{346F22F6-60F8-4420-A47D-A9DE9A8A5275}"/>
                  </a:ext>
                </a:extLst>
              </p:cNvPr>
              <p:cNvSpPr/>
              <p:nvPr/>
            </p:nvSpPr>
            <p:spPr>
              <a:xfrm>
                <a:off x="7187633" y="-1194536"/>
                <a:ext cx="326923" cy="225453"/>
              </a:xfrm>
              <a:custGeom>
                <a:avLst/>
                <a:gdLst>
                  <a:gd name="connsiteX0" fmla="*/ 326921 w 326923"/>
                  <a:gd name="connsiteY0" fmla="*/ 2 h 225453"/>
                  <a:gd name="connsiteX1" fmla="*/ 324493 w 326923"/>
                  <a:gd name="connsiteY1" fmla="*/ 3313 h 225453"/>
                  <a:gd name="connsiteX2" fmla="*/ 317153 w 326923"/>
                  <a:gd name="connsiteY2" fmla="*/ 12474 h 225453"/>
                  <a:gd name="connsiteX3" fmla="*/ 305123 w 326923"/>
                  <a:gd name="connsiteY3" fmla="*/ 26602 h 225453"/>
                  <a:gd name="connsiteX4" fmla="*/ 288512 w 326923"/>
                  <a:gd name="connsiteY4" fmla="*/ 44758 h 225453"/>
                  <a:gd name="connsiteX5" fmla="*/ 267486 w 326923"/>
                  <a:gd name="connsiteY5" fmla="*/ 65894 h 225453"/>
                  <a:gd name="connsiteX6" fmla="*/ 242266 w 326923"/>
                  <a:gd name="connsiteY6" fmla="*/ 89072 h 225453"/>
                  <a:gd name="connsiteX7" fmla="*/ 180348 w 326923"/>
                  <a:gd name="connsiteY7" fmla="*/ 137193 h 225453"/>
                  <a:gd name="connsiteX8" fmla="*/ 113353 w 326923"/>
                  <a:gd name="connsiteY8" fmla="*/ 177976 h 225453"/>
                  <a:gd name="connsiteX9" fmla="*/ 82725 w 326923"/>
                  <a:gd name="connsiteY9" fmla="*/ 193317 h 225453"/>
                  <a:gd name="connsiteX10" fmla="*/ 55463 w 326923"/>
                  <a:gd name="connsiteY10" fmla="*/ 205458 h 225453"/>
                  <a:gd name="connsiteX11" fmla="*/ 32616 w 326923"/>
                  <a:gd name="connsiteY11" fmla="*/ 214509 h 225453"/>
                  <a:gd name="connsiteX12" fmla="*/ 15122 w 326923"/>
                  <a:gd name="connsiteY12" fmla="*/ 220745 h 225453"/>
                  <a:gd name="connsiteX13" fmla="*/ 3975 w 326923"/>
                  <a:gd name="connsiteY13" fmla="*/ 224387 h 225453"/>
                  <a:gd name="connsiteX14" fmla="*/ 2 w 326923"/>
                  <a:gd name="connsiteY14" fmla="*/ 225435 h 225453"/>
                  <a:gd name="connsiteX15" fmla="*/ 3754 w 326923"/>
                  <a:gd name="connsiteY15" fmla="*/ 223835 h 225453"/>
                  <a:gd name="connsiteX16" fmla="*/ 14736 w 326923"/>
                  <a:gd name="connsiteY16" fmla="*/ 219696 h 225453"/>
                  <a:gd name="connsiteX17" fmla="*/ 32009 w 326923"/>
                  <a:gd name="connsiteY17" fmla="*/ 213018 h 225453"/>
                  <a:gd name="connsiteX18" fmla="*/ 54635 w 326923"/>
                  <a:gd name="connsiteY18" fmla="*/ 203582 h 225453"/>
                  <a:gd name="connsiteX19" fmla="*/ 81621 w 326923"/>
                  <a:gd name="connsiteY19" fmla="*/ 191165 h 225453"/>
                  <a:gd name="connsiteX20" fmla="*/ 112028 w 326923"/>
                  <a:gd name="connsiteY20" fmla="*/ 175658 h 225453"/>
                  <a:gd name="connsiteX21" fmla="*/ 178637 w 326923"/>
                  <a:gd name="connsiteY21" fmla="*/ 134821 h 225453"/>
                  <a:gd name="connsiteX22" fmla="*/ 240445 w 326923"/>
                  <a:gd name="connsiteY22" fmla="*/ 87085 h 225453"/>
                  <a:gd name="connsiteX23" fmla="*/ 265720 w 326923"/>
                  <a:gd name="connsiteY23" fmla="*/ 64183 h 225453"/>
                  <a:gd name="connsiteX24" fmla="*/ 286911 w 326923"/>
                  <a:gd name="connsiteY24" fmla="*/ 43378 h 225453"/>
                  <a:gd name="connsiteX25" fmla="*/ 303743 w 326923"/>
                  <a:gd name="connsiteY25" fmla="*/ 25553 h 225453"/>
                  <a:gd name="connsiteX26" fmla="*/ 316105 w 326923"/>
                  <a:gd name="connsiteY26" fmla="*/ 11757 h 225453"/>
                  <a:gd name="connsiteX27" fmla="*/ 323886 w 326923"/>
                  <a:gd name="connsiteY27" fmla="*/ 2982 h 225453"/>
                  <a:gd name="connsiteX28" fmla="*/ 326921 w 326923"/>
                  <a:gd name="connsiteY28" fmla="*/ 2 h 225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26923" h="225453">
                    <a:moveTo>
                      <a:pt x="326921" y="2"/>
                    </a:moveTo>
                    <a:cubicBezTo>
                      <a:pt x="326976" y="57"/>
                      <a:pt x="326148" y="1216"/>
                      <a:pt x="324493" y="3313"/>
                    </a:cubicBezTo>
                    <a:cubicBezTo>
                      <a:pt x="322617" y="5631"/>
                      <a:pt x="320188" y="8666"/>
                      <a:pt x="317153" y="12474"/>
                    </a:cubicBezTo>
                    <a:cubicBezTo>
                      <a:pt x="313952" y="16447"/>
                      <a:pt x="309979" y="21248"/>
                      <a:pt x="305123" y="26602"/>
                    </a:cubicBezTo>
                    <a:cubicBezTo>
                      <a:pt x="300266" y="32010"/>
                      <a:pt x="294969" y="38301"/>
                      <a:pt x="288512" y="44758"/>
                    </a:cubicBezTo>
                    <a:cubicBezTo>
                      <a:pt x="282221" y="51380"/>
                      <a:pt x="275322" y="58554"/>
                      <a:pt x="267486" y="65894"/>
                    </a:cubicBezTo>
                    <a:cubicBezTo>
                      <a:pt x="259871" y="73454"/>
                      <a:pt x="251262" y="81015"/>
                      <a:pt x="242266" y="89072"/>
                    </a:cubicBezTo>
                    <a:cubicBezTo>
                      <a:pt x="224000" y="104800"/>
                      <a:pt x="203195" y="121300"/>
                      <a:pt x="180348" y="137193"/>
                    </a:cubicBezTo>
                    <a:cubicBezTo>
                      <a:pt x="157391" y="152921"/>
                      <a:pt x="134544" y="166497"/>
                      <a:pt x="113353" y="177976"/>
                    </a:cubicBezTo>
                    <a:cubicBezTo>
                      <a:pt x="102647" y="183494"/>
                      <a:pt x="92493" y="188902"/>
                      <a:pt x="82725" y="193317"/>
                    </a:cubicBezTo>
                    <a:cubicBezTo>
                      <a:pt x="73067" y="198008"/>
                      <a:pt x="63906" y="201926"/>
                      <a:pt x="55463" y="205458"/>
                    </a:cubicBezTo>
                    <a:cubicBezTo>
                      <a:pt x="47130" y="209156"/>
                      <a:pt x="39349" y="211915"/>
                      <a:pt x="32616" y="214509"/>
                    </a:cubicBezTo>
                    <a:cubicBezTo>
                      <a:pt x="25884" y="217157"/>
                      <a:pt x="19979" y="219144"/>
                      <a:pt x="15122" y="220745"/>
                    </a:cubicBezTo>
                    <a:cubicBezTo>
                      <a:pt x="10487" y="222234"/>
                      <a:pt x="6789" y="223449"/>
                      <a:pt x="3975" y="224387"/>
                    </a:cubicBezTo>
                    <a:cubicBezTo>
                      <a:pt x="1436" y="225159"/>
                      <a:pt x="57" y="225546"/>
                      <a:pt x="2" y="225435"/>
                    </a:cubicBezTo>
                    <a:cubicBezTo>
                      <a:pt x="-54" y="225325"/>
                      <a:pt x="1271" y="224773"/>
                      <a:pt x="3754" y="223835"/>
                    </a:cubicBezTo>
                    <a:cubicBezTo>
                      <a:pt x="6514" y="222786"/>
                      <a:pt x="10156" y="221407"/>
                      <a:pt x="14736" y="219696"/>
                    </a:cubicBezTo>
                    <a:cubicBezTo>
                      <a:pt x="19537" y="217985"/>
                      <a:pt x="25332" y="215833"/>
                      <a:pt x="32009" y="213018"/>
                    </a:cubicBezTo>
                    <a:cubicBezTo>
                      <a:pt x="38687" y="210259"/>
                      <a:pt x="46413" y="207390"/>
                      <a:pt x="54635" y="203582"/>
                    </a:cubicBezTo>
                    <a:cubicBezTo>
                      <a:pt x="62968" y="199939"/>
                      <a:pt x="72074" y="195966"/>
                      <a:pt x="81621" y="191165"/>
                    </a:cubicBezTo>
                    <a:cubicBezTo>
                      <a:pt x="91334" y="186695"/>
                      <a:pt x="101378" y="181232"/>
                      <a:pt x="112028" y="175658"/>
                    </a:cubicBezTo>
                    <a:cubicBezTo>
                      <a:pt x="133109" y="164124"/>
                      <a:pt x="155735" y="150493"/>
                      <a:pt x="178637" y="134821"/>
                    </a:cubicBezTo>
                    <a:cubicBezTo>
                      <a:pt x="201429" y="119037"/>
                      <a:pt x="222179" y="102647"/>
                      <a:pt x="240445" y="87085"/>
                    </a:cubicBezTo>
                    <a:cubicBezTo>
                      <a:pt x="249440" y="79138"/>
                      <a:pt x="258105" y="71688"/>
                      <a:pt x="265720" y="64183"/>
                    </a:cubicBezTo>
                    <a:cubicBezTo>
                      <a:pt x="273557" y="56954"/>
                      <a:pt x="280565" y="49835"/>
                      <a:pt x="286911" y="43378"/>
                    </a:cubicBezTo>
                    <a:cubicBezTo>
                      <a:pt x="293423" y="37032"/>
                      <a:pt x="298832" y="30851"/>
                      <a:pt x="303743" y="25553"/>
                    </a:cubicBezTo>
                    <a:cubicBezTo>
                      <a:pt x="308710" y="20310"/>
                      <a:pt x="312794" y="15620"/>
                      <a:pt x="316105" y="11757"/>
                    </a:cubicBezTo>
                    <a:cubicBezTo>
                      <a:pt x="319305" y="8114"/>
                      <a:pt x="321899" y="5190"/>
                      <a:pt x="323886" y="2982"/>
                    </a:cubicBezTo>
                    <a:cubicBezTo>
                      <a:pt x="325872" y="940"/>
                      <a:pt x="326866" y="-53"/>
                      <a:pt x="326921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0" name="Freeform: Shape 949">
                <a:extLst>
                  <a:ext uri="{FF2B5EF4-FFF2-40B4-BE49-F238E27FC236}">
                    <a16:creationId xmlns:a16="http://schemas.microsoft.com/office/drawing/2014/main" id="{3D384D6E-2889-4F9F-8EEC-264196E58B7F}"/>
                  </a:ext>
                </a:extLst>
              </p:cNvPr>
              <p:cNvSpPr/>
              <p:nvPr/>
            </p:nvSpPr>
            <p:spPr>
              <a:xfrm>
                <a:off x="7179467" y="-970756"/>
                <a:ext cx="2869" cy="395956"/>
              </a:xfrm>
              <a:custGeom>
                <a:avLst/>
                <a:gdLst>
                  <a:gd name="connsiteX0" fmla="*/ 1435 w 2869"/>
                  <a:gd name="connsiteY0" fmla="*/ 395957 h 395956"/>
                  <a:gd name="connsiteX1" fmla="*/ 0 w 2869"/>
                  <a:gd name="connsiteY1" fmla="*/ 198006 h 395956"/>
                  <a:gd name="connsiteX2" fmla="*/ 1435 w 2869"/>
                  <a:gd name="connsiteY2" fmla="*/ 0 h 395956"/>
                  <a:gd name="connsiteX3" fmla="*/ 2870 w 2869"/>
                  <a:gd name="connsiteY3" fmla="*/ 198006 h 395956"/>
                  <a:gd name="connsiteX4" fmla="*/ 1435 w 2869"/>
                  <a:gd name="connsiteY4" fmla="*/ 395957 h 395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9" h="395956">
                    <a:moveTo>
                      <a:pt x="1435" y="395957"/>
                    </a:moveTo>
                    <a:cubicBezTo>
                      <a:pt x="662" y="395957"/>
                      <a:pt x="0" y="307329"/>
                      <a:pt x="0" y="198006"/>
                    </a:cubicBezTo>
                    <a:cubicBezTo>
                      <a:pt x="0" y="88628"/>
                      <a:pt x="662" y="0"/>
                      <a:pt x="1435" y="0"/>
                    </a:cubicBezTo>
                    <a:cubicBezTo>
                      <a:pt x="2207" y="0"/>
                      <a:pt x="2870" y="88628"/>
                      <a:pt x="2870" y="198006"/>
                    </a:cubicBezTo>
                    <a:cubicBezTo>
                      <a:pt x="2870" y="307329"/>
                      <a:pt x="2207" y="395957"/>
                      <a:pt x="1435" y="395957"/>
                    </a:cubicBezTo>
                    <a:close/>
                  </a:path>
                </a:pathLst>
              </a:custGeom>
              <a:solidFill>
                <a:srgbClr val="263238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1" name="Freeform: Shape 950">
                <a:extLst>
                  <a:ext uri="{FF2B5EF4-FFF2-40B4-BE49-F238E27FC236}">
                    <a16:creationId xmlns:a16="http://schemas.microsoft.com/office/drawing/2014/main" id="{F90E6C37-1664-48C2-B159-280E6E7E017F}"/>
                  </a:ext>
                </a:extLst>
              </p:cNvPr>
              <p:cNvSpPr/>
              <p:nvPr/>
            </p:nvSpPr>
            <p:spPr>
              <a:xfrm>
                <a:off x="7191608" y="-401130"/>
                <a:ext cx="2869" cy="277859"/>
              </a:xfrm>
              <a:custGeom>
                <a:avLst/>
                <a:gdLst>
                  <a:gd name="connsiteX0" fmla="*/ 1435 w 2869"/>
                  <a:gd name="connsiteY0" fmla="*/ 277859 h 277859"/>
                  <a:gd name="connsiteX1" fmla="*/ 0 w 2869"/>
                  <a:gd name="connsiteY1" fmla="*/ 138957 h 277859"/>
                  <a:gd name="connsiteX2" fmla="*/ 1435 w 2869"/>
                  <a:gd name="connsiteY2" fmla="*/ 0 h 277859"/>
                  <a:gd name="connsiteX3" fmla="*/ 2870 w 2869"/>
                  <a:gd name="connsiteY3" fmla="*/ 138957 h 277859"/>
                  <a:gd name="connsiteX4" fmla="*/ 1435 w 2869"/>
                  <a:gd name="connsiteY4" fmla="*/ 277859 h 277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9" h="277859">
                    <a:moveTo>
                      <a:pt x="1435" y="277859"/>
                    </a:moveTo>
                    <a:cubicBezTo>
                      <a:pt x="662" y="277859"/>
                      <a:pt x="0" y="215665"/>
                      <a:pt x="0" y="138957"/>
                    </a:cubicBezTo>
                    <a:cubicBezTo>
                      <a:pt x="0" y="62194"/>
                      <a:pt x="662" y="0"/>
                      <a:pt x="1435" y="0"/>
                    </a:cubicBezTo>
                    <a:cubicBezTo>
                      <a:pt x="2207" y="0"/>
                      <a:pt x="2870" y="62194"/>
                      <a:pt x="2870" y="138957"/>
                    </a:cubicBezTo>
                    <a:cubicBezTo>
                      <a:pt x="2870" y="215665"/>
                      <a:pt x="2207" y="277859"/>
                      <a:pt x="1435" y="277859"/>
                    </a:cubicBezTo>
                    <a:close/>
                  </a:path>
                </a:pathLst>
              </a:custGeom>
              <a:solidFill>
                <a:srgbClr val="263238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811" name="Graphic 179">
              <a:extLst>
                <a:ext uri="{FF2B5EF4-FFF2-40B4-BE49-F238E27FC236}">
                  <a16:creationId xmlns:a16="http://schemas.microsoft.com/office/drawing/2014/main" id="{4775342A-47BB-434A-9149-DE0E896CB2BF}"/>
                </a:ext>
              </a:extLst>
            </p:cNvPr>
            <p:cNvGrpSpPr/>
            <p:nvPr/>
          </p:nvGrpSpPr>
          <p:grpSpPr>
            <a:xfrm>
              <a:off x="3492112" y="2527187"/>
              <a:ext cx="932470" cy="3278464"/>
              <a:chOff x="7481112" y="-2265182"/>
              <a:chExt cx="613964" cy="2158631"/>
            </a:xfrm>
          </p:grpSpPr>
          <p:grpSp>
            <p:nvGrpSpPr>
              <p:cNvPr id="812" name="Graphic 179">
                <a:extLst>
                  <a:ext uri="{FF2B5EF4-FFF2-40B4-BE49-F238E27FC236}">
                    <a16:creationId xmlns:a16="http://schemas.microsoft.com/office/drawing/2014/main" id="{79AF2035-7032-439E-BD30-AE41684F98FB}"/>
                  </a:ext>
                </a:extLst>
              </p:cNvPr>
              <p:cNvGrpSpPr/>
              <p:nvPr/>
            </p:nvGrpSpPr>
            <p:grpSpPr>
              <a:xfrm>
                <a:off x="7481112" y="-1911891"/>
                <a:ext cx="527976" cy="487724"/>
                <a:chOff x="7481112" y="-1911891"/>
                <a:chExt cx="527976" cy="487724"/>
              </a:xfrm>
            </p:grpSpPr>
            <p:sp>
              <p:nvSpPr>
                <p:cNvPr id="926" name="Freeform: Shape 925">
                  <a:extLst>
                    <a:ext uri="{FF2B5EF4-FFF2-40B4-BE49-F238E27FC236}">
                      <a16:creationId xmlns:a16="http://schemas.microsoft.com/office/drawing/2014/main" id="{67BBC3B5-B1F4-42EC-B1C0-9596611E7822}"/>
                    </a:ext>
                  </a:extLst>
                </p:cNvPr>
                <p:cNvSpPr/>
                <p:nvPr/>
              </p:nvSpPr>
              <p:spPr>
                <a:xfrm>
                  <a:off x="7505837" y="-1651360"/>
                  <a:ext cx="156062" cy="84648"/>
                </a:xfrm>
                <a:custGeom>
                  <a:avLst/>
                  <a:gdLst>
                    <a:gd name="connsiteX0" fmla="*/ 936 w 156062"/>
                    <a:gd name="connsiteY0" fmla="*/ 58000 h 84648"/>
                    <a:gd name="connsiteX1" fmla="*/ 27867 w 156062"/>
                    <a:gd name="connsiteY1" fmla="*/ 81675 h 84648"/>
                    <a:gd name="connsiteX2" fmla="*/ 64841 w 156062"/>
                    <a:gd name="connsiteY2" fmla="*/ 84213 h 84648"/>
                    <a:gd name="connsiteX3" fmla="*/ 112632 w 156062"/>
                    <a:gd name="connsiteY3" fmla="*/ 73618 h 84648"/>
                    <a:gd name="connsiteX4" fmla="*/ 141439 w 156062"/>
                    <a:gd name="connsiteY4" fmla="*/ 41334 h 84648"/>
                    <a:gd name="connsiteX5" fmla="*/ 156063 w 156062"/>
                    <a:gd name="connsiteY5" fmla="*/ 0 h 84648"/>
                    <a:gd name="connsiteX6" fmla="*/ 936 w 156062"/>
                    <a:gd name="connsiteY6" fmla="*/ 58000 h 84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062" h="84648">
                      <a:moveTo>
                        <a:pt x="936" y="58000"/>
                      </a:moveTo>
                      <a:cubicBezTo>
                        <a:pt x="-4638" y="69092"/>
                        <a:pt x="16002" y="78088"/>
                        <a:pt x="27867" y="81675"/>
                      </a:cubicBezTo>
                      <a:cubicBezTo>
                        <a:pt x="39787" y="85262"/>
                        <a:pt x="52479" y="84875"/>
                        <a:pt x="64841" y="84213"/>
                      </a:cubicBezTo>
                      <a:cubicBezTo>
                        <a:pt x="81286" y="83330"/>
                        <a:pt x="98339" y="81785"/>
                        <a:pt x="112632" y="73618"/>
                      </a:cubicBezTo>
                      <a:cubicBezTo>
                        <a:pt x="125324" y="66333"/>
                        <a:pt x="134816" y="54358"/>
                        <a:pt x="141439" y="41334"/>
                      </a:cubicBezTo>
                      <a:cubicBezTo>
                        <a:pt x="148061" y="28255"/>
                        <a:pt x="152090" y="14072"/>
                        <a:pt x="156063" y="0"/>
                      </a:cubicBezTo>
                      <a:cubicBezTo>
                        <a:pt x="156118" y="0"/>
                        <a:pt x="25715" y="8499"/>
                        <a:pt x="936" y="58000"/>
                      </a:cubicBezTo>
                      <a:close/>
                    </a:path>
                  </a:pathLst>
                </a:custGeom>
                <a:solidFill>
                  <a:srgbClr val="E8505B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7" name="Freeform: Shape 926">
                  <a:extLst>
                    <a:ext uri="{FF2B5EF4-FFF2-40B4-BE49-F238E27FC236}">
                      <a16:creationId xmlns:a16="http://schemas.microsoft.com/office/drawing/2014/main" id="{7D81F041-2104-4675-8299-3BA23C8C72A5}"/>
                    </a:ext>
                  </a:extLst>
                </p:cNvPr>
                <p:cNvSpPr/>
                <p:nvPr/>
              </p:nvSpPr>
              <p:spPr>
                <a:xfrm>
                  <a:off x="7505837" y="-1651360"/>
                  <a:ext cx="156062" cy="84648"/>
                </a:xfrm>
                <a:custGeom>
                  <a:avLst/>
                  <a:gdLst>
                    <a:gd name="connsiteX0" fmla="*/ 936 w 156062"/>
                    <a:gd name="connsiteY0" fmla="*/ 58000 h 84648"/>
                    <a:gd name="connsiteX1" fmla="*/ 27867 w 156062"/>
                    <a:gd name="connsiteY1" fmla="*/ 81675 h 84648"/>
                    <a:gd name="connsiteX2" fmla="*/ 64841 w 156062"/>
                    <a:gd name="connsiteY2" fmla="*/ 84213 h 84648"/>
                    <a:gd name="connsiteX3" fmla="*/ 112632 w 156062"/>
                    <a:gd name="connsiteY3" fmla="*/ 73618 h 84648"/>
                    <a:gd name="connsiteX4" fmla="*/ 141439 w 156062"/>
                    <a:gd name="connsiteY4" fmla="*/ 41334 h 84648"/>
                    <a:gd name="connsiteX5" fmla="*/ 156063 w 156062"/>
                    <a:gd name="connsiteY5" fmla="*/ 0 h 84648"/>
                    <a:gd name="connsiteX6" fmla="*/ 936 w 156062"/>
                    <a:gd name="connsiteY6" fmla="*/ 58000 h 84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6062" h="84648">
                      <a:moveTo>
                        <a:pt x="936" y="58000"/>
                      </a:moveTo>
                      <a:cubicBezTo>
                        <a:pt x="-4638" y="69092"/>
                        <a:pt x="16002" y="78088"/>
                        <a:pt x="27867" y="81675"/>
                      </a:cubicBezTo>
                      <a:cubicBezTo>
                        <a:pt x="39787" y="85262"/>
                        <a:pt x="52479" y="84875"/>
                        <a:pt x="64841" y="84213"/>
                      </a:cubicBezTo>
                      <a:cubicBezTo>
                        <a:pt x="81286" y="83330"/>
                        <a:pt x="98339" y="81785"/>
                        <a:pt x="112632" y="73618"/>
                      </a:cubicBezTo>
                      <a:cubicBezTo>
                        <a:pt x="125324" y="66333"/>
                        <a:pt x="134816" y="54358"/>
                        <a:pt x="141439" y="41334"/>
                      </a:cubicBezTo>
                      <a:cubicBezTo>
                        <a:pt x="148061" y="28255"/>
                        <a:pt x="152090" y="14072"/>
                        <a:pt x="156063" y="0"/>
                      </a:cubicBezTo>
                      <a:cubicBezTo>
                        <a:pt x="156118" y="0"/>
                        <a:pt x="25715" y="8499"/>
                        <a:pt x="936" y="5800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928" name="Graphic 179">
                  <a:extLst>
                    <a:ext uri="{FF2B5EF4-FFF2-40B4-BE49-F238E27FC236}">
                      <a16:creationId xmlns:a16="http://schemas.microsoft.com/office/drawing/2014/main" id="{6940F6B7-0230-42A2-A28E-19731EB7C9F3}"/>
                    </a:ext>
                  </a:extLst>
                </p:cNvPr>
                <p:cNvGrpSpPr/>
                <p:nvPr/>
              </p:nvGrpSpPr>
              <p:grpSpPr>
                <a:xfrm>
                  <a:off x="7866583" y="-1667022"/>
                  <a:ext cx="142506" cy="61472"/>
                  <a:chOff x="7866583" y="-1667022"/>
                  <a:chExt cx="142506" cy="61472"/>
                </a:xfrm>
              </p:grpSpPr>
              <p:sp>
                <p:nvSpPr>
                  <p:cNvPr id="944" name="Freeform: Shape 943">
                    <a:extLst>
                      <a:ext uri="{FF2B5EF4-FFF2-40B4-BE49-F238E27FC236}">
                        <a16:creationId xmlns:a16="http://schemas.microsoft.com/office/drawing/2014/main" id="{72526A0C-2EA8-4671-980C-2CE6BE2EFAAE}"/>
                      </a:ext>
                    </a:extLst>
                  </p:cNvPr>
                  <p:cNvSpPr/>
                  <p:nvPr/>
                </p:nvSpPr>
                <p:spPr>
                  <a:xfrm>
                    <a:off x="7866638" y="-1667022"/>
                    <a:ext cx="142451" cy="61472"/>
                  </a:xfrm>
                  <a:custGeom>
                    <a:avLst/>
                    <a:gdLst>
                      <a:gd name="connsiteX0" fmla="*/ 8444 w 142451"/>
                      <a:gd name="connsiteY0" fmla="*/ 38343 h 61472"/>
                      <a:gd name="connsiteX1" fmla="*/ 82061 w 142451"/>
                      <a:gd name="connsiteY1" fmla="*/ 61466 h 61472"/>
                      <a:gd name="connsiteX2" fmla="*/ 117104 w 142451"/>
                      <a:gd name="connsiteY2" fmla="*/ 50429 h 61472"/>
                      <a:gd name="connsiteX3" fmla="*/ 128914 w 142451"/>
                      <a:gd name="connsiteY3" fmla="*/ 37847 h 61472"/>
                      <a:gd name="connsiteX4" fmla="*/ 138185 w 142451"/>
                      <a:gd name="connsiteY4" fmla="*/ 30617 h 61472"/>
                      <a:gd name="connsiteX5" fmla="*/ 142269 w 142451"/>
                      <a:gd name="connsiteY5" fmla="*/ 20132 h 61472"/>
                      <a:gd name="connsiteX6" fmla="*/ 134653 w 142451"/>
                      <a:gd name="connsiteY6" fmla="*/ 7936 h 61472"/>
                      <a:gd name="connsiteX7" fmla="*/ 84600 w 142451"/>
                      <a:gd name="connsiteY7" fmla="*/ 155 h 61472"/>
                      <a:gd name="connsiteX8" fmla="*/ 34105 w 142451"/>
                      <a:gd name="connsiteY8" fmla="*/ 10033 h 61472"/>
                      <a:gd name="connsiteX9" fmla="*/ 0 w 142451"/>
                      <a:gd name="connsiteY9" fmla="*/ 33211 h 61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2451" h="61472">
                        <a:moveTo>
                          <a:pt x="8444" y="38343"/>
                        </a:moveTo>
                        <a:cubicBezTo>
                          <a:pt x="29745" y="53519"/>
                          <a:pt x="55903" y="61742"/>
                          <a:pt x="82061" y="61466"/>
                        </a:cubicBezTo>
                        <a:cubicBezTo>
                          <a:pt x="94588" y="61301"/>
                          <a:pt x="107888" y="58872"/>
                          <a:pt x="117104" y="50429"/>
                        </a:cubicBezTo>
                        <a:cubicBezTo>
                          <a:pt x="121353" y="46566"/>
                          <a:pt x="124554" y="41544"/>
                          <a:pt x="128914" y="37847"/>
                        </a:cubicBezTo>
                        <a:cubicBezTo>
                          <a:pt x="131894" y="35308"/>
                          <a:pt x="135370" y="33377"/>
                          <a:pt x="138185" y="30617"/>
                        </a:cubicBezTo>
                        <a:cubicBezTo>
                          <a:pt x="140999" y="27858"/>
                          <a:pt x="143096" y="23940"/>
                          <a:pt x="142269" y="20132"/>
                        </a:cubicBezTo>
                        <a:cubicBezTo>
                          <a:pt x="141386" y="16214"/>
                          <a:pt x="138130" y="9923"/>
                          <a:pt x="134653" y="7936"/>
                        </a:cubicBezTo>
                        <a:cubicBezTo>
                          <a:pt x="119698" y="-562"/>
                          <a:pt x="101817" y="-231"/>
                          <a:pt x="84600" y="155"/>
                        </a:cubicBezTo>
                        <a:cubicBezTo>
                          <a:pt x="67382" y="541"/>
                          <a:pt x="50440" y="4570"/>
                          <a:pt x="34105" y="10033"/>
                        </a:cubicBezTo>
                        <a:cubicBezTo>
                          <a:pt x="20750" y="14503"/>
                          <a:pt x="6788" y="20850"/>
                          <a:pt x="0" y="33211"/>
                        </a:cubicBezTo>
                      </a:path>
                    </a:pathLst>
                  </a:custGeom>
                  <a:solidFill>
                    <a:srgbClr val="E8505B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5" name="Freeform: Shape 944">
                    <a:extLst>
                      <a:ext uri="{FF2B5EF4-FFF2-40B4-BE49-F238E27FC236}">
                        <a16:creationId xmlns:a16="http://schemas.microsoft.com/office/drawing/2014/main" id="{5EB24910-72E1-42F9-B937-F75EE8202FE5}"/>
                      </a:ext>
                    </a:extLst>
                  </p:cNvPr>
                  <p:cNvSpPr/>
                  <p:nvPr/>
                </p:nvSpPr>
                <p:spPr>
                  <a:xfrm>
                    <a:off x="7866583" y="-1666945"/>
                    <a:ext cx="142469" cy="61340"/>
                  </a:xfrm>
                  <a:custGeom>
                    <a:avLst/>
                    <a:gdLst>
                      <a:gd name="connsiteX0" fmla="*/ 142268 w 142469"/>
                      <a:gd name="connsiteY0" fmla="*/ 20055 h 61340"/>
                      <a:gd name="connsiteX1" fmla="*/ 132500 w 142469"/>
                      <a:gd name="connsiteY1" fmla="*/ 8963 h 61340"/>
                      <a:gd name="connsiteX2" fmla="*/ 84599 w 142469"/>
                      <a:gd name="connsiteY2" fmla="*/ 78 h 61340"/>
                      <a:gd name="connsiteX3" fmla="*/ 34105 w 142469"/>
                      <a:gd name="connsiteY3" fmla="*/ 9956 h 61340"/>
                      <a:gd name="connsiteX4" fmla="*/ 0 w 142469"/>
                      <a:gd name="connsiteY4" fmla="*/ 33134 h 61340"/>
                      <a:gd name="connsiteX5" fmla="*/ 8499 w 142469"/>
                      <a:gd name="connsiteY5" fmla="*/ 38211 h 61340"/>
                      <a:gd name="connsiteX6" fmla="*/ 82116 w 142469"/>
                      <a:gd name="connsiteY6" fmla="*/ 61334 h 61340"/>
                      <a:gd name="connsiteX7" fmla="*/ 117159 w 142469"/>
                      <a:gd name="connsiteY7" fmla="*/ 50297 h 61340"/>
                      <a:gd name="connsiteX8" fmla="*/ 128969 w 142469"/>
                      <a:gd name="connsiteY8" fmla="*/ 37714 h 61340"/>
                      <a:gd name="connsiteX9" fmla="*/ 138240 w 142469"/>
                      <a:gd name="connsiteY9" fmla="*/ 30485 h 61340"/>
                      <a:gd name="connsiteX10" fmla="*/ 142268 w 142469"/>
                      <a:gd name="connsiteY10" fmla="*/ 20055 h 61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42469" h="61340">
                        <a:moveTo>
                          <a:pt x="142268" y="20055"/>
                        </a:moveTo>
                        <a:cubicBezTo>
                          <a:pt x="141385" y="16137"/>
                          <a:pt x="135977" y="10949"/>
                          <a:pt x="132500" y="8963"/>
                        </a:cubicBezTo>
                        <a:cubicBezTo>
                          <a:pt x="117545" y="464"/>
                          <a:pt x="101817" y="-309"/>
                          <a:pt x="84599" y="78"/>
                        </a:cubicBezTo>
                        <a:cubicBezTo>
                          <a:pt x="67382" y="464"/>
                          <a:pt x="50440" y="4493"/>
                          <a:pt x="34105" y="9956"/>
                        </a:cubicBezTo>
                        <a:cubicBezTo>
                          <a:pt x="20750" y="14426"/>
                          <a:pt x="6788" y="20772"/>
                          <a:pt x="0" y="33134"/>
                        </a:cubicBezTo>
                        <a:lnTo>
                          <a:pt x="8499" y="38211"/>
                        </a:lnTo>
                        <a:cubicBezTo>
                          <a:pt x="29800" y="53387"/>
                          <a:pt x="55958" y="61610"/>
                          <a:pt x="82116" y="61334"/>
                        </a:cubicBezTo>
                        <a:cubicBezTo>
                          <a:pt x="94643" y="61168"/>
                          <a:pt x="107888" y="58740"/>
                          <a:pt x="117159" y="50297"/>
                        </a:cubicBezTo>
                        <a:cubicBezTo>
                          <a:pt x="121408" y="46434"/>
                          <a:pt x="124609" y="41412"/>
                          <a:pt x="128969" y="37714"/>
                        </a:cubicBezTo>
                        <a:cubicBezTo>
                          <a:pt x="131949" y="35176"/>
                          <a:pt x="135425" y="33244"/>
                          <a:pt x="138240" y="30485"/>
                        </a:cubicBezTo>
                        <a:cubicBezTo>
                          <a:pt x="140999" y="27781"/>
                          <a:pt x="143151" y="23863"/>
                          <a:pt x="142268" y="2005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29" name="Freeform: Shape 928">
                  <a:extLst>
                    <a:ext uri="{FF2B5EF4-FFF2-40B4-BE49-F238E27FC236}">
                      <a16:creationId xmlns:a16="http://schemas.microsoft.com/office/drawing/2014/main" id="{45007FB0-30CF-40A5-8AAB-134681089A2A}"/>
                    </a:ext>
                  </a:extLst>
                </p:cNvPr>
                <p:cNvSpPr/>
                <p:nvPr/>
              </p:nvSpPr>
              <p:spPr>
                <a:xfrm>
                  <a:off x="7481112" y="-1911891"/>
                  <a:ext cx="420403" cy="484861"/>
                </a:xfrm>
                <a:custGeom>
                  <a:avLst/>
                  <a:gdLst>
                    <a:gd name="connsiteX0" fmla="*/ 139453 w 420403"/>
                    <a:gd name="connsiteY0" fmla="*/ 481273 h 484861"/>
                    <a:gd name="connsiteX1" fmla="*/ 414554 w 420403"/>
                    <a:gd name="connsiteY1" fmla="*/ 484861 h 484861"/>
                    <a:gd name="connsiteX2" fmla="*/ 417975 w 420403"/>
                    <a:gd name="connsiteY2" fmla="*/ 480225 h 484861"/>
                    <a:gd name="connsiteX3" fmla="*/ 385692 w 420403"/>
                    <a:gd name="connsiteY3" fmla="*/ 379566 h 484861"/>
                    <a:gd name="connsiteX4" fmla="*/ 397005 w 420403"/>
                    <a:gd name="connsiteY4" fmla="*/ 268754 h 484861"/>
                    <a:gd name="connsiteX5" fmla="*/ 420403 w 420403"/>
                    <a:gd name="connsiteY5" fmla="*/ 61697 h 484861"/>
                    <a:gd name="connsiteX6" fmla="*/ 290607 w 420403"/>
                    <a:gd name="connsiteY6" fmla="*/ 0 h 484861"/>
                    <a:gd name="connsiteX7" fmla="*/ 164066 w 420403"/>
                    <a:gd name="connsiteY7" fmla="*/ 7505 h 484861"/>
                    <a:gd name="connsiteX8" fmla="*/ 159596 w 420403"/>
                    <a:gd name="connsiteY8" fmla="*/ 55 h 484861"/>
                    <a:gd name="connsiteX9" fmla="*/ 123174 w 420403"/>
                    <a:gd name="connsiteY9" fmla="*/ 16997 h 484861"/>
                    <a:gd name="connsiteX10" fmla="*/ 100327 w 420403"/>
                    <a:gd name="connsiteY10" fmla="*/ 29855 h 484861"/>
                    <a:gd name="connsiteX11" fmla="*/ 7725 w 420403"/>
                    <a:gd name="connsiteY11" fmla="*/ 124002 h 484861"/>
                    <a:gd name="connsiteX12" fmla="*/ 24667 w 420403"/>
                    <a:gd name="connsiteY12" fmla="*/ 325374 h 484861"/>
                    <a:gd name="connsiteX13" fmla="*/ 51212 w 420403"/>
                    <a:gd name="connsiteY13" fmla="*/ 304624 h 484861"/>
                    <a:gd name="connsiteX14" fmla="*/ 72293 w 420403"/>
                    <a:gd name="connsiteY14" fmla="*/ 290552 h 484861"/>
                    <a:gd name="connsiteX15" fmla="*/ 125602 w 420403"/>
                    <a:gd name="connsiteY15" fmla="*/ 433428 h 484861"/>
                    <a:gd name="connsiteX16" fmla="*/ 114013 w 420403"/>
                    <a:gd name="connsiteY16" fmla="*/ 451749 h 484861"/>
                    <a:gd name="connsiteX17" fmla="*/ 139453 w 420403"/>
                    <a:gd name="connsiteY17" fmla="*/ 481273 h 484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20403" h="484861">
                      <a:moveTo>
                        <a:pt x="139453" y="481273"/>
                      </a:moveTo>
                      <a:lnTo>
                        <a:pt x="414554" y="484861"/>
                      </a:lnTo>
                      <a:cubicBezTo>
                        <a:pt x="416982" y="484916"/>
                        <a:pt x="418692" y="482543"/>
                        <a:pt x="417975" y="480225"/>
                      </a:cubicBezTo>
                      <a:lnTo>
                        <a:pt x="385692" y="379566"/>
                      </a:lnTo>
                      <a:cubicBezTo>
                        <a:pt x="385692" y="379566"/>
                        <a:pt x="390437" y="329292"/>
                        <a:pt x="397005" y="268754"/>
                      </a:cubicBezTo>
                      <a:cubicBezTo>
                        <a:pt x="406993" y="176925"/>
                        <a:pt x="420238" y="61421"/>
                        <a:pt x="420403" y="61697"/>
                      </a:cubicBezTo>
                      <a:cubicBezTo>
                        <a:pt x="401640" y="8940"/>
                        <a:pt x="290607" y="0"/>
                        <a:pt x="290607" y="0"/>
                      </a:cubicBezTo>
                      <a:lnTo>
                        <a:pt x="164066" y="7505"/>
                      </a:lnTo>
                      <a:lnTo>
                        <a:pt x="159596" y="55"/>
                      </a:lnTo>
                      <a:lnTo>
                        <a:pt x="123174" y="16997"/>
                      </a:lnTo>
                      <a:cubicBezTo>
                        <a:pt x="115227" y="20695"/>
                        <a:pt x="107611" y="24999"/>
                        <a:pt x="100327" y="29855"/>
                      </a:cubicBezTo>
                      <a:cubicBezTo>
                        <a:pt x="76321" y="45970"/>
                        <a:pt x="18321" y="82834"/>
                        <a:pt x="7725" y="124002"/>
                      </a:cubicBezTo>
                      <a:cubicBezTo>
                        <a:pt x="-16722" y="219142"/>
                        <a:pt x="24667" y="325374"/>
                        <a:pt x="24667" y="325374"/>
                      </a:cubicBezTo>
                      <a:lnTo>
                        <a:pt x="51212" y="304624"/>
                      </a:lnTo>
                      <a:cubicBezTo>
                        <a:pt x="58165" y="299382"/>
                        <a:pt x="64732" y="294801"/>
                        <a:pt x="72293" y="290552"/>
                      </a:cubicBezTo>
                      <a:lnTo>
                        <a:pt x="125602" y="433428"/>
                      </a:lnTo>
                      <a:cubicBezTo>
                        <a:pt x="125602" y="433428"/>
                        <a:pt x="114510" y="440160"/>
                        <a:pt x="114013" y="451749"/>
                      </a:cubicBezTo>
                      <a:cubicBezTo>
                        <a:pt x="113682" y="463393"/>
                        <a:pt x="119863" y="477300"/>
                        <a:pt x="139453" y="481273"/>
                      </a:cubicBezTo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0" name="Freeform: Shape 929">
                  <a:extLst>
                    <a:ext uri="{FF2B5EF4-FFF2-40B4-BE49-F238E27FC236}">
                      <a16:creationId xmlns:a16="http://schemas.microsoft.com/office/drawing/2014/main" id="{ABF3DB4A-2804-45C3-84D4-DED4E90DC8A9}"/>
                    </a:ext>
                  </a:extLst>
                </p:cNvPr>
                <p:cNvSpPr/>
                <p:nvPr/>
              </p:nvSpPr>
              <p:spPr>
                <a:xfrm>
                  <a:off x="7702564" y="-1741643"/>
                  <a:ext cx="40859" cy="148619"/>
                </a:xfrm>
                <a:custGeom>
                  <a:avLst/>
                  <a:gdLst>
                    <a:gd name="connsiteX0" fmla="*/ 35933 w 40859"/>
                    <a:gd name="connsiteY0" fmla="*/ 142600 h 148619"/>
                    <a:gd name="connsiteX1" fmla="*/ 35381 w 40859"/>
                    <a:gd name="connsiteY1" fmla="*/ 0 h 148619"/>
                    <a:gd name="connsiteX2" fmla="*/ 4477 w 40859"/>
                    <a:gd name="connsiteY2" fmla="*/ 121077 h 148619"/>
                    <a:gd name="connsiteX3" fmla="*/ 173 w 40859"/>
                    <a:gd name="connsiteY3" fmla="*/ 133825 h 148619"/>
                    <a:gd name="connsiteX4" fmla="*/ 3870 w 40859"/>
                    <a:gd name="connsiteY4" fmla="*/ 146242 h 148619"/>
                    <a:gd name="connsiteX5" fmla="*/ 20702 w 40859"/>
                    <a:gd name="connsiteY5" fmla="*/ 147401 h 148619"/>
                    <a:gd name="connsiteX6" fmla="*/ 35933 w 40859"/>
                    <a:gd name="connsiteY6" fmla="*/ 142600 h 148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859" h="148619">
                      <a:moveTo>
                        <a:pt x="35933" y="142600"/>
                      </a:moveTo>
                      <a:cubicBezTo>
                        <a:pt x="44652" y="95692"/>
                        <a:pt x="40072" y="47460"/>
                        <a:pt x="35381" y="0"/>
                      </a:cubicBezTo>
                      <a:cubicBezTo>
                        <a:pt x="20095" y="38851"/>
                        <a:pt x="20647" y="82613"/>
                        <a:pt x="4477" y="121077"/>
                      </a:cubicBezTo>
                      <a:cubicBezTo>
                        <a:pt x="2711" y="125216"/>
                        <a:pt x="780" y="129355"/>
                        <a:pt x="173" y="133825"/>
                      </a:cubicBezTo>
                      <a:cubicBezTo>
                        <a:pt x="-434" y="138295"/>
                        <a:pt x="504" y="143207"/>
                        <a:pt x="3870" y="146242"/>
                      </a:cubicBezTo>
                      <a:cubicBezTo>
                        <a:pt x="8285" y="150270"/>
                        <a:pt x="14797" y="148118"/>
                        <a:pt x="20702" y="147401"/>
                      </a:cubicBezTo>
                      <a:cubicBezTo>
                        <a:pt x="26993" y="146683"/>
                        <a:pt x="30304" y="144531"/>
                        <a:pt x="35933" y="142600"/>
                      </a:cubicBezTo>
                    </a:path>
                  </a:pathLst>
                </a:custGeom>
                <a:solidFill>
                  <a:srgbClr val="00000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1" name="Freeform: Shape 930">
                  <a:extLst>
                    <a:ext uri="{FF2B5EF4-FFF2-40B4-BE49-F238E27FC236}">
                      <a16:creationId xmlns:a16="http://schemas.microsoft.com/office/drawing/2014/main" id="{6FC99DEC-6BDD-4C68-AABD-B29C75909D3D}"/>
                    </a:ext>
                  </a:extLst>
                </p:cNvPr>
                <p:cNvSpPr/>
                <p:nvPr/>
              </p:nvSpPr>
              <p:spPr>
                <a:xfrm>
                  <a:off x="7633534" y="-1525330"/>
                  <a:ext cx="233671" cy="37158"/>
                </a:xfrm>
                <a:custGeom>
                  <a:avLst/>
                  <a:gdLst>
                    <a:gd name="connsiteX0" fmla="*/ 3642 w 233671"/>
                    <a:gd name="connsiteY0" fmla="*/ 34891 h 37158"/>
                    <a:gd name="connsiteX1" fmla="*/ 72569 w 233671"/>
                    <a:gd name="connsiteY1" fmla="*/ 25786 h 37158"/>
                    <a:gd name="connsiteX2" fmla="*/ 118815 w 233671"/>
                    <a:gd name="connsiteY2" fmla="*/ 30145 h 37158"/>
                    <a:gd name="connsiteX3" fmla="*/ 212630 w 233671"/>
                    <a:gd name="connsiteY3" fmla="*/ 32463 h 37158"/>
                    <a:gd name="connsiteX4" fmla="*/ 226426 w 233671"/>
                    <a:gd name="connsiteY4" fmla="*/ 28876 h 37158"/>
                    <a:gd name="connsiteX5" fmla="*/ 233656 w 233671"/>
                    <a:gd name="connsiteY5" fmla="*/ 15190 h 37158"/>
                    <a:gd name="connsiteX6" fmla="*/ 77812 w 233671"/>
                    <a:gd name="connsiteY6" fmla="*/ 1338 h 37158"/>
                    <a:gd name="connsiteX7" fmla="*/ 38851 w 233671"/>
                    <a:gd name="connsiteY7" fmla="*/ 2553 h 37158"/>
                    <a:gd name="connsiteX8" fmla="*/ 0 w 233671"/>
                    <a:gd name="connsiteY8" fmla="*/ 31911 h 37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3671" h="37158">
                      <a:moveTo>
                        <a:pt x="3642" y="34891"/>
                      </a:moveTo>
                      <a:cubicBezTo>
                        <a:pt x="25827" y="42617"/>
                        <a:pt x="49226" y="28324"/>
                        <a:pt x="72569" y="25786"/>
                      </a:cubicBezTo>
                      <a:cubicBezTo>
                        <a:pt x="88021" y="24130"/>
                        <a:pt x="103473" y="27662"/>
                        <a:pt x="118815" y="30145"/>
                      </a:cubicBezTo>
                      <a:cubicBezTo>
                        <a:pt x="149774" y="35167"/>
                        <a:pt x="181450" y="35940"/>
                        <a:pt x="212630" y="32463"/>
                      </a:cubicBezTo>
                      <a:cubicBezTo>
                        <a:pt x="217376" y="31911"/>
                        <a:pt x="222288" y="31249"/>
                        <a:pt x="226426" y="28876"/>
                      </a:cubicBezTo>
                      <a:cubicBezTo>
                        <a:pt x="230621" y="26503"/>
                        <a:pt x="233932" y="19936"/>
                        <a:pt x="233656" y="15190"/>
                      </a:cubicBezTo>
                      <a:cubicBezTo>
                        <a:pt x="181726" y="9837"/>
                        <a:pt x="129741" y="6691"/>
                        <a:pt x="77812" y="1338"/>
                      </a:cubicBezTo>
                      <a:cubicBezTo>
                        <a:pt x="64788" y="14"/>
                        <a:pt x="51323" y="-1310"/>
                        <a:pt x="38851" y="2553"/>
                      </a:cubicBezTo>
                      <a:cubicBezTo>
                        <a:pt x="23123" y="7409"/>
                        <a:pt x="11037" y="19770"/>
                        <a:pt x="0" y="31911"/>
                      </a:cubicBezTo>
                    </a:path>
                  </a:pathLst>
                </a:custGeom>
                <a:solidFill>
                  <a:srgbClr val="00000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2" name="Freeform: Shape 931">
                  <a:extLst>
                    <a:ext uri="{FF2B5EF4-FFF2-40B4-BE49-F238E27FC236}">
                      <a16:creationId xmlns:a16="http://schemas.microsoft.com/office/drawing/2014/main" id="{3A4207E8-B313-45EF-85FC-611F543FE132}"/>
                    </a:ext>
                  </a:extLst>
                </p:cNvPr>
                <p:cNvSpPr/>
                <p:nvPr/>
              </p:nvSpPr>
              <p:spPr>
                <a:xfrm>
                  <a:off x="7837941" y="-1855546"/>
                  <a:ext cx="170964" cy="227806"/>
                </a:xfrm>
                <a:custGeom>
                  <a:avLst/>
                  <a:gdLst>
                    <a:gd name="connsiteX0" fmla="*/ 162963 w 170964"/>
                    <a:gd name="connsiteY0" fmla="*/ 190501 h 227806"/>
                    <a:gd name="connsiteX1" fmla="*/ 61311 w 170964"/>
                    <a:gd name="connsiteY1" fmla="*/ 0 h 227806"/>
                    <a:gd name="connsiteX2" fmla="*/ 0 w 170964"/>
                    <a:gd name="connsiteY2" fmla="*/ 76874 h 227806"/>
                    <a:gd name="connsiteX3" fmla="*/ 14293 w 170964"/>
                    <a:gd name="connsiteY3" fmla="*/ 227806 h 227806"/>
                    <a:gd name="connsiteX4" fmla="*/ 137247 w 170964"/>
                    <a:gd name="connsiteY4" fmla="*/ 190942 h 227806"/>
                    <a:gd name="connsiteX5" fmla="*/ 170965 w 170964"/>
                    <a:gd name="connsiteY5" fmla="*/ 208712 h 227806"/>
                    <a:gd name="connsiteX6" fmla="*/ 162963 w 170964"/>
                    <a:gd name="connsiteY6" fmla="*/ 190501 h 227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964" h="227806">
                      <a:moveTo>
                        <a:pt x="162963" y="190501"/>
                      </a:moveTo>
                      <a:cubicBezTo>
                        <a:pt x="140447" y="139951"/>
                        <a:pt x="61311" y="0"/>
                        <a:pt x="61311" y="0"/>
                      </a:cubicBezTo>
                      <a:lnTo>
                        <a:pt x="0" y="76874"/>
                      </a:lnTo>
                      <a:lnTo>
                        <a:pt x="14293" y="227806"/>
                      </a:lnTo>
                      <a:cubicBezTo>
                        <a:pt x="14293" y="227806"/>
                        <a:pt x="46687" y="191660"/>
                        <a:pt x="137247" y="190942"/>
                      </a:cubicBezTo>
                      <a:cubicBezTo>
                        <a:pt x="158327" y="190777"/>
                        <a:pt x="170965" y="208712"/>
                        <a:pt x="170965" y="208712"/>
                      </a:cubicBezTo>
                      <a:lnTo>
                        <a:pt x="162963" y="190501"/>
                      </a:lnTo>
                      <a:close/>
                    </a:path>
                  </a:pathLst>
                </a:custGeom>
                <a:solidFill>
                  <a:srgbClr val="95B7A9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3" name="Freeform: Shape 932">
                  <a:extLst>
                    <a:ext uri="{FF2B5EF4-FFF2-40B4-BE49-F238E27FC236}">
                      <a16:creationId xmlns:a16="http://schemas.microsoft.com/office/drawing/2014/main" id="{E96F445F-F79D-4EAE-83F2-ED116EE654E6}"/>
                    </a:ext>
                  </a:extLst>
                </p:cNvPr>
                <p:cNvSpPr/>
                <p:nvPr/>
              </p:nvSpPr>
              <p:spPr>
                <a:xfrm>
                  <a:off x="7614771" y="-1758588"/>
                  <a:ext cx="18099" cy="66779"/>
                </a:xfrm>
                <a:custGeom>
                  <a:avLst/>
                  <a:gdLst>
                    <a:gd name="connsiteX0" fmla="*/ 17991 w 18099"/>
                    <a:gd name="connsiteY0" fmla="*/ 66777 h 66779"/>
                    <a:gd name="connsiteX1" fmla="*/ 7671 w 18099"/>
                    <a:gd name="connsiteY1" fmla="*/ 33776 h 66779"/>
                    <a:gd name="connsiteX2" fmla="*/ 110 w 18099"/>
                    <a:gd name="connsiteY2" fmla="*/ 2 h 66779"/>
                    <a:gd name="connsiteX3" fmla="*/ 10430 w 18099"/>
                    <a:gd name="connsiteY3" fmla="*/ 33003 h 66779"/>
                    <a:gd name="connsiteX4" fmla="*/ 17991 w 18099"/>
                    <a:gd name="connsiteY4" fmla="*/ 66777 h 66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99" h="66779">
                      <a:moveTo>
                        <a:pt x="17991" y="66777"/>
                      </a:moveTo>
                      <a:cubicBezTo>
                        <a:pt x="17218" y="66998"/>
                        <a:pt x="12582" y="52208"/>
                        <a:pt x="7671" y="33776"/>
                      </a:cubicBezTo>
                      <a:cubicBezTo>
                        <a:pt x="2704" y="15344"/>
                        <a:pt x="-662" y="223"/>
                        <a:pt x="110" y="2"/>
                      </a:cubicBezTo>
                      <a:cubicBezTo>
                        <a:pt x="883" y="-218"/>
                        <a:pt x="5519" y="14571"/>
                        <a:pt x="10430" y="33003"/>
                      </a:cubicBezTo>
                      <a:cubicBezTo>
                        <a:pt x="15342" y="51491"/>
                        <a:pt x="18763" y="66611"/>
                        <a:pt x="17991" y="6677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4" name="Freeform: Shape 933">
                  <a:extLst>
                    <a:ext uri="{FF2B5EF4-FFF2-40B4-BE49-F238E27FC236}">
                      <a16:creationId xmlns:a16="http://schemas.microsoft.com/office/drawing/2014/main" id="{9EFB4C91-CB93-4C24-9DE8-17C7A1DA150B}"/>
                    </a:ext>
                  </a:extLst>
                </p:cNvPr>
                <p:cNvSpPr/>
                <p:nvPr/>
              </p:nvSpPr>
              <p:spPr>
                <a:xfrm>
                  <a:off x="7833288" y="-1788948"/>
                  <a:ext cx="51256" cy="173734"/>
                </a:xfrm>
                <a:custGeom>
                  <a:avLst/>
                  <a:gdLst>
                    <a:gd name="connsiteX0" fmla="*/ 18 w 51256"/>
                    <a:gd name="connsiteY0" fmla="*/ 11 h 173734"/>
                    <a:gd name="connsiteX1" fmla="*/ 5702 w 51256"/>
                    <a:gd name="connsiteY1" fmla="*/ 4812 h 173734"/>
                    <a:gd name="connsiteX2" fmla="*/ 19388 w 51256"/>
                    <a:gd name="connsiteY2" fmla="*/ 19822 h 173734"/>
                    <a:gd name="connsiteX3" fmla="*/ 48691 w 51256"/>
                    <a:gd name="connsiteY3" fmla="*/ 79754 h 173734"/>
                    <a:gd name="connsiteX4" fmla="*/ 50457 w 51256"/>
                    <a:gd name="connsiteY4" fmla="*/ 116728 h 173734"/>
                    <a:gd name="connsiteX5" fmla="*/ 45490 w 51256"/>
                    <a:gd name="connsiteY5" fmla="*/ 146363 h 173734"/>
                    <a:gd name="connsiteX6" fmla="*/ 42731 w 51256"/>
                    <a:gd name="connsiteY6" fmla="*/ 166340 h 173734"/>
                    <a:gd name="connsiteX7" fmla="*/ 41959 w 51256"/>
                    <a:gd name="connsiteY7" fmla="*/ 173735 h 173734"/>
                    <a:gd name="connsiteX8" fmla="*/ 41627 w 51256"/>
                    <a:gd name="connsiteY8" fmla="*/ 166285 h 173734"/>
                    <a:gd name="connsiteX9" fmla="*/ 43504 w 51256"/>
                    <a:gd name="connsiteY9" fmla="*/ 146087 h 173734"/>
                    <a:gd name="connsiteX10" fmla="*/ 47863 w 51256"/>
                    <a:gd name="connsiteY10" fmla="*/ 116452 h 173734"/>
                    <a:gd name="connsiteX11" fmla="*/ 45932 w 51256"/>
                    <a:gd name="connsiteY11" fmla="*/ 80416 h 173734"/>
                    <a:gd name="connsiteX12" fmla="*/ 17842 w 51256"/>
                    <a:gd name="connsiteY12" fmla="*/ 21147 h 173734"/>
                    <a:gd name="connsiteX13" fmla="*/ 18 w 51256"/>
                    <a:gd name="connsiteY13" fmla="*/ 11 h 173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1256" h="173734">
                      <a:moveTo>
                        <a:pt x="18" y="11"/>
                      </a:moveTo>
                      <a:cubicBezTo>
                        <a:pt x="128" y="-155"/>
                        <a:pt x="2170" y="1611"/>
                        <a:pt x="5702" y="4812"/>
                      </a:cubicBezTo>
                      <a:cubicBezTo>
                        <a:pt x="9123" y="8123"/>
                        <a:pt x="14035" y="13090"/>
                        <a:pt x="19388" y="19822"/>
                      </a:cubicBezTo>
                      <a:cubicBezTo>
                        <a:pt x="30094" y="33067"/>
                        <a:pt x="43173" y="53817"/>
                        <a:pt x="48691" y="79754"/>
                      </a:cubicBezTo>
                      <a:cubicBezTo>
                        <a:pt x="51451" y="92667"/>
                        <a:pt x="51892" y="105360"/>
                        <a:pt x="50457" y="116728"/>
                      </a:cubicBezTo>
                      <a:cubicBezTo>
                        <a:pt x="49022" y="128041"/>
                        <a:pt x="46870" y="137975"/>
                        <a:pt x="45490" y="146363"/>
                      </a:cubicBezTo>
                      <a:cubicBezTo>
                        <a:pt x="44056" y="154751"/>
                        <a:pt x="43173" y="161594"/>
                        <a:pt x="42731" y="166340"/>
                      </a:cubicBezTo>
                      <a:cubicBezTo>
                        <a:pt x="42290" y="171086"/>
                        <a:pt x="42179" y="173735"/>
                        <a:pt x="41959" y="173735"/>
                      </a:cubicBezTo>
                      <a:cubicBezTo>
                        <a:pt x="41793" y="173735"/>
                        <a:pt x="41517" y="171086"/>
                        <a:pt x="41627" y="166285"/>
                      </a:cubicBezTo>
                      <a:cubicBezTo>
                        <a:pt x="41738" y="161484"/>
                        <a:pt x="42290" y="154530"/>
                        <a:pt x="43504" y="146087"/>
                      </a:cubicBezTo>
                      <a:cubicBezTo>
                        <a:pt x="44663" y="137588"/>
                        <a:pt x="46594" y="127600"/>
                        <a:pt x="47863" y="116452"/>
                      </a:cubicBezTo>
                      <a:cubicBezTo>
                        <a:pt x="49133" y="105360"/>
                        <a:pt x="48581" y="92998"/>
                        <a:pt x="45932" y="80416"/>
                      </a:cubicBezTo>
                      <a:cubicBezTo>
                        <a:pt x="40579" y="55086"/>
                        <a:pt x="28052" y="34557"/>
                        <a:pt x="17842" y="21147"/>
                      </a:cubicBezTo>
                      <a:cubicBezTo>
                        <a:pt x="7523" y="7516"/>
                        <a:pt x="-424" y="452"/>
                        <a:pt x="18" y="1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5" name="Freeform: Shape 934">
                  <a:extLst>
                    <a:ext uri="{FF2B5EF4-FFF2-40B4-BE49-F238E27FC236}">
                      <a16:creationId xmlns:a16="http://schemas.microsoft.com/office/drawing/2014/main" id="{CCBB9DB5-83A3-4148-B62D-FB7CE6A067EA}"/>
                    </a:ext>
                  </a:extLst>
                </p:cNvPr>
                <p:cNvSpPr/>
                <p:nvPr/>
              </p:nvSpPr>
              <p:spPr>
                <a:xfrm>
                  <a:off x="7632866" y="-1487419"/>
                  <a:ext cx="144262" cy="49575"/>
                </a:xfrm>
                <a:custGeom>
                  <a:avLst/>
                  <a:gdLst>
                    <a:gd name="connsiteX0" fmla="*/ 144261 w 144262"/>
                    <a:gd name="connsiteY0" fmla="*/ 44772 h 49575"/>
                    <a:gd name="connsiteX1" fmla="*/ 138246 w 144262"/>
                    <a:gd name="connsiteY1" fmla="*/ 46537 h 49575"/>
                    <a:gd name="connsiteX2" fmla="*/ 131072 w 144262"/>
                    <a:gd name="connsiteY2" fmla="*/ 47917 h 49575"/>
                    <a:gd name="connsiteX3" fmla="*/ 121414 w 144262"/>
                    <a:gd name="connsiteY3" fmla="*/ 49076 h 49575"/>
                    <a:gd name="connsiteX4" fmla="*/ 96139 w 144262"/>
                    <a:gd name="connsiteY4" fmla="*/ 48911 h 49575"/>
                    <a:gd name="connsiteX5" fmla="*/ 65787 w 144262"/>
                    <a:gd name="connsiteY5" fmla="*/ 42840 h 49575"/>
                    <a:gd name="connsiteX6" fmla="*/ 37312 w 144262"/>
                    <a:gd name="connsiteY6" fmla="*/ 30644 h 49575"/>
                    <a:gd name="connsiteX7" fmla="*/ 16396 w 144262"/>
                    <a:gd name="connsiteY7" fmla="*/ 16461 h 49575"/>
                    <a:gd name="connsiteX8" fmla="*/ 9112 w 144262"/>
                    <a:gd name="connsiteY8" fmla="*/ 10060 h 49575"/>
                    <a:gd name="connsiteX9" fmla="*/ 3980 w 144262"/>
                    <a:gd name="connsiteY9" fmla="*/ 4817 h 49575"/>
                    <a:gd name="connsiteX10" fmla="*/ 6 w 144262"/>
                    <a:gd name="connsiteY10" fmla="*/ 16 h 49575"/>
                    <a:gd name="connsiteX11" fmla="*/ 17610 w 144262"/>
                    <a:gd name="connsiteY11" fmla="*/ 14861 h 49575"/>
                    <a:gd name="connsiteX12" fmla="*/ 38526 w 144262"/>
                    <a:gd name="connsiteY12" fmla="*/ 28326 h 49575"/>
                    <a:gd name="connsiteX13" fmla="*/ 66560 w 144262"/>
                    <a:gd name="connsiteY13" fmla="*/ 40081 h 49575"/>
                    <a:gd name="connsiteX14" fmla="*/ 96360 w 144262"/>
                    <a:gd name="connsiteY14" fmla="*/ 46262 h 49575"/>
                    <a:gd name="connsiteX15" fmla="*/ 121249 w 144262"/>
                    <a:gd name="connsiteY15" fmla="*/ 47034 h 49575"/>
                    <a:gd name="connsiteX16" fmla="*/ 144261 w 144262"/>
                    <a:gd name="connsiteY16" fmla="*/ 44772 h 49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4262" h="49575">
                      <a:moveTo>
                        <a:pt x="144261" y="44772"/>
                      </a:moveTo>
                      <a:cubicBezTo>
                        <a:pt x="144316" y="44992"/>
                        <a:pt x="142164" y="45599"/>
                        <a:pt x="138246" y="46537"/>
                      </a:cubicBezTo>
                      <a:cubicBezTo>
                        <a:pt x="136315" y="47034"/>
                        <a:pt x="133886" y="47586"/>
                        <a:pt x="131072" y="47917"/>
                      </a:cubicBezTo>
                      <a:cubicBezTo>
                        <a:pt x="128257" y="48303"/>
                        <a:pt x="125057" y="48911"/>
                        <a:pt x="121414" y="49076"/>
                      </a:cubicBezTo>
                      <a:cubicBezTo>
                        <a:pt x="114240" y="49793"/>
                        <a:pt x="105631" y="49738"/>
                        <a:pt x="96139" y="48911"/>
                      </a:cubicBezTo>
                      <a:cubicBezTo>
                        <a:pt x="86648" y="47917"/>
                        <a:pt x="76328" y="46041"/>
                        <a:pt x="65787" y="42840"/>
                      </a:cubicBezTo>
                      <a:cubicBezTo>
                        <a:pt x="55302" y="39529"/>
                        <a:pt x="45700" y="35224"/>
                        <a:pt x="37312" y="30644"/>
                      </a:cubicBezTo>
                      <a:cubicBezTo>
                        <a:pt x="29034" y="25953"/>
                        <a:pt x="21915" y="21097"/>
                        <a:pt x="16396" y="16461"/>
                      </a:cubicBezTo>
                      <a:cubicBezTo>
                        <a:pt x="13527" y="14309"/>
                        <a:pt x="11209" y="11991"/>
                        <a:pt x="9112" y="10060"/>
                      </a:cubicBezTo>
                      <a:cubicBezTo>
                        <a:pt x="6960" y="8184"/>
                        <a:pt x="5304" y="6362"/>
                        <a:pt x="3980" y="4817"/>
                      </a:cubicBezTo>
                      <a:cubicBezTo>
                        <a:pt x="1275" y="1837"/>
                        <a:pt x="-104" y="126"/>
                        <a:pt x="6" y="16"/>
                      </a:cubicBezTo>
                      <a:cubicBezTo>
                        <a:pt x="392" y="-370"/>
                        <a:pt x="6352" y="6252"/>
                        <a:pt x="17610" y="14861"/>
                      </a:cubicBezTo>
                      <a:cubicBezTo>
                        <a:pt x="23184" y="19221"/>
                        <a:pt x="30303" y="23801"/>
                        <a:pt x="38526" y="28326"/>
                      </a:cubicBezTo>
                      <a:cubicBezTo>
                        <a:pt x="46804" y="32686"/>
                        <a:pt x="56295" y="36825"/>
                        <a:pt x="66560" y="40081"/>
                      </a:cubicBezTo>
                      <a:cubicBezTo>
                        <a:pt x="76880" y="43226"/>
                        <a:pt x="87034" y="45158"/>
                        <a:pt x="96360" y="46262"/>
                      </a:cubicBezTo>
                      <a:cubicBezTo>
                        <a:pt x="105686" y="47200"/>
                        <a:pt x="114130" y="47420"/>
                        <a:pt x="121249" y="47034"/>
                      </a:cubicBezTo>
                      <a:cubicBezTo>
                        <a:pt x="135487" y="46317"/>
                        <a:pt x="144151" y="44220"/>
                        <a:pt x="144261" y="4477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6" name="Freeform: Shape 935">
                  <a:extLst>
                    <a:ext uri="{FF2B5EF4-FFF2-40B4-BE49-F238E27FC236}">
                      <a16:creationId xmlns:a16="http://schemas.microsoft.com/office/drawing/2014/main" id="{F96B0C3C-F26C-46E6-87B8-626DED6BE58A}"/>
                    </a:ext>
                  </a:extLst>
                </p:cNvPr>
                <p:cNvSpPr/>
                <p:nvPr/>
              </p:nvSpPr>
              <p:spPr>
                <a:xfrm>
                  <a:off x="7844551" y="-1474104"/>
                  <a:ext cx="20019" cy="49433"/>
                </a:xfrm>
                <a:custGeom>
                  <a:avLst/>
                  <a:gdLst>
                    <a:gd name="connsiteX0" fmla="*/ 17507 w 20019"/>
                    <a:gd name="connsiteY0" fmla="*/ 1 h 49433"/>
                    <a:gd name="connsiteX1" fmla="*/ 19604 w 20019"/>
                    <a:gd name="connsiteY1" fmla="*/ 8058 h 49433"/>
                    <a:gd name="connsiteX2" fmla="*/ 18114 w 20019"/>
                    <a:gd name="connsiteY2" fmla="*/ 28145 h 49433"/>
                    <a:gd name="connsiteX3" fmla="*/ 7297 w 20019"/>
                    <a:gd name="connsiteY3" fmla="*/ 45253 h 49433"/>
                    <a:gd name="connsiteX4" fmla="*/ 13 w 20019"/>
                    <a:gd name="connsiteY4" fmla="*/ 49392 h 49433"/>
                    <a:gd name="connsiteX5" fmla="*/ 5918 w 20019"/>
                    <a:gd name="connsiteY5" fmla="*/ 43763 h 49433"/>
                    <a:gd name="connsiteX6" fmla="*/ 15355 w 20019"/>
                    <a:gd name="connsiteY6" fmla="*/ 27318 h 49433"/>
                    <a:gd name="connsiteX7" fmla="*/ 17507 w 20019"/>
                    <a:gd name="connsiteY7" fmla="*/ 1 h 49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019" h="49433">
                      <a:moveTo>
                        <a:pt x="17507" y="1"/>
                      </a:moveTo>
                      <a:cubicBezTo>
                        <a:pt x="17838" y="-54"/>
                        <a:pt x="18942" y="2926"/>
                        <a:pt x="19604" y="8058"/>
                      </a:cubicBezTo>
                      <a:cubicBezTo>
                        <a:pt x="20266" y="13135"/>
                        <a:pt x="20376" y="20475"/>
                        <a:pt x="18114" y="28145"/>
                      </a:cubicBezTo>
                      <a:cubicBezTo>
                        <a:pt x="15906" y="35871"/>
                        <a:pt x="11326" y="41942"/>
                        <a:pt x="7297" y="45253"/>
                      </a:cubicBezTo>
                      <a:cubicBezTo>
                        <a:pt x="3269" y="48619"/>
                        <a:pt x="179" y="49668"/>
                        <a:pt x="13" y="49392"/>
                      </a:cubicBezTo>
                      <a:cubicBezTo>
                        <a:pt x="-208" y="49005"/>
                        <a:pt x="2441" y="47295"/>
                        <a:pt x="5918" y="43763"/>
                      </a:cubicBezTo>
                      <a:cubicBezTo>
                        <a:pt x="9339" y="40286"/>
                        <a:pt x="13313" y="34547"/>
                        <a:pt x="15355" y="27318"/>
                      </a:cubicBezTo>
                      <a:cubicBezTo>
                        <a:pt x="19604" y="12749"/>
                        <a:pt x="16458" y="56"/>
                        <a:pt x="17507" y="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7" name="Freeform: Shape 936">
                  <a:extLst>
                    <a:ext uri="{FF2B5EF4-FFF2-40B4-BE49-F238E27FC236}">
                      <a16:creationId xmlns:a16="http://schemas.microsoft.com/office/drawing/2014/main" id="{D7FB3FC8-7D92-4F98-B969-197EACFCDC7E}"/>
                    </a:ext>
                  </a:extLst>
                </p:cNvPr>
                <p:cNvSpPr/>
                <p:nvPr/>
              </p:nvSpPr>
              <p:spPr>
                <a:xfrm>
                  <a:off x="7835243" y="-1454681"/>
                  <a:ext cx="12762" cy="30514"/>
                </a:xfrm>
                <a:custGeom>
                  <a:avLst/>
                  <a:gdLst>
                    <a:gd name="connsiteX0" fmla="*/ 11859 w 12762"/>
                    <a:gd name="connsiteY0" fmla="*/ 3 h 30514"/>
                    <a:gd name="connsiteX1" fmla="*/ 10479 w 12762"/>
                    <a:gd name="connsiteY1" fmla="*/ 17000 h 30514"/>
                    <a:gd name="connsiteX2" fmla="*/ 49 w 12762"/>
                    <a:gd name="connsiteY2" fmla="*/ 30465 h 30514"/>
                    <a:gd name="connsiteX3" fmla="*/ 7775 w 12762"/>
                    <a:gd name="connsiteY3" fmla="*/ 15951 h 30514"/>
                    <a:gd name="connsiteX4" fmla="*/ 11859 w 12762"/>
                    <a:gd name="connsiteY4" fmla="*/ 3 h 30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762" h="30514">
                      <a:moveTo>
                        <a:pt x="11859" y="3"/>
                      </a:moveTo>
                      <a:cubicBezTo>
                        <a:pt x="12577" y="-163"/>
                        <a:pt x="14011" y="7894"/>
                        <a:pt x="10479" y="17000"/>
                      </a:cubicBezTo>
                      <a:cubicBezTo>
                        <a:pt x="7003" y="26105"/>
                        <a:pt x="491" y="31072"/>
                        <a:pt x="49" y="30465"/>
                      </a:cubicBezTo>
                      <a:cubicBezTo>
                        <a:pt x="-558" y="29858"/>
                        <a:pt x="4575" y="24395"/>
                        <a:pt x="7775" y="15951"/>
                      </a:cubicBezTo>
                      <a:cubicBezTo>
                        <a:pt x="11142" y="7563"/>
                        <a:pt x="11031" y="58"/>
                        <a:pt x="11859" y="3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8" name="Freeform: Shape 937">
                  <a:extLst>
                    <a:ext uri="{FF2B5EF4-FFF2-40B4-BE49-F238E27FC236}">
                      <a16:creationId xmlns:a16="http://schemas.microsoft.com/office/drawing/2014/main" id="{57DD7323-D6D6-40DA-81D8-E55ACDF8B759}"/>
                    </a:ext>
                  </a:extLst>
                </p:cNvPr>
                <p:cNvSpPr/>
                <p:nvPr/>
              </p:nvSpPr>
              <p:spPr>
                <a:xfrm>
                  <a:off x="7778275" y="-1636280"/>
                  <a:ext cx="19650" cy="28418"/>
                </a:xfrm>
                <a:custGeom>
                  <a:avLst/>
                  <a:gdLst>
                    <a:gd name="connsiteX0" fmla="*/ 19601 w 19650"/>
                    <a:gd name="connsiteY0" fmla="*/ 41 h 28418"/>
                    <a:gd name="connsiteX1" fmla="*/ 9778 w 19650"/>
                    <a:gd name="connsiteY1" fmla="*/ 14169 h 28418"/>
                    <a:gd name="connsiteX2" fmla="*/ 121 w 19650"/>
                    <a:gd name="connsiteY2" fmla="*/ 28407 h 28418"/>
                    <a:gd name="connsiteX3" fmla="*/ 7405 w 19650"/>
                    <a:gd name="connsiteY3" fmla="*/ 12568 h 28418"/>
                    <a:gd name="connsiteX4" fmla="*/ 19601 w 19650"/>
                    <a:gd name="connsiteY4" fmla="*/ 41 h 28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50" h="28418">
                      <a:moveTo>
                        <a:pt x="19601" y="41"/>
                      </a:moveTo>
                      <a:cubicBezTo>
                        <a:pt x="20208" y="648"/>
                        <a:pt x="15076" y="6388"/>
                        <a:pt x="9778" y="14169"/>
                      </a:cubicBezTo>
                      <a:cubicBezTo>
                        <a:pt x="4425" y="21895"/>
                        <a:pt x="894" y="28738"/>
                        <a:pt x="121" y="28407"/>
                      </a:cubicBezTo>
                      <a:cubicBezTo>
                        <a:pt x="-597" y="28131"/>
                        <a:pt x="1887" y="20570"/>
                        <a:pt x="7405" y="12568"/>
                      </a:cubicBezTo>
                      <a:cubicBezTo>
                        <a:pt x="12869" y="4511"/>
                        <a:pt x="19049" y="-511"/>
                        <a:pt x="19601" y="4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9" name="Freeform: Shape 938">
                  <a:extLst>
                    <a:ext uri="{FF2B5EF4-FFF2-40B4-BE49-F238E27FC236}">
                      <a16:creationId xmlns:a16="http://schemas.microsoft.com/office/drawing/2014/main" id="{20F0D713-B4C5-445D-BEE1-FBF6D52227B4}"/>
                    </a:ext>
                  </a:extLst>
                </p:cNvPr>
                <p:cNvSpPr/>
                <p:nvPr/>
              </p:nvSpPr>
              <p:spPr>
                <a:xfrm>
                  <a:off x="7517148" y="-1804647"/>
                  <a:ext cx="91892" cy="34770"/>
                </a:xfrm>
                <a:custGeom>
                  <a:avLst/>
                  <a:gdLst>
                    <a:gd name="connsiteX0" fmla="*/ 91884 w 91892"/>
                    <a:gd name="connsiteY0" fmla="*/ 34748 h 34770"/>
                    <a:gd name="connsiteX1" fmla="*/ 79688 w 91892"/>
                    <a:gd name="connsiteY1" fmla="*/ 26691 h 34770"/>
                    <a:gd name="connsiteX2" fmla="*/ 48453 w 91892"/>
                    <a:gd name="connsiteY2" fmla="*/ 10853 h 34770"/>
                    <a:gd name="connsiteX3" fmla="*/ 14514 w 91892"/>
                    <a:gd name="connsiteY3" fmla="*/ 2354 h 34770"/>
                    <a:gd name="connsiteX4" fmla="*/ 0 w 91892"/>
                    <a:gd name="connsiteY4" fmla="*/ 478 h 34770"/>
                    <a:gd name="connsiteX5" fmla="*/ 14735 w 91892"/>
                    <a:gd name="connsiteY5" fmla="*/ 368 h 34770"/>
                    <a:gd name="connsiteX6" fmla="*/ 49446 w 91892"/>
                    <a:gd name="connsiteY6" fmla="*/ 8204 h 34770"/>
                    <a:gd name="connsiteX7" fmla="*/ 80792 w 91892"/>
                    <a:gd name="connsiteY7" fmla="*/ 25036 h 34770"/>
                    <a:gd name="connsiteX8" fmla="*/ 91884 w 91892"/>
                    <a:gd name="connsiteY8" fmla="*/ 34748 h 34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1892" h="34770">
                      <a:moveTo>
                        <a:pt x="91884" y="34748"/>
                      </a:moveTo>
                      <a:cubicBezTo>
                        <a:pt x="91553" y="35079"/>
                        <a:pt x="87193" y="31603"/>
                        <a:pt x="79688" y="26691"/>
                      </a:cubicBezTo>
                      <a:cubicBezTo>
                        <a:pt x="72183" y="21780"/>
                        <a:pt x="61311" y="15709"/>
                        <a:pt x="48453" y="10853"/>
                      </a:cubicBezTo>
                      <a:cubicBezTo>
                        <a:pt x="35595" y="6107"/>
                        <a:pt x="23399" y="3568"/>
                        <a:pt x="14514" y="2354"/>
                      </a:cubicBezTo>
                      <a:cubicBezTo>
                        <a:pt x="5629" y="1140"/>
                        <a:pt x="0" y="919"/>
                        <a:pt x="0" y="478"/>
                      </a:cubicBezTo>
                      <a:cubicBezTo>
                        <a:pt x="0" y="147"/>
                        <a:pt x="5629" y="-350"/>
                        <a:pt x="14735" y="368"/>
                      </a:cubicBezTo>
                      <a:cubicBezTo>
                        <a:pt x="23840" y="1085"/>
                        <a:pt x="36367" y="3348"/>
                        <a:pt x="49446" y="8204"/>
                      </a:cubicBezTo>
                      <a:cubicBezTo>
                        <a:pt x="62525" y="13116"/>
                        <a:pt x="73507" y="19627"/>
                        <a:pt x="80792" y="25036"/>
                      </a:cubicBezTo>
                      <a:cubicBezTo>
                        <a:pt x="88187" y="30444"/>
                        <a:pt x="92105" y="34527"/>
                        <a:pt x="91884" y="3474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0" name="Freeform: Shape 939">
                  <a:extLst>
                    <a:ext uri="{FF2B5EF4-FFF2-40B4-BE49-F238E27FC236}">
                      <a16:creationId xmlns:a16="http://schemas.microsoft.com/office/drawing/2014/main" id="{166F1128-957C-4530-BDA1-BC2C4B384EA1}"/>
                    </a:ext>
                  </a:extLst>
                </p:cNvPr>
                <p:cNvSpPr/>
                <p:nvPr/>
              </p:nvSpPr>
              <p:spPr>
                <a:xfrm>
                  <a:off x="7850359" y="-1857460"/>
                  <a:ext cx="48908" cy="58099"/>
                </a:xfrm>
                <a:custGeom>
                  <a:avLst/>
                  <a:gdLst>
                    <a:gd name="connsiteX0" fmla="*/ 48894 w 48908"/>
                    <a:gd name="connsiteY0" fmla="*/ 37 h 58099"/>
                    <a:gd name="connsiteX1" fmla="*/ 21025 w 48908"/>
                    <a:gd name="connsiteY1" fmla="*/ 26140 h 58099"/>
                    <a:gd name="connsiteX2" fmla="*/ 55 w 48908"/>
                    <a:gd name="connsiteY2" fmla="*/ 58093 h 58099"/>
                    <a:gd name="connsiteX3" fmla="*/ 3918 w 48908"/>
                    <a:gd name="connsiteY3" fmla="*/ 47386 h 58099"/>
                    <a:gd name="connsiteX4" fmla="*/ 18818 w 48908"/>
                    <a:gd name="connsiteY4" fmla="*/ 24319 h 58099"/>
                    <a:gd name="connsiteX5" fmla="*/ 39016 w 48908"/>
                    <a:gd name="connsiteY5" fmla="*/ 5666 h 58099"/>
                    <a:gd name="connsiteX6" fmla="*/ 48894 w 48908"/>
                    <a:gd name="connsiteY6" fmla="*/ 37 h 58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908" h="58099">
                      <a:moveTo>
                        <a:pt x="48894" y="37"/>
                      </a:moveTo>
                      <a:cubicBezTo>
                        <a:pt x="49446" y="810"/>
                        <a:pt x="34546" y="9860"/>
                        <a:pt x="21025" y="26140"/>
                      </a:cubicBezTo>
                      <a:cubicBezTo>
                        <a:pt x="7339" y="42254"/>
                        <a:pt x="882" y="58479"/>
                        <a:pt x="55" y="58093"/>
                      </a:cubicBezTo>
                      <a:cubicBezTo>
                        <a:pt x="-277" y="57982"/>
                        <a:pt x="882" y="53788"/>
                        <a:pt x="3918" y="47386"/>
                      </a:cubicBezTo>
                      <a:cubicBezTo>
                        <a:pt x="6898" y="41040"/>
                        <a:pt x="11920" y="32597"/>
                        <a:pt x="18818" y="24319"/>
                      </a:cubicBezTo>
                      <a:cubicBezTo>
                        <a:pt x="25771" y="16096"/>
                        <a:pt x="33221" y="9695"/>
                        <a:pt x="39016" y="5666"/>
                      </a:cubicBezTo>
                      <a:cubicBezTo>
                        <a:pt x="44810" y="1582"/>
                        <a:pt x="48728" y="-294"/>
                        <a:pt x="48894" y="3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1" name="Freeform: Shape 940">
                  <a:extLst>
                    <a:ext uri="{FF2B5EF4-FFF2-40B4-BE49-F238E27FC236}">
                      <a16:creationId xmlns:a16="http://schemas.microsoft.com/office/drawing/2014/main" id="{5C67D1F2-15B3-4D1A-AEE5-594E1AF70E08}"/>
                    </a:ext>
                  </a:extLst>
                </p:cNvPr>
                <p:cNvSpPr/>
                <p:nvPr/>
              </p:nvSpPr>
              <p:spPr>
                <a:xfrm>
                  <a:off x="7626189" y="-1902898"/>
                  <a:ext cx="165030" cy="96301"/>
                </a:xfrm>
                <a:custGeom>
                  <a:avLst/>
                  <a:gdLst>
                    <a:gd name="connsiteX0" fmla="*/ 159491 w 165030"/>
                    <a:gd name="connsiteY0" fmla="*/ 2 h 96301"/>
                    <a:gd name="connsiteX1" fmla="*/ 160761 w 165030"/>
                    <a:gd name="connsiteY1" fmla="*/ 2541 h 96301"/>
                    <a:gd name="connsiteX2" fmla="*/ 163354 w 165030"/>
                    <a:gd name="connsiteY2" fmla="*/ 10267 h 96301"/>
                    <a:gd name="connsiteX3" fmla="*/ 163244 w 165030"/>
                    <a:gd name="connsiteY3" fmla="*/ 40178 h 96301"/>
                    <a:gd name="connsiteX4" fmla="*/ 140728 w 165030"/>
                    <a:gd name="connsiteY4" fmla="*/ 78200 h 96301"/>
                    <a:gd name="connsiteX5" fmla="*/ 89957 w 165030"/>
                    <a:gd name="connsiteY5" fmla="*/ 96301 h 96301"/>
                    <a:gd name="connsiteX6" fmla="*/ 38690 w 165030"/>
                    <a:gd name="connsiteY6" fmla="*/ 79194 h 96301"/>
                    <a:gd name="connsiteX7" fmla="*/ 10490 w 165030"/>
                    <a:gd name="connsiteY7" fmla="*/ 44979 h 96301"/>
                    <a:gd name="connsiteX8" fmla="*/ 1109 w 165030"/>
                    <a:gd name="connsiteY8" fmla="*/ 16558 h 96301"/>
                    <a:gd name="connsiteX9" fmla="*/ 115 w 165030"/>
                    <a:gd name="connsiteY9" fmla="*/ 8501 h 96301"/>
                    <a:gd name="connsiteX10" fmla="*/ 60 w 165030"/>
                    <a:gd name="connsiteY10" fmla="*/ 5687 h 96301"/>
                    <a:gd name="connsiteX11" fmla="*/ 2212 w 165030"/>
                    <a:gd name="connsiteY11" fmla="*/ 16393 h 96301"/>
                    <a:gd name="connsiteX12" fmla="*/ 12311 w 165030"/>
                    <a:gd name="connsiteY12" fmla="*/ 44096 h 96301"/>
                    <a:gd name="connsiteX13" fmla="*/ 40290 w 165030"/>
                    <a:gd name="connsiteY13" fmla="*/ 77097 h 96301"/>
                    <a:gd name="connsiteX14" fmla="*/ 90013 w 165030"/>
                    <a:gd name="connsiteY14" fmla="*/ 93487 h 96301"/>
                    <a:gd name="connsiteX15" fmla="*/ 139018 w 165030"/>
                    <a:gd name="connsiteY15" fmla="*/ 76269 h 96301"/>
                    <a:gd name="connsiteX16" fmla="*/ 161312 w 165030"/>
                    <a:gd name="connsiteY16" fmla="*/ 39736 h 96301"/>
                    <a:gd name="connsiteX17" fmla="*/ 162306 w 165030"/>
                    <a:gd name="connsiteY17" fmla="*/ 10543 h 96301"/>
                    <a:gd name="connsiteX18" fmla="*/ 159491 w 165030"/>
                    <a:gd name="connsiteY18" fmla="*/ 2 h 96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65030" h="96301">
                      <a:moveTo>
                        <a:pt x="159491" y="2"/>
                      </a:moveTo>
                      <a:cubicBezTo>
                        <a:pt x="159602" y="-53"/>
                        <a:pt x="159988" y="830"/>
                        <a:pt x="160761" y="2541"/>
                      </a:cubicBezTo>
                      <a:cubicBezTo>
                        <a:pt x="161588" y="4252"/>
                        <a:pt x="162416" y="6845"/>
                        <a:pt x="163354" y="10267"/>
                      </a:cubicBezTo>
                      <a:cubicBezTo>
                        <a:pt x="165120" y="17110"/>
                        <a:pt x="166058" y="27650"/>
                        <a:pt x="163244" y="40178"/>
                      </a:cubicBezTo>
                      <a:cubicBezTo>
                        <a:pt x="160374" y="52539"/>
                        <a:pt x="153476" y="66887"/>
                        <a:pt x="140728" y="78200"/>
                      </a:cubicBezTo>
                      <a:cubicBezTo>
                        <a:pt x="128091" y="89569"/>
                        <a:pt x="109438" y="96356"/>
                        <a:pt x="89957" y="96301"/>
                      </a:cubicBezTo>
                      <a:cubicBezTo>
                        <a:pt x="70422" y="96191"/>
                        <a:pt x="52045" y="89458"/>
                        <a:pt x="38690" y="79194"/>
                      </a:cubicBezTo>
                      <a:cubicBezTo>
                        <a:pt x="25170" y="68984"/>
                        <a:pt x="16174" y="56292"/>
                        <a:pt x="10490" y="44979"/>
                      </a:cubicBezTo>
                      <a:cubicBezTo>
                        <a:pt x="4861" y="33555"/>
                        <a:pt x="2268" y="23512"/>
                        <a:pt x="1109" y="16558"/>
                      </a:cubicBezTo>
                      <a:cubicBezTo>
                        <a:pt x="557" y="13081"/>
                        <a:pt x="171" y="10322"/>
                        <a:pt x="115" y="8501"/>
                      </a:cubicBezTo>
                      <a:cubicBezTo>
                        <a:pt x="5" y="6625"/>
                        <a:pt x="-50" y="5687"/>
                        <a:pt x="60" y="5687"/>
                      </a:cubicBezTo>
                      <a:cubicBezTo>
                        <a:pt x="336" y="5631"/>
                        <a:pt x="667" y="9550"/>
                        <a:pt x="2212" y="16393"/>
                      </a:cubicBezTo>
                      <a:cubicBezTo>
                        <a:pt x="3702" y="23236"/>
                        <a:pt x="6572" y="33003"/>
                        <a:pt x="12311" y="44096"/>
                      </a:cubicBezTo>
                      <a:cubicBezTo>
                        <a:pt x="18161" y="55022"/>
                        <a:pt x="27046" y="67329"/>
                        <a:pt x="40290" y="77097"/>
                      </a:cubicBezTo>
                      <a:cubicBezTo>
                        <a:pt x="53314" y="86975"/>
                        <a:pt x="71084" y="93321"/>
                        <a:pt x="90013" y="93487"/>
                      </a:cubicBezTo>
                      <a:cubicBezTo>
                        <a:pt x="108886" y="93542"/>
                        <a:pt x="126821" y="87085"/>
                        <a:pt x="139018" y="76269"/>
                      </a:cubicBezTo>
                      <a:cubicBezTo>
                        <a:pt x="151379" y="65508"/>
                        <a:pt x="158277" y="51711"/>
                        <a:pt x="161312" y="39736"/>
                      </a:cubicBezTo>
                      <a:cubicBezTo>
                        <a:pt x="164292" y="27650"/>
                        <a:pt x="163685" y="17386"/>
                        <a:pt x="162306" y="10543"/>
                      </a:cubicBezTo>
                      <a:cubicBezTo>
                        <a:pt x="160816" y="3645"/>
                        <a:pt x="159160" y="113"/>
                        <a:pt x="159491" y="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2" name="Freeform: Shape 941">
                  <a:extLst>
                    <a:ext uri="{FF2B5EF4-FFF2-40B4-BE49-F238E27FC236}">
                      <a16:creationId xmlns:a16="http://schemas.microsoft.com/office/drawing/2014/main" id="{53E452AD-6648-4301-BD03-F774B59E8AB7}"/>
                    </a:ext>
                  </a:extLst>
                </p:cNvPr>
                <p:cNvSpPr/>
                <p:nvPr/>
              </p:nvSpPr>
              <p:spPr>
                <a:xfrm>
                  <a:off x="7778451" y="-1634438"/>
                  <a:ext cx="27040" cy="27557"/>
                </a:xfrm>
                <a:custGeom>
                  <a:avLst/>
                  <a:gdLst>
                    <a:gd name="connsiteX0" fmla="*/ 26544 w 27040"/>
                    <a:gd name="connsiteY0" fmla="*/ 7967 h 27557"/>
                    <a:gd name="connsiteX1" fmla="*/ 23730 w 27040"/>
                    <a:gd name="connsiteY1" fmla="*/ 572 h 27557"/>
                    <a:gd name="connsiteX2" fmla="*/ 18708 w 27040"/>
                    <a:gd name="connsiteY2" fmla="*/ 682 h 27557"/>
                    <a:gd name="connsiteX3" fmla="*/ 14734 w 27040"/>
                    <a:gd name="connsiteY3" fmla="*/ 3993 h 27557"/>
                    <a:gd name="connsiteX4" fmla="*/ 0 w 27040"/>
                    <a:gd name="connsiteY4" fmla="*/ 27558 h 27557"/>
                    <a:gd name="connsiteX5" fmla="*/ 27041 w 27040"/>
                    <a:gd name="connsiteY5" fmla="*/ 25240 h 27557"/>
                    <a:gd name="connsiteX6" fmla="*/ 26544 w 27040"/>
                    <a:gd name="connsiteY6" fmla="*/ 7967 h 27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7040" h="27557">
                      <a:moveTo>
                        <a:pt x="26544" y="7967"/>
                      </a:moveTo>
                      <a:cubicBezTo>
                        <a:pt x="26434" y="5207"/>
                        <a:pt x="26103" y="1951"/>
                        <a:pt x="23730" y="572"/>
                      </a:cubicBezTo>
                      <a:cubicBezTo>
                        <a:pt x="22240" y="-311"/>
                        <a:pt x="20308" y="-90"/>
                        <a:pt x="18708" y="682"/>
                      </a:cubicBezTo>
                      <a:cubicBezTo>
                        <a:pt x="17163" y="1455"/>
                        <a:pt x="15893" y="2724"/>
                        <a:pt x="14734" y="3993"/>
                      </a:cubicBezTo>
                      <a:cubicBezTo>
                        <a:pt x="8057" y="11223"/>
                        <a:pt x="3366" y="18286"/>
                        <a:pt x="0" y="27558"/>
                      </a:cubicBezTo>
                      <a:lnTo>
                        <a:pt x="27041" y="25240"/>
                      </a:lnTo>
                      <a:cubicBezTo>
                        <a:pt x="26820" y="19500"/>
                        <a:pt x="26710" y="13651"/>
                        <a:pt x="26544" y="796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3" name="Freeform: Shape 942">
                  <a:extLst>
                    <a:ext uri="{FF2B5EF4-FFF2-40B4-BE49-F238E27FC236}">
                      <a16:creationId xmlns:a16="http://schemas.microsoft.com/office/drawing/2014/main" id="{7D67FC3A-636D-4B47-9294-06F0BF4D9780}"/>
                    </a:ext>
                  </a:extLst>
                </p:cNvPr>
                <p:cNvSpPr/>
                <p:nvPr/>
              </p:nvSpPr>
              <p:spPr>
                <a:xfrm>
                  <a:off x="7875192" y="-1725308"/>
                  <a:ext cx="19829" cy="85868"/>
                </a:xfrm>
                <a:custGeom>
                  <a:avLst/>
                  <a:gdLst>
                    <a:gd name="connsiteX0" fmla="*/ 19591 w 19829"/>
                    <a:gd name="connsiteY0" fmla="*/ 41941 h 85868"/>
                    <a:gd name="connsiteX1" fmla="*/ 0 w 19829"/>
                    <a:gd name="connsiteY1" fmla="*/ 0 h 85868"/>
                    <a:gd name="connsiteX2" fmla="*/ 1214 w 19829"/>
                    <a:gd name="connsiteY2" fmla="*/ 85869 h 85868"/>
                    <a:gd name="connsiteX3" fmla="*/ 2649 w 19829"/>
                    <a:gd name="connsiteY3" fmla="*/ 82226 h 85868"/>
                    <a:gd name="connsiteX4" fmla="*/ 19591 w 19829"/>
                    <a:gd name="connsiteY4" fmla="*/ 41941 h 85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829" h="85868">
                      <a:moveTo>
                        <a:pt x="19591" y="41941"/>
                      </a:moveTo>
                      <a:cubicBezTo>
                        <a:pt x="17494" y="26489"/>
                        <a:pt x="9602" y="12306"/>
                        <a:pt x="0" y="0"/>
                      </a:cubicBezTo>
                      <a:cubicBezTo>
                        <a:pt x="11644" y="38188"/>
                        <a:pt x="7726" y="59766"/>
                        <a:pt x="1214" y="85869"/>
                      </a:cubicBezTo>
                      <a:lnTo>
                        <a:pt x="2649" y="82226"/>
                      </a:lnTo>
                      <a:cubicBezTo>
                        <a:pt x="10099" y="66995"/>
                        <a:pt x="21633" y="57393"/>
                        <a:pt x="19591" y="4194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phic 179">
                <a:extLst>
                  <a:ext uri="{FF2B5EF4-FFF2-40B4-BE49-F238E27FC236}">
                    <a16:creationId xmlns:a16="http://schemas.microsoft.com/office/drawing/2014/main" id="{9A4F1CCE-54FC-44E4-9C3B-C34F2A8E0CD0}"/>
                  </a:ext>
                </a:extLst>
              </p:cNvPr>
              <p:cNvGrpSpPr/>
              <p:nvPr/>
            </p:nvGrpSpPr>
            <p:grpSpPr>
              <a:xfrm>
                <a:off x="7699646" y="-411616"/>
                <a:ext cx="250371" cy="305065"/>
                <a:chOff x="7699646" y="-411616"/>
                <a:chExt cx="250371" cy="305065"/>
              </a:xfrm>
            </p:grpSpPr>
            <p:sp>
              <p:nvSpPr>
                <p:cNvPr id="918" name="Freeform: Shape 917">
                  <a:extLst>
                    <a:ext uri="{FF2B5EF4-FFF2-40B4-BE49-F238E27FC236}">
                      <a16:creationId xmlns:a16="http://schemas.microsoft.com/office/drawing/2014/main" id="{6F1065BC-CE28-422A-BD82-FCE10B4E2C06}"/>
                    </a:ext>
                  </a:extLst>
                </p:cNvPr>
                <p:cNvSpPr/>
                <p:nvPr/>
              </p:nvSpPr>
              <p:spPr>
                <a:xfrm>
                  <a:off x="7699646" y="-411616"/>
                  <a:ext cx="141109" cy="258599"/>
                </a:xfrm>
                <a:custGeom>
                  <a:avLst/>
                  <a:gdLst>
                    <a:gd name="connsiteX0" fmla="*/ 141110 w 141109"/>
                    <a:gd name="connsiteY0" fmla="*/ 11092 h 258599"/>
                    <a:gd name="connsiteX1" fmla="*/ 124609 w 141109"/>
                    <a:gd name="connsiteY1" fmla="*/ 258600 h 258599"/>
                    <a:gd name="connsiteX2" fmla="*/ 16997 w 141109"/>
                    <a:gd name="connsiteY2" fmla="*/ 257330 h 258599"/>
                    <a:gd name="connsiteX3" fmla="*/ 0 w 141109"/>
                    <a:gd name="connsiteY3" fmla="*/ 0 h 258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109" h="258599">
                      <a:moveTo>
                        <a:pt x="141110" y="11092"/>
                      </a:moveTo>
                      <a:lnTo>
                        <a:pt x="124609" y="258600"/>
                      </a:lnTo>
                      <a:lnTo>
                        <a:pt x="16997" y="257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BE9D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919" name="Graphic 179">
                  <a:extLst>
                    <a:ext uri="{FF2B5EF4-FFF2-40B4-BE49-F238E27FC236}">
                      <a16:creationId xmlns:a16="http://schemas.microsoft.com/office/drawing/2014/main" id="{F8ADB105-01E1-4716-9B89-4DE2A6848F03}"/>
                    </a:ext>
                  </a:extLst>
                </p:cNvPr>
                <p:cNvGrpSpPr/>
                <p:nvPr/>
              </p:nvGrpSpPr>
              <p:grpSpPr>
                <a:xfrm>
                  <a:off x="7708917" y="-188114"/>
                  <a:ext cx="241100" cy="81564"/>
                  <a:chOff x="7708917" y="-188114"/>
                  <a:chExt cx="241100" cy="81564"/>
                </a:xfrm>
              </p:grpSpPr>
              <p:sp>
                <p:nvSpPr>
                  <p:cNvPr id="920" name="Freeform: Shape 919">
                    <a:extLst>
                      <a:ext uri="{FF2B5EF4-FFF2-40B4-BE49-F238E27FC236}">
                        <a16:creationId xmlns:a16="http://schemas.microsoft.com/office/drawing/2014/main" id="{B3766255-BC6B-4948-B66A-DF9BCBED9E7E}"/>
                      </a:ext>
                    </a:extLst>
                  </p:cNvPr>
                  <p:cNvSpPr/>
                  <p:nvPr/>
                </p:nvSpPr>
                <p:spPr>
                  <a:xfrm>
                    <a:off x="7708917" y="-188114"/>
                    <a:ext cx="240940" cy="81564"/>
                  </a:xfrm>
                  <a:custGeom>
                    <a:avLst/>
                    <a:gdLst>
                      <a:gd name="connsiteX0" fmla="*/ 118373 w 240940"/>
                      <a:gd name="connsiteY0" fmla="*/ 2538 h 81564"/>
                      <a:gd name="connsiteX1" fmla="*/ 118373 w 240940"/>
                      <a:gd name="connsiteY1" fmla="*/ 9713 h 81564"/>
                      <a:gd name="connsiteX2" fmla="*/ 240940 w 240940"/>
                      <a:gd name="connsiteY2" fmla="*/ 81564 h 81564"/>
                      <a:gd name="connsiteX3" fmla="*/ 0 w 240940"/>
                      <a:gd name="connsiteY3" fmla="*/ 80129 h 81564"/>
                      <a:gd name="connsiteX4" fmla="*/ 3753 w 240940"/>
                      <a:gd name="connsiteY4" fmla="*/ 0 h 81564"/>
                      <a:gd name="connsiteX5" fmla="*/ 118373 w 240940"/>
                      <a:gd name="connsiteY5" fmla="*/ 2538 h 815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40940" h="81564">
                        <a:moveTo>
                          <a:pt x="118373" y="2538"/>
                        </a:moveTo>
                        <a:lnTo>
                          <a:pt x="118373" y="9713"/>
                        </a:lnTo>
                        <a:cubicBezTo>
                          <a:pt x="118373" y="9713"/>
                          <a:pt x="239671" y="58552"/>
                          <a:pt x="240940" y="81564"/>
                        </a:cubicBezTo>
                        <a:lnTo>
                          <a:pt x="0" y="80129"/>
                        </a:lnTo>
                        <a:lnTo>
                          <a:pt x="3753" y="0"/>
                        </a:lnTo>
                        <a:cubicBezTo>
                          <a:pt x="39513" y="16776"/>
                          <a:pt x="76984" y="18873"/>
                          <a:pt x="118373" y="2538"/>
                        </a:cubicBezTo>
                        <a:close/>
                      </a:path>
                    </a:pathLst>
                  </a:custGeom>
                  <a:solidFill>
                    <a:srgbClr val="95B7A9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1" name="Freeform: Shape 920">
                    <a:extLst>
                      <a:ext uri="{FF2B5EF4-FFF2-40B4-BE49-F238E27FC236}">
                        <a16:creationId xmlns:a16="http://schemas.microsoft.com/office/drawing/2014/main" id="{DC4538E8-E9CE-415C-A212-281EDF6DBC0B}"/>
                      </a:ext>
                    </a:extLst>
                  </p:cNvPr>
                  <p:cNvSpPr/>
                  <p:nvPr/>
                </p:nvSpPr>
                <p:spPr>
                  <a:xfrm>
                    <a:off x="7729893" y="-162708"/>
                    <a:ext cx="18814" cy="18698"/>
                  </a:xfrm>
                  <a:custGeom>
                    <a:avLst/>
                    <a:gdLst>
                      <a:gd name="connsiteX0" fmla="*/ 7059 w 18814"/>
                      <a:gd name="connsiteY0" fmla="*/ 365 h 18698"/>
                      <a:gd name="connsiteX1" fmla="*/ 216 w 18814"/>
                      <a:gd name="connsiteY1" fmla="*/ 11568 h 18698"/>
                      <a:gd name="connsiteX2" fmla="*/ 11253 w 18814"/>
                      <a:gd name="connsiteY2" fmla="*/ 18466 h 18698"/>
                      <a:gd name="connsiteX3" fmla="*/ 18482 w 18814"/>
                      <a:gd name="connsiteY3" fmla="*/ 6601 h 18698"/>
                      <a:gd name="connsiteX4" fmla="*/ 6231 w 18814"/>
                      <a:gd name="connsiteY4" fmla="*/ 696 h 186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814" h="18698">
                        <a:moveTo>
                          <a:pt x="7059" y="365"/>
                        </a:moveTo>
                        <a:cubicBezTo>
                          <a:pt x="2368" y="1635"/>
                          <a:pt x="-888" y="6822"/>
                          <a:pt x="216" y="11568"/>
                        </a:cubicBezTo>
                        <a:cubicBezTo>
                          <a:pt x="1264" y="16314"/>
                          <a:pt x="6562" y="19625"/>
                          <a:pt x="11253" y="18466"/>
                        </a:cubicBezTo>
                        <a:cubicBezTo>
                          <a:pt x="15944" y="17307"/>
                          <a:pt x="20027" y="11127"/>
                          <a:pt x="18482" y="6601"/>
                        </a:cubicBezTo>
                        <a:cubicBezTo>
                          <a:pt x="16882" y="2021"/>
                          <a:pt x="10480" y="-1566"/>
                          <a:pt x="6231" y="696"/>
                        </a:cubicBezTo>
                      </a:path>
                    </a:pathLst>
                  </a:custGeom>
                  <a:solidFill>
                    <a:srgbClr val="FFFFFF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2" name="Freeform: Shape 921">
                    <a:extLst>
                      <a:ext uri="{FF2B5EF4-FFF2-40B4-BE49-F238E27FC236}">
                        <a16:creationId xmlns:a16="http://schemas.microsoft.com/office/drawing/2014/main" id="{2EE569FC-2C68-444F-B891-038AC67686E5}"/>
                      </a:ext>
                    </a:extLst>
                  </p:cNvPr>
                  <p:cNvSpPr/>
                  <p:nvPr/>
                </p:nvSpPr>
                <p:spPr>
                  <a:xfrm>
                    <a:off x="7708973" y="-127244"/>
                    <a:ext cx="241044" cy="20639"/>
                  </a:xfrm>
                  <a:custGeom>
                    <a:avLst/>
                    <a:gdLst>
                      <a:gd name="connsiteX0" fmla="*/ 0 w 241044"/>
                      <a:gd name="connsiteY0" fmla="*/ 19260 h 20639"/>
                      <a:gd name="connsiteX1" fmla="*/ 883 w 241044"/>
                      <a:gd name="connsiteY1" fmla="*/ 0 h 20639"/>
                      <a:gd name="connsiteX2" fmla="*/ 231503 w 241044"/>
                      <a:gd name="connsiteY2" fmla="*/ 8388 h 20639"/>
                      <a:gd name="connsiteX3" fmla="*/ 240940 w 241044"/>
                      <a:gd name="connsiteY3" fmla="*/ 20639 h 20639"/>
                      <a:gd name="connsiteX4" fmla="*/ 0 w 241044"/>
                      <a:gd name="connsiteY4" fmla="*/ 19260 h 206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1044" h="20639">
                        <a:moveTo>
                          <a:pt x="0" y="19260"/>
                        </a:moveTo>
                        <a:lnTo>
                          <a:pt x="883" y="0"/>
                        </a:lnTo>
                        <a:lnTo>
                          <a:pt x="231503" y="8388"/>
                        </a:lnTo>
                        <a:cubicBezTo>
                          <a:pt x="231503" y="8388"/>
                          <a:pt x="242209" y="13134"/>
                          <a:pt x="240940" y="20639"/>
                        </a:cubicBezTo>
                        <a:lnTo>
                          <a:pt x="0" y="19260"/>
                        </a:ln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3" name="Freeform: Shape 922">
                    <a:extLst>
                      <a:ext uri="{FF2B5EF4-FFF2-40B4-BE49-F238E27FC236}">
                        <a16:creationId xmlns:a16="http://schemas.microsoft.com/office/drawing/2014/main" id="{EB9C8D1E-F4CC-4869-886A-475BBED85181}"/>
                      </a:ext>
                    </a:extLst>
                  </p:cNvPr>
                  <p:cNvSpPr/>
                  <p:nvPr/>
                </p:nvSpPr>
                <p:spPr>
                  <a:xfrm>
                    <a:off x="7806132" y="-178868"/>
                    <a:ext cx="22048" cy="14786"/>
                  </a:xfrm>
                  <a:custGeom>
                    <a:avLst/>
                    <a:gdLst>
                      <a:gd name="connsiteX0" fmla="*/ 22041 w 22048"/>
                      <a:gd name="connsiteY0" fmla="*/ 1129 h 14786"/>
                      <a:gd name="connsiteX1" fmla="*/ 10287 w 22048"/>
                      <a:gd name="connsiteY1" fmla="*/ 6537 h 14786"/>
                      <a:gd name="connsiteX2" fmla="*/ 298 w 22048"/>
                      <a:gd name="connsiteY2" fmla="*/ 14760 h 14786"/>
                      <a:gd name="connsiteX3" fmla="*/ 8134 w 22048"/>
                      <a:gd name="connsiteY3" fmla="*/ 3060 h 14786"/>
                      <a:gd name="connsiteX4" fmla="*/ 22041 w 22048"/>
                      <a:gd name="connsiteY4" fmla="*/ 1129 h 147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48" h="14786">
                        <a:moveTo>
                          <a:pt x="22041" y="1129"/>
                        </a:moveTo>
                        <a:cubicBezTo>
                          <a:pt x="21986" y="2288"/>
                          <a:pt x="16136" y="2784"/>
                          <a:pt x="10287" y="6537"/>
                        </a:cubicBezTo>
                        <a:cubicBezTo>
                          <a:pt x="4382" y="10124"/>
                          <a:pt x="1347" y="15201"/>
                          <a:pt x="298" y="14760"/>
                        </a:cubicBezTo>
                        <a:cubicBezTo>
                          <a:pt x="-806" y="14539"/>
                          <a:pt x="1015" y="7475"/>
                          <a:pt x="8134" y="3060"/>
                        </a:cubicBezTo>
                        <a:cubicBezTo>
                          <a:pt x="15198" y="-1410"/>
                          <a:pt x="22317" y="25"/>
                          <a:pt x="22041" y="1129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4" name="Freeform: Shape 923">
                    <a:extLst>
                      <a:ext uri="{FF2B5EF4-FFF2-40B4-BE49-F238E27FC236}">
                        <a16:creationId xmlns:a16="http://schemas.microsoft.com/office/drawing/2014/main" id="{7F53421A-33E3-4972-A5BD-644A072FC2C8}"/>
                      </a:ext>
                    </a:extLst>
                  </p:cNvPr>
                  <p:cNvSpPr/>
                  <p:nvPr/>
                </p:nvSpPr>
                <p:spPr>
                  <a:xfrm>
                    <a:off x="7837297" y="-167619"/>
                    <a:ext cx="16106" cy="18690"/>
                  </a:xfrm>
                  <a:custGeom>
                    <a:avLst/>
                    <a:gdLst>
                      <a:gd name="connsiteX0" fmla="*/ 16096 w 16106"/>
                      <a:gd name="connsiteY0" fmla="*/ 476 h 18690"/>
                      <a:gd name="connsiteX1" fmla="*/ 7211 w 16106"/>
                      <a:gd name="connsiteY1" fmla="*/ 8533 h 18690"/>
                      <a:gd name="connsiteX2" fmla="*/ 810 w 16106"/>
                      <a:gd name="connsiteY2" fmla="*/ 18687 h 18690"/>
                      <a:gd name="connsiteX3" fmla="*/ 4066 w 16106"/>
                      <a:gd name="connsiteY3" fmla="*/ 5884 h 18690"/>
                      <a:gd name="connsiteX4" fmla="*/ 16096 w 16106"/>
                      <a:gd name="connsiteY4" fmla="*/ 476 h 18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106" h="18690">
                        <a:moveTo>
                          <a:pt x="16096" y="476"/>
                        </a:moveTo>
                        <a:cubicBezTo>
                          <a:pt x="16372" y="1635"/>
                          <a:pt x="11240" y="3566"/>
                          <a:pt x="7211" y="8533"/>
                        </a:cubicBezTo>
                        <a:cubicBezTo>
                          <a:pt x="3017" y="13389"/>
                          <a:pt x="2024" y="18742"/>
                          <a:pt x="810" y="18687"/>
                        </a:cubicBezTo>
                        <a:cubicBezTo>
                          <a:pt x="-294" y="18853"/>
                          <a:pt x="-1067" y="11955"/>
                          <a:pt x="4066" y="5884"/>
                        </a:cubicBezTo>
                        <a:cubicBezTo>
                          <a:pt x="9143" y="-186"/>
                          <a:pt x="16041" y="-628"/>
                          <a:pt x="16096" y="476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25" name="Freeform: Shape 924">
                    <a:extLst>
                      <a:ext uri="{FF2B5EF4-FFF2-40B4-BE49-F238E27FC236}">
                        <a16:creationId xmlns:a16="http://schemas.microsoft.com/office/drawing/2014/main" id="{B66F9FCA-E665-4093-A4D0-34CDCFADBFCF}"/>
                      </a:ext>
                    </a:extLst>
                  </p:cNvPr>
                  <p:cNvSpPr/>
                  <p:nvPr/>
                </p:nvSpPr>
                <p:spPr>
                  <a:xfrm>
                    <a:off x="7866206" y="-157070"/>
                    <a:ext cx="10887" cy="20285"/>
                  </a:xfrm>
                  <a:custGeom>
                    <a:avLst/>
                    <a:gdLst>
                      <a:gd name="connsiteX0" fmla="*/ 1370 w 10887"/>
                      <a:gd name="connsiteY0" fmla="*/ 20279 h 20285"/>
                      <a:gd name="connsiteX1" fmla="*/ 1757 w 10887"/>
                      <a:gd name="connsiteY1" fmla="*/ 8193 h 20285"/>
                      <a:gd name="connsiteX2" fmla="*/ 10807 w 10887"/>
                      <a:gd name="connsiteY2" fmla="*/ 192 h 20285"/>
                      <a:gd name="connsiteX3" fmla="*/ 5454 w 10887"/>
                      <a:gd name="connsiteY3" fmla="*/ 9904 h 20285"/>
                      <a:gd name="connsiteX4" fmla="*/ 1370 w 10887"/>
                      <a:gd name="connsiteY4" fmla="*/ 20279 h 202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887" h="20285">
                        <a:moveTo>
                          <a:pt x="1370" y="20279"/>
                        </a:moveTo>
                        <a:cubicBezTo>
                          <a:pt x="322" y="20500"/>
                          <a:pt x="-1279" y="14650"/>
                          <a:pt x="1757" y="8193"/>
                        </a:cubicBezTo>
                        <a:cubicBezTo>
                          <a:pt x="4792" y="1737"/>
                          <a:pt x="10310" y="-747"/>
                          <a:pt x="10807" y="192"/>
                        </a:cubicBezTo>
                        <a:cubicBezTo>
                          <a:pt x="11469" y="1185"/>
                          <a:pt x="7882" y="4606"/>
                          <a:pt x="5454" y="9904"/>
                        </a:cubicBezTo>
                        <a:cubicBezTo>
                          <a:pt x="2860" y="15202"/>
                          <a:pt x="2529" y="20169"/>
                          <a:pt x="1370" y="20279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814" name="Graphic 179">
                <a:extLst>
                  <a:ext uri="{FF2B5EF4-FFF2-40B4-BE49-F238E27FC236}">
                    <a16:creationId xmlns:a16="http://schemas.microsoft.com/office/drawing/2014/main" id="{3A645E49-91DD-4C46-ACA2-37CA1C42BD4A}"/>
                  </a:ext>
                </a:extLst>
              </p:cNvPr>
              <p:cNvGrpSpPr/>
              <p:nvPr/>
            </p:nvGrpSpPr>
            <p:grpSpPr>
              <a:xfrm>
                <a:off x="7538629" y="-2265182"/>
                <a:ext cx="333378" cy="429672"/>
                <a:chOff x="7538629" y="-2265182"/>
                <a:chExt cx="333378" cy="429672"/>
              </a:xfrm>
            </p:grpSpPr>
            <p:sp>
              <p:nvSpPr>
                <p:cNvPr id="891" name="Freeform: Shape 890">
                  <a:extLst>
                    <a:ext uri="{FF2B5EF4-FFF2-40B4-BE49-F238E27FC236}">
                      <a16:creationId xmlns:a16="http://schemas.microsoft.com/office/drawing/2014/main" id="{6403299E-D637-4557-98DC-C2ACD1B031F2}"/>
                    </a:ext>
                  </a:extLst>
                </p:cNvPr>
                <p:cNvSpPr/>
                <p:nvPr/>
              </p:nvSpPr>
              <p:spPr>
                <a:xfrm>
                  <a:off x="7579049" y="-2265182"/>
                  <a:ext cx="292958" cy="275569"/>
                </a:xfrm>
                <a:custGeom>
                  <a:avLst/>
                  <a:gdLst>
                    <a:gd name="connsiteX0" fmla="*/ 242061 w 292958"/>
                    <a:gd name="connsiteY0" fmla="*/ 54516 h 275569"/>
                    <a:gd name="connsiteX1" fmla="*/ 227326 w 292958"/>
                    <a:gd name="connsiteY1" fmla="*/ 10423 h 275569"/>
                    <a:gd name="connsiteX2" fmla="*/ 179536 w 292958"/>
                    <a:gd name="connsiteY2" fmla="*/ 1041 h 275569"/>
                    <a:gd name="connsiteX3" fmla="*/ 132407 w 292958"/>
                    <a:gd name="connsiteY3" fmla="*/ 17321 h 275569"/>
                    <a:gd name="connsiteX4" fmla="*/ 78160 w 292958"/>
                    <a:gd name="connsiteY4" fmla="*/ 4242 h 275569"/>
                    <a:gd name="connsiteX5" fmla="*/ 42068 w 292958"/>
                    <a:gd name="connsiteY5" fmla="*/ 46790 h 275569"/>
                    <a:gd name="connsiteX6" fmla="*/ 8626 w 292958"/>
                    <a:gd name="connsiteY6" fmla="*/ 56889 h 275569"/>
                    <a:gd name="connsiteX7" fmla="*/ 2004 w 292958"/>
                    <a:gd name="connsiteY7" fmla="*/ 91159 h 275569"/>
                    <a:gd name="connsiteX8" fmla="*/ 76615 w 292958"/>
                    <a:gd name="connsiteY8" fmla="*/ 117373 h 275569"/>
                    <a:gd name="connsiteX9" fmla="*/ 158069 w 292958"/>
                    <a:gd name="connsiteY9" fmla="*/ 260689 h 275569"/>
                    <a:gd name="connsiteX10" fmla="*/ 244048 w 292958"/>
                    <a:gd name="connsiteY10" fmla="*/ 259475 h 275569"/>
                    <a:gd name="connsiteX11" fmla="*/ 253926 w 292958"/>
                    <a:gd name="connsiteY11" fmla="*/ 174048 h 275569"/>
                    <a:gd name="connsiteX12" fmla="*/ 265349 w 292958"/>
                    <a:gd name="connsiteY12" fmla="*/ 159921 h 275569"/>
                    <a:gd name="connsiteX13" fmla="*/ 291728 w 292958"/>
                    <a:gd name="connsiteY13" fmla="*/ 124602 h 275569"/>
                    <a:gd name="connsiteX14" fmla="*/ 242061 w 292958"/>
                    <a:gd name="connsiteY14" fmla="*/ 54516 h 275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2958" h="275569">
                      <a:moveTo>
                        <a:pt x="242061" y="54516"/>
                      </a:moveTo>
                      <a:cubicBezTo>
                        <a:pt x="248242" y="39064"/>
                        <a:pt x="240737" y="20301"/>
                        <a:pt x="227326" y="10423"/>
                      </a:cubicBezTo>
                      <a:cubicBezTo>
                        <a:pt x="213916" y="545"/>
                        <a:pt x="195981" y="-1608"/>
                        <a:pt x="179536" y="1041"/>
                      </a:cubicBezTo>
                      <a:cubicBezTo>
                        <a:pt x="163090" y="3635"/>
                        <a:pt x="147638" y="10533"/>
                        <a:pt x="132407" y="17321"/>
                      </a:cubicBezTo>
                      <a:cubicBezTo>
                        <a:pt x="118611" y="3469"/>
                        <a:pt x="96757" y="-1828"/>
                        <a:pt x="78160" y="4242"/>
                      </a:cubicBezTo>
                      <a:cubicBezTo>
                        <a:pt x="59562" y="10312"/>
                        <a:pt x="45048" y="27420"/>
                        <a:pt x="42068" y="46790"/>
                      </a:cubicBezTo>
                      <a:cubicBezTo>
                        <a:pt x="30204" y="43755"/>
                        <a:pt x="16849" y="47839"/>
                        <a:pt x="8626" y="56889"/>
                      </a:cubicBezTo>
                      <a:cubicBezTo>
                        <a:pt x="403" y="65995"/>
                        <a:pt x="-2246" y="79681"/>
                        <a:pt x="2004" y="91159"/>
                      </a:cubicBezTo>
                      <a:lnTo>
                        <a:pt x="76615" y="117373"/>
                      </a:lnTo>
                      <a:lnTo>
                        <a:pt x="158069" y="260689"/>
                      </a:lnTo>
                      <a:cubicBezTo>
                        <a:pt x="181909" y="280998"/>
                        <a:pt x="220815" y="280446"/>
                        <a:pt x="244048" y="259475"/>
                      </a:cubicBezTo>
                      <a:cubicBezTo>
                        <a:pt x="267281" y="238505"/>
                        <a:pt x="271751" y="199765"/>
                        <a:pt x="253926" y="174048"/>
                      </a:cubicBezTo>
                      <a:cubicBezTo>
                        <a:pt x="258506" y="170020"/>
                        <a:pt x="262314" y="165163"/>
                        <a:pt x="265349" y="159921"/>
                      </a:cubicBezTo>
                      <a:cubicBezTo>
                        <a:pt x="278263" y="151919"/>
                        <a:pt x="288362" y="139502"/>
                        <a:pt x="291728" y="124602"/>
                      </a:cubicBezTo>
                      <a:cubicBezTo>
                        <a:pt x="298847" y="93146"/>
                        <a:pt x="274124" y="58269"/>
                        <a:pt x="242061" y="5451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92" name="Graphic 179">
                  <a:extLst>
                    <a:ext uri="{FF2B5EF4-FFF2-40B4-BE49-F238E27FC236}">
                      <a16:creationId xmlns:a16="http://schemas.microsoft.com/office/drawing/2014/main" id="{007F90D6-317A-4A4A-AF5A-2990652FADA6}"/>
                    </a:ext>
                  </a:extLst>
                </p:cNvPr>
                <p:cNvGrpSpPr/>
                <p:nvPr/>
              </p:nvGrpSpPr>
              <p:grpSpPr>
                <a:xfrm>
                  <a:off x="7538629" y="-2226287"/>
                  <a:ext cx="288993" cy="390777"/>
                  <a:chOff x="7538629" y="-2226287"/>
                  <a:chExt cx="288993" cy="390777"/>
                </a:xfrm>
              </p:grpSpPr>
              <p:grpSp>
                <p:nvGrpSpPr>
                  <p:cNvPr id="899" name="Graphic 179">
                    <a:extLst>
                      <a:ext uri="{FF2B5EF4-FFF2-40B4-BE49-F238E27FC236}">
                        <a16:creationId xmlns:a16="http://schemas.microsoft.com/office/drawing/2014/main" id="{25DF3A05-8178-49CA-A477-DAF7B2973C66}"/>
                      </a:ext>
                    </a:extLst>
                  </p:cNvPr>
                  <p:cNvGrpSpPr/>
                  <p:nvPr/>
                </p:nvGrpSpPr>
                <p:grpSpPr>
                  <a:xfrm>
                    <a:off x="7587580" y="-2226287"/>
                    <a:ext cx="240041" cy="390777"/>
                    <a:chOff x="7587580" y="-2226287"/>
                    <a:chExt cx="240041" cy="390777"/>
                  </a:xfrm>
                </p:grpSpPr>
                <p:grpSp>
                  <p:nvGrpSpPr>
                    <p:cNvPr id="904" name="Graphic 179">
                      <a:extLst>
                        <a:ext uri="{FF2B5EF4-FFF2-40B4-BE49-F238E27FC236}">
                          <a16:creationId xmlns:a16="http://schemas.microsoft.com/office/drawing/2014/main" id="{8609A3C4-F4A9-4615-A550-DFE72063356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587580" y="-2212134"/>
                      <a:ext cx="217400" cy="376625"/>
                      <a:chOff x="7587580" y="-2212134"/>
                      <a:chExt cx="217400" cy="376625"/>
                    </a:xfrm>
                  </p:grpSpPr>
                  <p:grpSp>
                    <p:nvGrpSpPr>
                      <p:cNvPr id="906" name="Graphic 179">
                        <a:extLst>
                          <a:ext uri="{FF2B5EF4-FFF2-40B4-BE49-F238E27FC236}">
                            <a16:creationId xmlns:a16="http://schemas.microsoft.com/office/drawing/2014/main" id="{A8CDB2FE-0C56-4535-A4D8-193E4B7BF34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587580" y="-2212134"/>
                        <a:ext cx="217400" cy="376625"/>
                        <a:chOff x="7587580" y="-2212134"/>
                        <a:chExt cx="217400" cy="376625"/>
                      </a:xfrm>
                    </p:grpSpPr>
                    <p:sp>
                      <p:nvSpPr>
                        <p:cNvPr id="909" name="Freeform: Shape 908">
                          <a:extLst>
                            <a:ext uri="{FF2B5EF4-FFF2-40B4-BE49-F238E27FC236}">
                              <a16:creationId xmlns:a16="http://schemas.microsoft.com/office/drawing/2014/main" id="{55E58FA6-DC10-4C86-AD1A-D724CE2FCC9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587580" y="-2212134"/>
                          <a:ext cx="217400" cy="376625"/>
                        </a:xfrm>
                        <a:custGeom>
                          <a:avLst/>
                          <a:gdLst>
                            <a:gd name="connsiteX0" fmla="*/ 184139 w 217400"/>
                            <a:gd name="connsiteY0" fmla="*/ 300299 h 376625"/>
                            <a:gd name="connsiteX1" fmla="*/ 176303 w 217400"/>
                            <a:gd name="connsiteY1" fmla="*/ 261172 h 376625"/>
                            <a:gd name="connsiteX2" fmla="*/ 217250 w 217400"/>
                            <a:gd name="connsiteY2" fmla="*/ 182588 h 376625"/>
                            <a:gd name="connsiteX3" fmla="*/ 193300 w 217400"/>
                            <a:gd name="connsiteY3" fmla="*/ 64767 h 376625"/>
                            <a:gd name="connsiteX4" fmla="*/ 115985 w 217400"/>
                            <a:gd name="connsiteY4" fmla="*/ 1966 h 376625"/>
                            <a:gd name="connsiteX5" fmla="*/ 10911 w 217400"/>
                            <a:gd name="connsiteY5" fmla="*/ 53288 h 376625"/>
                            <a:gd name="connsiteX6" fmla="*/ 978 w 217400"/>
                            <a:gd name="connsiteY6" fmla="*/ 77404 h 376625"/>
                            <a:gd name="connsiteX7" fmla="*/ 1144 w 217400"/>
                            <a:gd name="connsiteY7" fmla="*/ 82702 h 376625"/>
                            <a:gd name="connsiteX8" fmla="*/ 42036 w 217400"/>
                            <a:gd name="connsiteY8" fmla="*/ 251901 h 376625"/>
                            <a:gd name="connsiteX9" fmla="*/ 59309 w 217400"/>
                            <a:gd name="connsiteY9" fmla="*/ 327505 h 376625"/>
                            <a:gd name="connsiteX10" fmla="*/ 130609 w 217400"/>
                            <a:gd name="connsiteY10" fmla="*/ 375958 h 376625"/>
                            <a:gd name="connsiteX11" fmla="*/ 130609 w 217400"/>
                            <a:gd name="connsiteY11" fmla="*/ 375958 h 376625"/>
                            <a:gd name="connsiteX12" fmla="*/ 184139 w 217400"/>
                            <a:gd name="connsiteY12" fmla="*/ 300299 h 3766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</a:cxnLst>
                          <a:rect l="l" t="t" r="r" b="b"/>
                          <a:pathLst>
                            <a:path w="217400" h="376625">
                              <a:moveTo>
                                <a:pt x="184139" y="300299"/>
                              </a:moveTo>
                              <a:cubicBezTo>
                                <a:pt x="179503" y="276955"/>
                                <a:pt x="176303" y="261007"/>
                                <a:pt x="176303" y="261172"/>
                              </a:cubicBezTo>
                              <a:cubicBezTo>
                                <a:pt x="176303" y="261172"/>
                                <a:pt x="220285" y="244065"/>
                                <a:pt x="217250" y="182588"/>
                              </a:cubicBezTo>
                              <a:cubicBezTo>
                                <a:pt x="215760" y="152015"/>
                                <a:pt x="204061" y="103893"/>
                                <a:pt x="193300" y="64767"/>
                              </a:cubicBezTo>
                              <a:cubicBezTo>
                                <a:pt x="183587" y="29558"/>
                                <a:pt x="150752" y="-9237"/>
                                <a:pt x="115985" y="1966"/>
                              </a:cubicBezTo>
                              <a:lnTo>
                                <a:pt x="10911" y="53288"/>
                              </a:lnTo>
                              <a:cubicBezTo>
                                <a:pt x="371" y="56710"/>
                                <a:pt x="-1505" y="66588"/>
                                <a:pt x="978" y="77404"/>
                              </a:cubicBezTo>
                              <a:lnTo>
                                <a:pt x="1144" y="82702"/>
                              </a:lnTo>
                              <a:lnTo>
                                <a:pt x="42036" y="251901"/>
                              </a:lnTo>
                              <a:lnTo>
                                <a:pt x="59309" y="327505"/>
                              </a:lnTo>
                              <a:cubicBezTo>
                                <a:pt x="66980" y="359679"/>
                                <a:pt x="97884" y="380704"/>
                                <a:pt x="130609" y="375958"/>
                              </a:cubicBezTo>
                              <a:lnTo>
                                <a:pt x="130609" y="375958"/>
                              </a:lnTo>
                              <a:cubicBezTo>
                                <a:pt x="166866" y="370716"/>
                                <a:pt x="191258" y="336170"/>
                                <a:pt x="184139" y="30029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E9D"/>
                        </a:solidFill>
                        <a:ln w="550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grpSp>
                      <p:nvGrpSpPr>
                        <p:cNvPr id="910" name="Graphic 179">
                          <a:extLst>
                            <a:ext uri="{FF2B5EF4-FFF2-40B4-BE49-F238E27FC236}">
                              <a16:creationId xmlns:a16="http://schemas.microsoft.com/office/drawing/2014/main" id="{D8D25254-322E-4141-972F-38755BF55DD9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7745424" y="-2123634"/>
                          <a:ext cx="35005" cy="26594"/>
                          <a:chOff x="7745424" y="-2123634"/>
                          <a:chExt cx="35005" cy="26594"/>
                        </a:xfrm>
                        <a:solidFill>
                          <a:srgbClr val="263238"/>
                        </a:solidFill>
                      </p:grpSpPr>
                      <p:sp>
                        <p:nvSpPr>
                          <p:cNvPr id="916" name="Freeform: Shape 915">
                            <a:extLst>
                              <a:ext uri="{FF2B5EF4-FFF2-40B4-BE49-F238E27FC236}">
                                <a16:creationId xmlns:a16="http://schemas.microsoft.com/office/drawing/2014/main" id="{B681CCB5-2D0F-46B2-9E80-8A2DEEEF348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764940" y="-2112044"/>
                            <a:ext cx="15489" cy="15004"/>
                          </a:xfrm>
                          <a:custGeom>
                            <a:avLst/>
                            <a:gdLst>
                              <a:gd name="connsiteX0" fmla="*/ 15278 w 15489"/>
                              <a:gd name="connsiteY0" fmla="*/ 5513 h 15004"/>
                              <a:gd name="connsiteX1" fmla="*/ 9538 w 15489"/>
                              <a:gd name="connsiteY1" fmla="*/ 14729 h 15004"/>
                              <a:gd name="connsiteX2" fmla="*/ 212 w 15489"/>
                              <a:gd name="connsiteY2" fmla="*/ 9487 h 15004"/>
                              <a:gd name="connsiteX3" fmla="*/ 5951 w 15489"/>
                              <a:gd name="connsiteY3" fmla="*/ 271 h 15004"/>
                              <a:gd name="connsiteX4" fmla="*/ 15278 w 15489"/>
                              <a:gd name="connsiteY4" fmla="*/ 5513 h 1500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15489" h="15004">
                                <a:moveTo>
                                  <a:pt x="15278" y="5513"/>
                                </a:moveTo>
                                <a:cubicBezTo>
                                  <a:pt x="16271" y="9487"/>
                                  <a:pt x="13677" y="13626"/>
                                  <a:pt x="9538" y="14729"/>
                                </a:cubicBezTo>
                                <a:cubicBezTo>
                                  <a:pt x="5400" y="15833"/>
                                  <a:pt x="1205" y="13515"/>
                                  <a:pt x="212" y="9487"/>
                                </a:cubicBezTo>
                                <a:cubicBezTo>
                                  <a:pt x="-781" y="5513"/>
                                  <a:pt x="1812" y="1375"/>
                                  <a:pt x="5951" y="271"/>
                                </a:cubicBezTo>
                                <a:cubicBezTo>
                                  <a:pt x="10090" y="-833"/>
                                  <a:pt x="14284" y="1540"/>
                                  <a:pt x="15278" y="5513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550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917" name="Freeform: Shape 916">
                            <a:extLst>
                              <a:ext uri="{FF2B5EF4-FFF2-40B4-BE49-F238E27FC236}">
                                <a16:creationId xmlns:a16="http://schemas.microsoft.com/office/drawing/2014/main" id="{689B33E0-1403-4E8A-9CE8-4DE5A648D6A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745424" y="-2123634"/>
                            <a:ext cx="30320" cy="11613"/>
                          </a:xfrm>
                          <a:custGeom>
                            <a:avLst/>
                            <a:gdLst>
                              <a:gd name="connsiteX0" fmla="*/ 30268 w 30320"/>
                              <a:gd name="connsiteY0" fmla="*/ 5349 h 11613"/>
                              <a:gd name="connsiteX1" fmla="*/ 14650 w 30320"/>
                              <a:gd name="connsiteY1" fmla="*/ 5239 h 11613"/>
                              <a:gd name="connsiteX2" fmla="*/ 192 w 30320"/>
                              <a:gd name="connsiteY2" fmla="*/ 11530 h 11613"/>
                              <a:gd name="connsiteX3" fmla="*/ 2454 w 30320"/>
                              <a:gd name="connsiteY3" fmla="*/ 6729 h 11613"/>
                              <a:gd name="connsiteX4" fmla="*/ 13767 w 30320"/>
                              <a:gd name="connsiteY4" fmla="*/ 437 h 11613"/>
                              <a:gd name="connsiteX5" fmla="*/ 26460 w 30320"/>
                              <a:gd name="connsiteY5" fmla="*/ 1762 h 11613"/>
                              <a:gd name="connsiteX6" fmla="*/ 30268 w 30320"/>
                              <a:gd name="connsiteY6" fmla="*/ 5349 h 1161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</a:cxnLst>
                            <a:rect l="l" t="t" r="r" b="b"/>
                            <a:pathLst>
                              <a:path w="30320" h="11613">
                                <a:moveTo>
                                  <a:pt x="30268" y="5349"/>
                                </a:moveTo>
                                <a:cubicBezTo>
                                  <a:pt x="29550" y="6563"/>
                                  <a:pt x="22873" y="3473"/>
                                  <a:pt x="14650" y="5239"/>
                                </a:cubicBezTo>
                                <a:cubicBezTo>
                                  <a:pt x="6428" y="6839"/>
                                  <a:pt x="1295" y="12358"/>
                                  <a:pt x="192" y="11530"/>
                                </a:cubicBezTo>
                                <a:cubicBezTo>
                                  <a:pt x="-360" y="11199"/>
                                  <a:pt x="247" y="9157"/>
                                  <a:pt x="2454" y="6729"/>
                                </a:cubicBezTo>
                                <a:cubicBezTo>
                                  <a:pt x="4662" y="4300"/>
                                  <a:pt x="8635" y="1541"/>
                                  <a:pt x="13767" y="437"/>
                                </a:cubicBezTo>
                                <a:cubicBezTo>
                                  <a:pt x="18900" y="-611"/>
                                  <a:pt x="23590" y="382"/>
                                  <a:pt x="26460" y="1762"/>
                                </a:cubicBezTo>
                                <a:cubicBezTo>
                                  <a:pt x="29385" y="3197"/>
                                  <a:pt x="30599" y="4852"/>
                                  <a:pt x="30268" y="5349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550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</p:grpSp>
                    <p:grpSp>
                      <p:nvGrpSpPr>
                        <p:cNvPr id="911" name="Graphic 179">
                          <a:extLst>
                            <a:ext uri="{FF2B5EF4-FFF2-40B4-BE49-F238E27FC236}">
                              <a16:creationId xmlns:a16="http://schemas.microsoft.com/office/drawing/2014/main" id="{0A7488F0-F0AD-41ED-87E9-EBF5D6FDFDA7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7666068" y="-2104153"/>
                          <a:ext cx="34508" cy="25435"/>
                          <a:chOff x="7666068" y="-2104153"/>
                          <a:chExt cx="34508" cy="25435"/>
                        </a:xfrm>
                        <a:solidFill>
                          <a:srgbClr val="263238"/>
                        </a:solidFill>
                      </p:grpSpPr>
                      <p:sp>
                        <p:nvSpPr>
                          <p:cNvPr id="914" name="Freeform: Shape 913">
                            <a:extLst>
                              <a:ext uri="{FF2B5EF4-FFF2-40B4-BE49-F238E27FC236}">
                                <a16:creationId xmlns:a16="http://schemas.microsoft.com/office/drawing/2014/main" id="{325589CD-BF8B-4E06-B0B0-89B8E213570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685086" y="-2093722"/>
                            <a:ext cx="15489" cy="15004"/>
                          </a:xfrm>
                          <a:custGeom>
                            <a:avLst/>
                            <a:gdLst>
                              <a:gd name="connsiteX0" fmla="*/ 15278 w 15489"/>
                              <a:gd name="connsiteY0" fmla="*/ 5513 h 15004"/>
                              <a:gd name="connsiteX1" fmla="*/ 9538 w 15489"/>
                              <a:gd name="connsiteY1" fmla="*/ 14729 h 15004"/>
                              <a:gd name="connsiteX2" fmla="*/ 212 w 15489"/>
                              <a:gd name="connsiteY2" fmla="*/ 9487 h 15004"/>
                              <a:gd name="connsiteX3" fmla="*/ 5951 w 15489"/>
                              <a:gd name="connsiteY3" fmla="*/ 271 h 15004"/>
                              <a:gd name="connsiteX4" fmla="*/ 15278 w 15489"/>
                              <a:gd name="connsiteY4" fmla="*/ 5513 h 1500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15489" h="15004">
                                <a:moveTo>
                                  <a:pt x="15278" y="5513"/>
                                </a:moveTo>
                                <a:cubicBezTo>
                                  <a:pt x="16271" y="9487"/>
                                  <a:pt x="13677" y="13626"/>
                                  <a:pt x="9538" y="14729"/>
                                </a:cubicBezTo>
                                <a:cubicBezTo>
                                  <a:pt x="5400" y="15833"/>
                                  <a:pt x="1205" y="13515"/>
                                  <a:pt x="212" y="9487"/>
                                </a:cubicBezTo>
                                <a:cubicBezTo>
                                  <a:pt x="-781" y="5513"/>
                                  <a:pt x="1812" y="1375"/>
                                  <a:pt x="5951" y="271"/>
                                </a:cubicBezTo>
                                <a:cubicBezTo>
                                  <a:pt x="10090" y="-833"/>
                                  <a:pt x="14284" y="1540"/>
                                  <a:pt x="15278" y="5513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550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915" name="Freeform: Shape 914">
                            <a:extLst>
                              <a:ext uri="{FF2B5EF4-FFF2-40B4-BE49-F238E27FC236}">
                                <a16:creationId xmlns:a16="http://schemas.microsoft.com/office/drawing/2014/main" id="{AA2F8502-3242-43E7-B186-C479FB79B2F1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666068" y="-2104153"/>
                            <a:ext cx="30335" cy="11613"/>
                          </a:xfrm>
                          <a:custGeom>
                            <a:avLst/>
                            <a:gdLst>
                              <a:gd name="connsiteX0" fmla="*/ 30268 w 30335"/>
                              <a:gd name="connsiteY0" fmla="*/ 5349 h 11613"/>
                              <a:gd name="connsiteX1" fmla="*/ 14650 w 30335"/>
                              <a:gd name="connsiteY1" fmla="*/ 5239 h 11613"/>
                              <a:gd name="connsiteX2" fmla="*/ 191 w 30335"/>
                              <a:gd name="connsiteY2" fmla="*/ 11530 h 11613"/>
                              <a:gd name="connsiteX3" fmla="*/ 2454 w 30335"/>
                              <a:gd name="connsiteY3" fmla="*/ 6729 h 11613"/>
                              <a:gd name="connsiteX4" fmla="*/ 13767 w 30335"/>
                              <a:gd name="connsiteY4" fmla="*/ 437 h 11613"/>
                              <a:gd name="connsiteX5" fmla="*/ 26460 w 30335"/>
                              <a:gd name="connsiteY5" fmla="*/ 1762 h 11613"/>
                              <a:gd name="connsiteX6" fmla="*/ 30268 w 30335"/>
                              <a:gd name="connsiteY6" fmla="*/ 5349 h 1161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</a:cxnLst>
                            <a:rect l="l" t="t" r="r" b="b"/>
                            <a:pathLst>
                              <a:path w="30335" h="11613">
                                <a:moveTo>
                                  <a:pt x="30268" y="5349"/>
                                </a:moveTo>
                                <a:cubicBezTo>
                                  <a:pt x="29550" y="6563"/>
                                  <a:pt x="22873" y="3473"/>
                                  <a:pt x="14650" y="5239"/>
                                </a:cubicBezTo>
                                <a:cubicBezTo>
                                  <a:pt x="6427" y="6839"/>
                                  <a:pt x="1295" y="12358"/>
                                  <a:pt x="191" y="11530"/>
                                </a:cubicBezTo>
                                <a:cubicBezTo>
                                  <a:pt x="-360" y="11199"/>
                                  <a:pt x="247" y="9157"/>
                                  <a:pt x="2454" y="6729"/>
                                </a:cubicBezTo>
                                <a:cubicBezTo>
                                  <a:pt x="4661" y="4300"/>
                                  <a:pt x="8635" y="1541"/>
                                  <a:pt x="13767" y="437"/>
                                </a:cubicBezTo>
                                <a:cubicBezTo>
                                  <a:pt x="18899" y="-611"/>
                                  <a:pt x="23590" y="382"/>
                                  <a:pt x="26460" y="1762"/>
                                </a:cubicBezTo>
                                <a:cubicBezTo>
                                  <a:pt x="29385" y="3197"/>
                                  <a:pt x="30654" y="4797"/>
                                  <a:pt x="30268" y="5349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550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</p:grpSp>
                    <p:sp>
                      <p:nvSpPr>
                        <p:cNvPr id="912" name="Freeform: Shape 911">
                          <a:extLst>
                            <a:ext uri="{FF2B5EF4-FFF2-40B4-BE49-F238E27FC236}">
                              <a16:creationId xmlns:a16="http://schemas.microsoft.com/office/drawing/2014/main" id="{88D6CD3B-2FCD-4C51-ADF9-58266F81EC1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719687" y="-2114490"/>
                          <a:ext cx="37954" cy="67678"/>
                        </a:xfrm>
                        <a:custGeom>
                          <a:avLst/>
                          <a:gdLst>
                            <a:gd name="connsiteX0" fmla="*/ 18203 w 37954"/>
                            <a:gd name="connsiteY0" fmla="*/ 67561 h 67678"/>
                            <a:gd name="connsiteX1" fmla="*/ 31006 w 37954"/>
                            <a:gd name="connsiteY1" fmla="*/ 62373 h 67678"/>
                            <a:gd name="connsiteX2" fmla="*/ 34980 w 37954"/>
                            <a:gd name="connsiteY2" fmla="*/ 59393 h 67678"/>
                            <a:gd name="connsiteX3" fmla="*/ 32276 w 37954"/>
                            <a:gd name="connsiteY3" fmla="*/ 53488 h 67678"/>
                            <a:gd name="connsiteX4" fmla="*/ 22729 w 37954"/>
                            <a:gd name="connsiteY4" fmla="*/ 38809 h 67678"/>
                            <a:gd name="connsiteX5" fmla="*/ 47 w 37954"/>
                            <a:gd name="connsiteY5" fmla="*/ 13 h 67678"/>
                            <a:gd name="connsiteX6" fmla="*/ 25764 w 37954"/>
                            <a:gd name="connsiteY6" fmla="*/ 36933 h 67678"/>
                            <a:gd name="connsiteX7" fmla="*/ 35090 w 37954"/>
                            <a:gd name="connsiteY7" fmla="*/ 51722 h 67678"/>
                            <a:gd name="connsiteX8" fmla="*/ 37905 w 37954"/>
                            <a:gd name="connsiteY8" fmla="*/ 59724 h 67678"/>
                            <a:gd name="connsiteX9" fmla="*/ 35090 w 37954"/>
                            <a:gd name="connsiteY9" fmla="*/ 63532 h 67678"/>
                            <a:gd name="connsiteX10" fmla="*/ 31613 w 37954"/>
                            <a:gd name="connsiteY10" fmla="*/ 64746 h 67678"/>
                            <a:gd name="connsiteX11" fmla="*/ 18203 w 37954"/>
                            <a:gd name="connsiteY11" fmla="*/ 67561 h 6767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</a:cxnLst>
                          <a:rect l="l" t="t" r="r" b="b"/>
                          <a:pathLst>
                            <a:path w="37954" h="67678">
                              <a:moveTo>
                                <a:pt x="18203" y="67561"/>
                              </a:moveTo>
                              <a:cubicBezTo>
                                <a:pt x="18093" y="67119"/>
                                <a:pt x="23004" y="65132"/>
                                <a:pt x="31006" y="62373"/>
                              </a:cubicBezTo>
                              <a:cubicBezTo>
                                <a:pt x="33048" y="61711"/>
                                <a:pt x="34925" y="60883"/>
                                <a:pt x="34980" y="59393"/>
                              </a:cubicBezTo>
                              <a:cubicBezTo>
                                <a:pt x="35145" y="57793"/>
                                <a:pt x="33821" y="55696"/>
                                <a:pt x="32276" y="53488"/>
                              </a:cubicBezTo>
                              <a:cubicBezTo>
                                <a:pt x="29240" y="48853"/>
                                <a:pt x="26040" y="43941"/>
                                <a:pt x="22729" y="38809"/>
                              </a:cubicBezTo>
                              <a:cubicBezTo>
                                <a:pt x="9374" y="17894"/>
                                <a:pt x="-781" y="510"/>
                                <a:pt x="47" y="13"/>
                              </a:cubicBezTo>
                              <a:cubicBezTo>
                                <a:pt x="875" y="-538"/>
                                <a:pt x="12409" y="16017"/>
                                <a:pt x="25764" y="36933"/>
                              </a:cubicBezTo>
                              <a:cubicBezTo>
                                <a:pt x="29020" y="42120"/>
                                <a:pt x="32110" y="47032"/>
                                <a:pt x="35090" y="51722"/>
                              </a:cubicBezTo>
                              <a:cubicBezTo>
                                <a:pt x="36359" y="53930"/>
                                <a:pt x="38291" y="56358"/>
                                <a:pt x="37905" y="59724"/>
                              </a:cubicBezTo>
                              <a:cubicBezTo>
                                <a:pt x="37684" y="61435"/>
                                <a:pt x="36359" y="62870"/>
                                <a:pt x="35090" y="63532"/>
                              </a:cubicBezTo>
                              <a:cubicBezTo>
                                <a:pt x="33821" y="64249"/>
                                <a:pt x="32662" y="64470"/>
                                <a:pt x="31613" y="64746"/>
                              </a:cubicBezTo>
                              <a:cubicBezTo>
                                <a:pt x="23501" y="66954"/>
                                <a:pt x="18314" y="68057"/>
                                <a:pt x="18203" y="6756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550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3" name="Freeform: Shape 912">
                          <a:extLst>
                            <a:ext uri="{FF2B5EF4-FFF2-40B4-BE49-F238E27FC236}">
                              <a16:creationId xmlns:a16="http://schemas.microsoft.com/office/drawing/2014/main" id="{822AE9E3-E94F-46C0-A6B5-9E5906A1918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679835" y="-1955543"/>
                          <a:ext cx="87248" cy="24587"/>
                        </a:xfrm>
                        <a:custGeom>
                          <a:avLst/>
                          <a:gdLst>
                            <a:gd name="connsiteX0" fmla="*/ 84103 w 87248"/>
                            <a:gd name="connsiteY0" fmla="*/ 4525 h 24587"/>
                            <a:gd name="connsiteX1" fmla="*/ 0 w 87248"/>
                            <a:gd name="connsiteY1" fmla="*/ 0 h 24587"/>
                            <a:gd name="connsiteX2" fmla="*/ 87248 w 87248"/>
                            <a:gd name="connsiteY2" fmla="*/ 19701 h 24587"/>
                            <a:gd name="connsiteX3" fmla="*/ 84103 w 87248"/>
                            <a:gd name="connsiteY3" fmla="*/ 4525 h 2458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87248" h="24587">
                              <a:moveTo>
                                <a:pt x="84103" y="4525"/>
                              </a:moveTo>
                              <a:cubicBezTo>
                                <a:pt x="84103" y="4525"/>
                                <a:pt x="44645" y="15507"/>
                                <a:pt x="0" y="0"/>
                              </a:cubicBezTo>
                              <a:cubicBezTo>
                                <a:pt x="0" y="0"/>
                                <a:pt x="28862" y="37747"/>
                                <a:pt x="87248" y="19701"/>
                              </a:cubicBezTo>
                              <a:lnTo>
                                <a:pt x="84103" y="45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EB996E"/>
                        </a:solidFill>
                        <a:ln w="550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907" name="Freeform: Shape 906">
                        <a:extLst>
                          <a:ext uri="{FF2B5EF4-FFF2-40B4-BE49-F238E27FC236}">
                            <a16:creationId xmlns:a16="http://schemas.microsoft.com/office/drawing/2014/main" id="{F4191A3F-B258-4F26-A72E-173D62EF45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0313" y="-2115031"/>
                        <a:ext cx="37583" cy="13856"/>
                      </a:xfrm>
                      <a:custGeom>
                        <a:avLst/>
                        <a:gdLst>
                          <a:gd name="connsiteX0" fmla="*/ 37567 w 37583"/>
                          <a:gd name="connsiteY0" fmla="*/ 4527 h 13856"/>
                          <a:gd name="connsiteX1" fmla="*/ 18970 w 37583"/>
                          <a:gd name="connsiteY1" fmla="*/ 9218 h 13856"/>
                          <a:gd name="connsiteX2" fmla="*/ 207 w 37583"/>
                          <a:gd name="connsiteY2" fmla="*/ 13357 h 13856"/>
                          <a:gd name="connsiteX3" fmla="*/ 3518 w 37583"/>
                          <a:gd name="connsiteY3" fmla="*/ 7562 h 13856"/>
                          <a:gd name="connsiteX4" fmla="*/ 16983 w 37583"/>
                          <a:gd name="connsiteY4" fmla="*/ 940 h 13856"/>
                          <a:gd name="connsiteX5" fmla="*/ 31994 w 37583"/>
                          <a:gd name="connsiteY5" fmla="*/ 885 h 13856"/>
                          <a:gd name="connsiteX6" fmla="*/ 37567 w 37583"/>
                          <a:gd name="connsiteY6" fmla="*/ 4527 h 138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583" h="13856">
                            <a:moveTo>
                              <a:pt x="37567" y="4527"/>
                            </a:moveTo>
                            <a:cubicBezTo>
                              <a:pt x="37016" y="6900"/>
                              <a:pt x="28572" y="6845"/>
                              <a:pt x="18970" y="9218"/>
                            </a:cubicBezTo>
                            <a:cubicBezTo>
                              <a:pt x="9313" y="11370"/>
                              <a:pt x="1752" y="15233"/>
                              <a:pt x="207" y="13357"/>
                            </a:cubicBezTo>
                            <a:cubicBezTo>
                              <a:pt x="-511" y="12474"/>
                              <a:pt x="648" y="10156"/>
                              <a:pt x="3518" y="7562"/>
                            </a:cubicBezTo>
                            <a:cubicBezTo>
                              <a:pt x="6388" y="4969"/>
                              <a:pt x="11189" y="2320"/>
                              <a:pt x="16983" y="940"/>
                            </a:cubicBezTo>
                            <a:cubicBezTo>
                              <a:pt x="22778" y="-440"/>
                              <a:pt x="28241" y="-164"/>
                              <a:pt x="31994" y="885"/>
                            </a:cubicBezTo>
                            <a:cubicBezTo>
                              <a:pt x="35746" y="1823"/>
                              <a:pt x="37788" y="3423"/>
                              <a:pt x="37567" y="4527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550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08" name="Freeform: Shape 907">
                        <a:extLst>
                          <a:ext uri="{FF2B5EF4-FFF2-40B4-BE49-F238E27FC236}">
                            <a16:creationId xmlns:a16="http://schemas.microsoft.com/office/drawing/2014/main" id="{CFB9A89A-281D-4233-A55F-91814A9D8F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39177" y="-2149888"/>
                        <a:ext cx="33491" cy="12085"/>
                      </a:xfrm>
                      <a:custGeom>
                        <a:avLst/>
                        <a:gdLst>
                          <a:gd name="connsiteX0" fmla="*/ 33370 w 33491"/>
                          <a:gd name="connsiteY0" fmla="*/ 5555 h 12085"/>
                          <a:gd name="connsiteX1" fmla="*/ 16924 w 33491"/>
                          <a:gd name="connsiteY1" fmla="*/ 8867 h 12085"/>
                          <a:gd name="connsiteX2" fmla="*/ 369 w 33491"/>
                          <a:gd name="connsiteY2" fmla="*/ 11626 h 12085"/>
                          <a:gd name="connsiteX3" fmla="*/ 2797 w 33491"/>
                          <a:gd name="connsiteY3" fmla="*/ 6328 h 12085"/>
                          <a:gd name="connsiteX4" fmla="*/ 15545 w 33491"/>
                          <a:gd name="connsiteY4" fmla="*/ 478 h 12085"/>
                          <a:gd name="connsiteX5" fmla="*/ 29452 w 33491"/>
                          <a:gd name="connsiteY5" fmla="*/ 1472 h 12085"/>
                          <a:gd name="connsiteX6" fmla="*/ 33370 w 33491"/>
                          <a:gd name="connsiteY6" fmla="*/ 5555 h 1208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491" h="12085">
                            <a:moveTo>
                              <a:pt x="33370" y="5555"/>
                            </a:moveTo>
                            <a:cubicBezTo>
                              <a:pt x="32045" y="7763"/>
                              <a:pt x="24982" y="7266"/>
                              <a:pt x="16924" y="8867"/>
                            </a:cubicBezTo>
                            <a:cubicBezTo>
                              <a:pt x="8812" y="10246"/>
                              <a:pt x="2355" y="13226"/>
                              <a:pt x="369" y="11626"/>
                            </a:cubicBezTo>
                            <a:cubicBezTo>
                              <a:pt x="-514" y="10798"/>
                              <a:pt x="148" y="8756"/>
                              <a:pt x="2797" y="6328"/>
                            </a:cubicBezTo>
                            <a:cubicBezTo>
                              <a:pt x="5335" y="3955"/>
                              <a:pt x="9971" y="1472"/>
                              <a:pt x="15545" y="478"/>
                            </a:cubicBezTo>
                            <a:cubicBezTo>
                              <a:pt x="21118" y="-515"/>
                              <a:pt x="26251" y="147"/>
                              <a:pt x="29452" y="1472"/>
                            </a:cubicBezTo>
                            <a:cubicBezTo>
                              <a:pt x="32597" y="2741"/>
                              <a:pt x="33922" y="4452"/>
                              <a:pt x="33370" y="555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550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905" name="Freeform: Shape 904">
                      <a:extLst>
                        <a:ext uri="{FF2B5EF4-FFF2-40B4-BE49-F238E27FC236}">
                          <a16:creationId xmlns:a16="http://schemas.microsoft.com/office/drawing/2014/main" id="{C797CCFF-3DF8-4238-A8B9-8F75CC673C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21172" y="-2226287"/>
                      <a:ext cx="206449" cy="93562"/>
                    </a:xfrm>
                    <a:custGeom>
                      <a:avLst/>
                      <a:gdLst>
                        <a:gd name="connsiteX0" fmla="*/ 3201 w 206449"/>
                        <a:gd name="connsiteY0" fmla="*/ 27928 h 93562"/>
                        <a:gd name="connsiteX1" fmla="*/ 24282 w 206449"/>
                        <a:gd name="connsiteY1" fmla="*/ 56238 h 93562"/>
                        <a:gd name="connsiteX2" fmla="*/ 59545 w 206449"/>
                        <a:gd name="connsiteY2" fmla="*/ 58114 h 93562"/>
                        <a:gd name="connsiteX3" fmla="*/ 86145 w 206449"/>
                        <a:gd name="connsiteY3" fmla="*/ 51106 h 93562"/>
                        <a:gd name="connsiteX4" fmla="*/ 107060 w 206449"/>
                        <a:gd name="connsiteY4" fmla="*/ 71745 h 93562"/>
                        <a:gd name="connsiteX5" fmla="*/ 148449 w 206449"/>
                        <a:gd name="connsiteY5" fmla="*/ 67882 h 93562"/>
                        <a:gd name="connsiteX6" fmla="*/ 176373 w 206449"/>
                        <a:gd name="connsiteY6" fmla="*/ 84162 h 93562"/>
                        <a:gd name="connsiteX7" fmla="*/ 206449 w 206449"/>
                        <a:gd name="connsiteY7" fmla="*/ 91557 h 93562"/>
                        <a:gd name="connsiteX8" fmla="*/ 196681 w 206449"/>
                        <a:gd name="connsiteY8" fmla="*/ 64957 h 93562"/>
                        <a:gd name="connsiteX9" fmla="*/ 176483 w 206449"/>
                        <a:gd name="connsiteY9" fmla="*/ 45863 h 93562"/>
                        <a:gd name="connsiteX10" fmla="*/ 161749 w 206449"/>
                        <a:gd name="connsiteY10" fmla="*/ 40951 h 93562"/>
                        <a:gd name="connsiteX11" fmla="*/ 140061 w 206449"/>
                        <a:gd name="connsiteY11" fmla="*/ 15732 h 93562"/>
                        <a:gd name="connsiteX12" fmla="*/ 101431 w 206449"/>
                        <a:gd name="connsiteY12" fmla="*/ 224 h 93562"/>
                        <a:gd name="connsiteX13" fmla="*/ 66167 w 206449"/>
                        <a:gd name="connsiteY13" fmla="*/ 6957 h 93562"/>
                        <a:gd name="connsiteX14" fmla="*/ 39899 w 206449"/>
                        <a:gd name="connsiteY14" fmla="*/ 2763 h 93562"/>
                        <a:gd name="connsiteX15" fmla="*/ 0 w 206449"/>
                        <a:gd name="connsiteY15" fmla="*/ 32563 h 935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206449" h="93562">
                          <a:moveTo>
                            <a:pt x="3201" y="27928"/>
                          </a:moveTo>
                          <a:cubicBezTo>
                            <a:pt x="5629" y="39848"/>
                            <a:pt x="13576" y="50498"/>
                            <a:pt x="24282" y="56238"/>
                          </a:cubicBezTo>
                          <a:cubicBezTo>
                            <a:pt x="34988" y="61977"/>
                            <a:pt x="48287" y="62694"/>
                            <a:pt x="59545" y="58114"/>
                          </a:cubicBezTo>
                          <a:cubicBezTo>
                            <a:pt x="68265" y="54582"/>
                            <a:pt x="77315" y="47905"/>
                            <a:pt x="86145" y="51106"/>
                          </a:cubicBezTo>
                          <a:cubicBezTo>
                            <a:pt x="95471" y="54472"/>
                            <a:pt x="98396" y="66889"/>
                            <a:pt x="107060" y="71745"/>
                          </a:cubicBezTo>
                          <a:cubicBezTo>
                            <a:pt x="119422" y="78643"/>
                            <a:pt x="134322" y="66668"/>
                            <a:pt x="148449" y="67882"/>
                          </a:cubicBezTo>
                          <a:cubicBezTo>
                            <a:pt x="159376" y="68820"/>
                            <a:pt x="167819" y="77319"/>
                            <a:pt x="176373" y="84162"/>
                          </a:cubicBezTo>
                          <a:cubicBezTo>
                            <a:pt x="184927" y="91005"/>
                            <a:pt x="196792" y="96744"/>
                            <a:pt x="206449" y="91557"/>
                          </a:cubicBezTo>
                          <a:cubicBezTo>
                            <a:pt x="203856" y="82451"/>
                            <a:pt x="201262" y="73235"/>
                            <a:pt x="196681" y="64957"/>
                          </a:cubicBezTo>
                          <a:cubicBezTo>
                            <a:pt x="192101" y="56679"/>
                            <a:pt x="185258" y="49284"/>
                            <a:pt x="176483" y="45863"/>
                          </a:cubicBezTo>
                          <a:cubicBezTo>
                            <a:pt x="171627" y="43987"/>
                            <a:pt x="166384" y="43324"/>
                            <a:pt x="161749" y="40951"/>
                          </a:cubicBezTo>
                          <a:cubicBezTo>
                            <a:pt x="151760" y="35819"/>
                            <a:pt x="147345" y="24230"/>
                            <a:pt x="140061" y="15732"/>
                          </a:cubicBezTo>
                          <a:cubicBezTo>
                            <a:pt x="130679" y="4750"/>
                            <a:pt x="115779" y="-1266"/>
                            <a:pt x="101431" y="224"/>
                          </a:cubicBezTo>
                          <a:cubicBezTo>
                            <a:pt x="89456" y="1438"/>
                            <a:pt x="78143" y="7454"/>
                            <a:pt x="66167" y="6957"/>
                          </a:cubicBezTo>
                          <a:cubicBezTo>
                            <a:pt x="57283" y="6571"/>
                            <a:pt x="48784" y="2653"/>
                            <a:pt x="39899" y="2763"/>
                          </a:cubicBezTo>
                          <a:cubicBezTo>
                            <a:pt x="22626" y="3039"/>
                            <a:pt x="9602" y="18215"/>
                            <a:pt x="0" y="32563"/>
                          </a:cubicBezTo>
                        </a:path>
                      </a:pathLst>
                    </a:custGeom>
                    <a:solidFill>
                      <a:srgbClr val="263238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00" name="Freeform: Shape 899">
                    <a:extLst>
                      <a:ext uri="{FF2B5EF4-FFF2-40B4-BE49-F238E27FC236}">
                        <a16:creationId xmlns:a16="http://schemas.microsoft.com/office/drawing/2014/main" id="{3B1896FC-89A2-4571-8087-8E6C7C154AB2}"/>
                      </a:ext>
                    </a:extLst>
                  </p:cNvPr>
                  <p:cNvSpPr/>
                  <p:nvPr/>
                </p:nvSpPr>
                <p:spPr>
                  <a:xfrm>
                    <a:off x="7538629" y="-2209412"/>
                    <a:ext cx="144193" cy="249156"/>
                  </a:xfrm>
                  <a:custGeom>
                    <a:avLst/>
                    <a:gdLst>
                      <a:gd name="connsiteX0" fmla="*/ 143910 w 144193"/>
                      <a:gd name="connsiteY0" fmla="*/ 23690 h 249156"/>
                      <a:gd name="connsiteX1" fmla="*/ 114386 w 144193"/>
                      <a:gd name="connsiteY1" fmla="*/ 15799 h 249156"/>
                      <a:gd name="connsiteX2" fmla="*/ 70017 w 144193"/>
                      <a:gd name="connsiteY2" fmla="*/ 1230 h 249156"/>
                      <a:gd name="connsiteX3" fmla="*/ 42313 w 144193"/>
                      <a:gd name="connsiteY3" fmla="*/ 37983 h 249156"/>
                      <a:gd name="connsiteX4" fmla="*/ 2028 w 144193"/>
                      <a:gd name="connsiteY4" fmla="*/ 77551 h 249156"/>
                      <a:gd name="connsiteX5" fmla="*/ 15824 w 144193"/>
                      <a:gd name="connsiteY5" fmla="*/ 135496 h 249156"/>
                      <a:gd name="connsiteX6" fmla="*/ 24875 w 144193"/>
                      <a:gd name="connsiteY6" fmla="*/ 148630 h 249156"/>
                      <a:gd name="connsiteX7" fmla="*/ 15052 w 144193"/>
                      <a:gd name="connsiteY7" fmla="*/ 163530 h 249156"/>
                      <a:gd name="connsiteX8" fmla="*/ 36685 w 144193"/>
                      <a:gd name="connsiteY8" fmla="*/ 202160 h 249156"/>
                      <a:gd name="connsiteX9" fmla="*/ 65160 w 144193"/>
                      <a:gd name="connsiteY9" fmla="*/ 220758 h 249156"/>
                      <a:gd name="connsiteX10" fmla="*/ 91042 w 144193"/>
                      <a:gd name="connsiteY10" fmla="*/ 249123 h 249156"/>
                      <a:gd name="connsiteX11" fmla="*/ 82268 w 144193"/>
                      <a:gd name="connsiteY11" fmla="*/ 157736 h 249156"/>
                      <a:gd name="connsiteX12" fmla="*/ 86296 w 144193"/>
                      <a:gd name="connsiteY12" fmla="*/ 158453 h 249156"/>
                      <a:gd name="connsiteX13" fmla="*/ 94961 w 144193"/>
                      <a:gd name="connsiteY13" fmla="*/ 109007 h 249156"/>
                      <a:gd name="connsiteX14" fmla="*/ 110633 w 144193"/>
                      <a:gd name="connsiteY14" fmla="*/ 83787 h 249156"/>
                      <a:gd name="connsiteX15" fmla="*/ 111461 w 144193"/>
                      <a:gd name="connsiteY15" fmla="*/ 41460 h 249156"/>
                      <a:gd name="connsiteX16" fmla="*/ 143910 w 144193"/>
                      <a:gd name="connsiteY16" fmla="*/ 23690 h 2491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44193" h="249156">
                        <a:moveTo>
                          <a:pt x="143910" y="23690"/>
                        </a:moveTo>
                        <a:cubicBezTo>
                          <a:pt x="136019" y="23083"/>
                          <a:pt x="119739" y="21427"/>
                          <a:pt x="114386" y="15799"/>
                        </a:cubicBezTo>
                        <a:cubicBezTo>
                          <a:pt x="102797" y="3547"/>
                          <a:pt x="85469" y="-2854"/>
                          <a:pt x="70017" y="1230"/>
                        </a:cubicBezTo>
                        <a:cubicBezTo>
                          <a:pt x="54565" y="5313"/>
                          <a:pt x="42093" y="20820"/>
                          <a:pt x="42313" y="37983"/>
                        </a:cubicBezTo>
                        <a:cubicBezTo>
                          <a:pt x="23385" y="42067"/>
                          <a:pt x="7381" y="57795"/>
                          <a:pt x="2028" y="77551"/>
                        </a:cubicBezTo>
                        <a:cubicBezTo>
                          <a:pt x="-3325" y="97308"/>
                          <a:pt x="2138" y="120375"/>
                          <a:pt x="15824" y="135496"/>
                        </a:cubicBezTo>
                        <a:cubicBezTo>
                          <a:pt x="19411" y="139469"/>
                          <a:pt x="24875" y="148630"/>
                          <a:pt x="24875" y="148630"/>
                        </a:cubicBezTo>
                        <a:cubicBezTo>
                          <a:pt x="24875" y="148630"/>
                          <a:pt x="17756" y="157515"/>
                          <a:pt x="15052" y="163530"/>
                        </a:cubicBezTo>
                        <a:cubicBezTo>
                          <a:pt x="2469" y="191454"/>
                          <a:pt x="36685" y="202160"/>
                          <a:pt x="36685" y="202160"/>
                        </a:cubicBezTo>
                        <a:cubicBezTo>
                          <a:pt x="36795" y="220923"/>
                          <a:pt x="54068" y="220868"/>
                          <a:pt x="65160" y="220758"/>
                        </a:cubicBezTo>
                        <a:cubicBezTo>
                          <a:pt x="75811" y="220703"/>
                          <a:pt x="82378" y="250282"/>
                          <a:pt x="91042" y="249123"/>
                        </a:cubicBezTo>
                        <a:lnTo>
                          <a:pt x="82268" y="157736"/>
                        </a:lnTo>
                        <a:cubicBezTo>
                          <a:pt x="83316" y="158177"/>
                          <a:pt x="84641" y="158453"/>
                          <a:pt x="86296" y="158453"/>
                        </a:cubicBezTo>
                        <a:cubicBezTo>
                          <a:pt x="107212" y="158840"/>
                          <a:pt x="101748" y="119272"/>
                          <a:pt x="94961" y="109007"/>
                        </a:cubicBezTo>
                        <a:cubicBezTo>
                          <a:pt x="100865" y="101115"/>
                          <a:pt x="106825" y="93058"/>
                          <a:pt x="110633" y="83787"/>
                        </a:cubicBezTo>
                        <a:cubicBezTo>
                          <a:pt x="114441" y="74461"/>
                          <a:pt x="114717" y="51228"/>
                          <a:pt x="111461" y="41460"/>
                        </a:cubicBezTo>
                        <a:cubicBezTo>
                          <a:pt x="118801" y="40411"/>
                          <a:pt x="147332" y="23911"/>
                          <a:pt x="143910" y="23690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901" name="Graphic 179">
                    <a:extLst>
                      <a:ext uri="{FF2B5EF4-FFF2-40B4-BE49-F238E27FC236}">
                        <a16:creationId xmlns:a16="http://schemas.microsoft.com/office/drawing/2014/main" id="{C597F132-9718-4B3F-BE58-AB664E62780E}"/>
                      </a:ext>
                    </a:extLst>
                  </p:cNvPr>
                  <p:cNvGrpSpPr/>
                  <p:nvPr/>
                </p:nvGrpSpPr>
                <p:grpSpPr>
                  <a:xfrm>
                    <a:off x="7589021" y="-2060461"/>
                    <a:ext cx="43906" cy="52977"/>
                    <a:chOff x="7589021" y="-2060461"/>
                    <a:chExt cx="43906" cy="52977"/>
                  </a:xfrm>
                </p:grpSpPr>
                <p:sp>
                  <p:nvSpPr>
                    <p:cNvPr id="902" name="Freeform: Shape 901">
                      <a:extLst>
                        <a:ext uri="{FF2B5EF4-FFF2-40B4-BE49-F238E27FC236}">
                          <a16:creationId xmlns:a16="http://schemas.microsoft.com/office/drawing/2014/main" id="{3572D6A5-F75D-42EE-840A-6A9920D5EA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89021" y="-2060461"/>
                      <a:ext cx="43906" cy="52977"/>
                    </a:xfrm>
                    <a:custGeom>
                      <a:avLst/>
                      <a:gdLst>
                        <a:gd name="connsiteX0" fmla="*/ 34965 w 43906"/>
                        <a:gd name="connsiteY0" fmla="*/ 13641 h 52977"/>
                        <a:gd name="connsiteX1" fmla="*/ 6490 w 43906"/>
                        <a:gd name="connsiteY1" fmla="*/ 4149 h 52977"/>
                        <a:gd name="connsiteX2" fmla="*/ 1357 w 43906"/>
                        <a:gd name="connsiteY2" fmla="*/ 30142 h 52977"/>
                        <a:gd name="connsiteX3" fmla="*/ 43906 w 43906"/>
                        <a:gd name="connsiteY3" fmla="*/ 48353 h 52977"/>
                        <a:gd name="connsiteX4" fmla="*/ 34965 w 43906"/>
                        <a:gd name="connsiteY4" fmla="*/ 13641 h 5297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3906" h="52977">
                          <a:moveTo>
                            <a:pt x="34965" y="13641"/>
                          </a:moveTo>
                          <a:cubicBezTo>
                            <a:pt x="31709" y="1114"/>
                            <a:pt x="16147" y="-4460"/>
                            <a:pt x="6490" y="4149"/>
                          </a:cubicBezTo>
                          <a:cubicBezTo>
                            <a:pt x="1192" y="8895"/>
                            <a:pt x="-1954" y="16842"/>
                            <a:pt x="1357" y="30142"/>
                          </a:cubicBezTo>
                          <a:cubicBezTo>
                            <a:pt x="10242" y="65681"/>
                            <a:pt x="44071" y="49401"/>
                            <a:pt x="43906" y="48353"/>
                          </a:cubicBezTo>
                          <a:cubicBezTo>
                            <a:pt x="43850" y="47746"/>
                            <a:pt x="38828" y="28321"/>
                            <a:pt x="34965" y="13641"/>
                          </a:cubicBezTo>
                          <a:close/>
                        </a:path>
                      </a:pathLst>
                    </a:custGeom>
                    <a:solidFill>
                      <a:srgbClr val="FFBE9D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03" name="Freeform: Shape 902">
                      <a:extLst>
                        <a:ext uri="{FF2B5EF4-FFF2-40B4-BE49-F238E27FC236}">
                          <a16:creationId xmlns:a16="http://schemas.microsoft.com/office/drawing/2014/main" id="{33BF4991-A392-477B-B068-CFC411CA14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98945" y="-2049407"/>
                      <a:ext cx="19884" cy="30952"/>
                    </a:xfrm>
                    <a:custGeom>
                      <a:avLst/>
                      <a:gdLst>
                        <a:gd name="connsiteX0" fmla="*/ 19799 w 19884"/>
                        <a:gd name="connsiteY0" fmla="*/ 26593 h 30952"/>
                        <a:gd name="connsiteX1" fmla="*/ 18364 w 19884"/>
                        <a:gd name="connsiteY1" fmla="*/ 27917 h 30952"/>
                        <a:gd name="connsiteX2" fmla="*/ 13784 w 19884"/>
                        <a:gd name="connsiteY2" fmla="*/ 29187 h 30952"/>
                        <a:gd name="connsiteX3" fmla="*/ 3243 w 19884"/>
                        <a:gd name="connsiteY3" fmla="*/ 17211 h 30952"/>
                        <a:gd name="connsiteX4" fmla="*/ 2747 w 19884"/>
                        <a:gd name="connsiteY4" fmla="*/ 7940 h 30952"/>
                        <a:gd name="connsiteX5" fmla="*/ 6224 w 19884"/>
                        <a:gd name="connsiteY5" fmla="*/ 2035 h 30952"/>
                        <a:gd name="connsiteX6" fmla="*/ 10307 w 19884"/>
                        <a:gd name="connsiteY6" fmla="*/ 2808 h 30952"/>
                        <a:gd name="connsiteX7" fmla="*/ 11190 w 19884"/>
                        <a:gd name="connsiteY7" fmla="*/ 4463 h 30952"/>
                        <a:gd name="connsiteX8" fmla="*/ 11135 w 19884"/>
                        <a:gd name="connsiteY8" fmla="*/ 2256 h 30952"/>
                        <a:gd name="connsiteX9" fmla="*/ 9203 w 19884"/>
                        <a:gd name="connsiteY9" fmla="*/ 380 h 30952"/>
                        <a:gd name="connsiteX10" fmla="*/ 5561 w 19884"/>
                        <a:gd name="connsiteY10" fmla="*/ 324 h 30952"/>
                        <a:gd name="connsiteX11" fmla="*/ 484 w 19884"/>
                        <a:gd name="connsiteY11" fmla="*/ 7443 h 30952"/>
                        <a:gd name="connsiteX12" fmla="*/ 815 w 19884"/>
                        <a:gd name="connsiteY12" fmla="*/ 17874 h 30952"/>
                        <a:gd name="connsiteX13" fmla="*/ 13673 w 19884"/>
                        <a:gd name="connsiteY13" fmla="*/ 30953 h 30952"/>
                        <a:gd name="connsiteX14" fmla="*/ 19082 w 19884"/>
                        <a:gd name="connsiteY14" fmla="*/ 28580 h 30952"/>
                        <a:gd name="connsiteX15" fmla="*/ 19799 w 19884"/>
                        <a:gd name="connsiteY15" fmla="*/ 26593 h 309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9884" h="30952">
                          <a:moveTo>
                            <a:pt x="19799" y="26593"/>
                          </a:moveTo>
                          <a:cubicBezTo>
                            <a:pt x="19634" y="26538"/>
                            <a:pt x="19302" y="27200"/>
                            <a:pt x="18364" y="27917"/>
                          </a:cubicBezTo>
                          <a:cubicBezTo>
                            <a:pt x="17481" y="28635"/>
                            <a:pt x="15771" y="29407"/>
                            <a:pt x="13784" y="29187"/>
                          </a:cubicBezTo>
                          <a:cubicBezTo>
                            <a:pt x="9700" y="28745"/>
                            <a:pt x="5009" y="23558"/>
                            <a:pt x="3243" y="17211"/>
                          </a:cubicBezTo>
                          <a:cubicBezTo>
                            <a:pt x="2360" y="14011"/>
                            <a:pt x="2250" y="10755"/>
                            <a:pt x="2747" y="7940"/>
                          </a:cubicBezTo>
                          <a:cubicBezTo>
                            <a:pt x="3188" y="5070"/>
                            <a:pt x="4402" y="2808"/>
                            <a:pt x="6224" y="2035"/>
                          </a:cubicBezTo>
                          <a:cubicBezTo>
                            <a:pt x="7989" y="1152"/>
                            <a:pt x="9590" y="1925"/>
                            <a:pt x="10307" y="2808"/>
                          </a:cubicBezTo>
                          <a:cubicBezTo>
                            <a:pt x="11025" y="3691"/>
                            <a:pt x="10969" y="4463"/>
                            <a:pt x="11190" y="4463"/>
                          </a:cubicBezTo>
                          <a:cubicBezTo>
                            <a:pt x="11301" y="4519"/>
                            <a:pt x="11797" y="3691"/>
                            <a:pt x="11135" y="2256"/>
                          </a:cubicBezTo>
                          <a:cubicBezTo>
                            <a:pt x="10804" y="1594"/>
                            <a:pt x="10197" y="876"/>
                            <a:pt x="9203" y="380"/>
                          </a:cubicBezTo>
                          <a:cubicBezTo>
                            <a:pt x="8155" y="-117"/>
                            <a:pt x="6830" y="-117"/>
                            <a:pt x="5561" y="324"/>
                          </a:cubicBezTo>
                          <a:cubicBezTo>
                            <a:pt x="2857" y="1207"/>
                            <a:pt x="1036" y="4353"/>
                            <a:pt x="484" y="7443"/>
                          </a:cubicBezTo>
                          <a:cubicBezTo>
                            <a:pt x="-233" y="10589"/>
                            <a:pt x="-178" y="14286"/>
                            <a:pt x="815" y="17874"/>
                          </a:cubicBezTo>
                          <a:cubicBezTo>
                            <a:pt x="2857" y="24992"/>
                            <a:pt x="8210" y="30732"/>
                            <a:pt x="13673" y="30953"/>
                          </a:cubicBezTo>
                          <a:cubicBezTo>
                            <a:pt x="16322" y="30953"/>
                            <a:pt x="18254" y="29683"/>
                            <a:pt x="19082" y="28580"/>
                          </a:cubicBezTo>
                          <a:cubicBezTo>
                            <a:pt x="19965" y="27476"/>
                            <a:pt x="19965" y="26648"/>
                            <a:pt x="19799" y="26593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893" name="Freeform: Shape 892">
                  <a:extLst>
                    <a:ext uri="{FF2B5EF4-FFF2-40B4-BE49-F238E27FC236}">
                      <a16:creationId xmlns:a16="http://schemas.microsoft.com/office/drawing/2014/main" id="{9440C0B6-5DA3-4E8B-8171-F7C283C56E0F}"/>
                    </a:ext>
                  </a:extLst>
                </p:cNvPr>
                <p:cNvSpPr/>
                <p:nvPr/>
              </p:nvSpPr>
              <p:spPr>
                <a:xfrm>
                  <a:off x="7643727" y="-2203093"/>
                  <a:ext cx="191968" cy="106665"/>
                </a:xfrm>
                <a:custGeom>
                  <a:avLst/>
                  <a:gdLst>
                    <a:gd name="connsiteX0" fmla="*/ 170816 w 191968"/>
                    <a:gd name="connsiteY0" fmla="*/ 106661 h 106665"/>
                    <a:gd name="connsiteX1" fmla="*/ 178542 w 191968"/>
                    <a:gd name="connsiteY1" fmla="*/ 98660 h 106665"/>
                    <a:gd name="connsiteX2" fmla="*/ 189634 w 191968"/>
                    <a:gd name="connsiteY2" fmla="*/ 71067 h 106665"/>
                    <a:gd name="connsiteX3" fmla="*/ 187648 w 191968"/>
                    <a:gd name="connsiteY3" fmla="*/ 50593 h 106665"/>
                    <a:gd name="connsiteX4" fmla="*/ 175010 w 191968"/>
                    <a:gd name="connsiteY4" fmla="*/ 31002 h 106665"/>
                    <a:gd name="connsiteX5" fmla="*/ 124295 w 191968"/>
                    <a:gd name="connsiteY5" fmla="*/ 21124 h 106665"/>
                    <a:gd name="connsiteX6" fmla="*/ 119493 w 191968"/>
                    <a:gd name="connsiteY6" fmla="*/ 23166 h 106665"/>
                    <a:gd name="connsiteX7" fmla="*/ 115134 w 191968"/>
                    <a:gd name="connsiteY7" fmla="*/ 25649 h 106665"/>
                    <a:gd name="connsiteX8" fmla="*/ 112926 w 191968"/>
                    <a:gd name="connsiteY8" fmla="*/ 26863 h 106665"/>
                    <a:gd name="connsiteX9" fmla="*/ 112871 w 191968"/>
                    <a:gd name="connsiteY9" fmla="*/ 24435 h 106665"/>
                    <a:gd name="connsiteX10" fmla="*/ 108401 w 191968"/>
                    <a:gd name="connsiteY10" fmla="*/ 12846 h 106665"/>
                    <a:gd name="connsiteX11" fmla="*/ 98192 w 191968"/>
                    <a:gd name="connsiteY11" fmla="*/ 5561 h 106665"/>
                    <a:gd name="connsiteX12" fmla="*/ 74517 w 191968"/>
                    <a:gd name="connsiteY12" fmla="*/ 3851 h 106665"/>
                    <a:gd name="connsiteX13" fmla="*/ 34177 w 191968"/>
                    <a:gd name="connsiteY13" fmla="*/ 15660 h 106665"/>
                    <a:gd name="connsiteX14" fmla="*/ 6639 w 191968"/>
                    <a:gd name="connsiteY14" fmla="*/ 10142 h 106665"/>
                    <a:gd name="connsiteX15" fmla="*/ 1231 w 191968"/>
                    <a:gd name="connsiteY15" fmla="*/ 4623 h 106665"/>
                    <a:gd name="connsiteX16" fmla="*/ 17 w 191968"/>
                    <a:gd name="connsiteY16" fmla="*/ 2250 h 106665"/>
                    <a:gd name="connsiteX17" fmla="*/ 7246 w 191968"/>
                    <a:gd name="connsiteY17" fmla="*/ 9259 h 106665"/>
                    <a:gd name="connsiteX18" fmla="*/ 33901 w 191968"/>
                    <a:gd name="connsiteY18" fmla="*/ 13729 h 106665"/>
                    <a:gd name="connsiteX19" fmla="*/ 52443 w 191968"/>
                    <a:gd name="connsiteY19" fmla="*/ 8376 h 106665"/>
                    <a:gd name="connsiteX20" fmla="*/ 73965 w 191968"/>
                    <a:gd name="connsiteY20" fmla="*/ 1312 h 106665"/>
                    <a:gd name="connsiteX21" fmla="*/ 86437 w 191968"/>
                    <a:gd name="connsiteY21" fmla="*/ 43 h 106665"/>
                    <a:gd name="connsiteX22" fmla="*/ 99295 w 191968"/>
                    <a:gd name="connsiteY22" fmla="*/ 3023 h 106665"/>
                    <a:gd name="connsiteX23" fmla="*/ 110553 w 191968"/>
                    <a:gd name="connsiteY23" fmla="*/ 11025 h 106665"/>
                    <a:gd name="connsiteX24" fmla="*/ 115741 w 191968"/>
                    <a:gd name="connsiteY24" fmla="*/ 24490 h 106665"/>
                    <a:gd name="connsiteX25" fmla="*/ 113533 w 191968"/>
                    <a:gd name="connsiteY25" fmla="*/ 23276 h 106665"/>
                    <a:gd name="connsiteX26" fmla="*/ 118169 w 191968"/>
                    <a:gd name="connsiteY26" fmla="*/ 20627 h 106665"/>
                    <a:gd name="connsiteX27" fmla="*/ 123246 w 191968"/>
                    <a:gd name="connsiteY27" fmla="*/ 18475 h 106665"/>
                    <a:gd name="connsiteX28" fmla="*/ 176721 w 191968"/>
                    <a:gd name="connsiteY28" fmla="*/ 29070 h 106665"/>
                    <a:gd name="connsiteX29" fmla="*/ 189855 w 191968"/>
                    <a:gd name="connsiteY29" fmla="*/ 49931 h 106665"/>
                    <a:gd name="connsiteX30" fmla="*/ 191566 w 191968"/>
                    <a:gd name="connsiteY30" fmla="*/ 71343 h 106665"/>
                    <a:gd name="connsiteX31" fmla="*/ 179315 w 191968"/>
                    <a:gd name="connsiteY31" fmla="*/ 99432 h 106665"/>
                    <a:gd name="connsiteX32" fmla="*/ 173134 w 191968"/>
                    <a:gd name="connsiteY32" fmla="*/ 105116 h 106665"/>
                    <a:gd name="connsiteX33" fmla="*/ 170816 w 191968"/>
                    <a:gd name="connsiteY33" fmla="*/ 106661 h 106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91968" h="106665">
                      <a:moveTo>
                        <a:pt x="170816" y="106661"/>
                      </a:moveTo>
                      <a:cubicBezTo>
                        <a:pt x="170595" y="106386"/>
                        <a:pt x="174017" y="104178"/>
                        <a:pt x="178542" y="98660"/>
                      </a:cubicBezTo>
                      <a:cubicBezTo>
                        <a:pt x="182957" y="93141"/>
                        <a:pt x="188365" y="83815"/>
                        <a:pt x="189634" y="71067"/>
                      </a:cubicBezTo>
                      <a:cubicBezTo>
                        <a:pt x="190241" y="64776"/>
                        <a:pt x="189910" y="57657"/>
                        <a:pt x="187648" y="50593"/>
                      </a:cubicBezTo>
                      <a:cubicBezTo>
                        <a:pt x="185385" y="43584"/>
                        <a:pt x="181301" y="36465"/>
                        <a:pt x="175010" y="31002"/>
                      </a:cubicBezTo>
                      <a:cubicBezTo>
                        <a:pt x="162759" y="19855"/>
                        <a:pt x="142506" y="14722"/>
                        <a:pt x="124295" y="21124"/>
                      </a:cubicBezTo>
                      <a:cubicBezTo>
                        <a:pt x="122639" y="21676"/>
                        <a:pt x="121094" y="22503"/>
                        <a:pt x="119493" y="23166"/>
                      </a:cubicBezTo>
                      <a:cubicBezTo>
                        <a:pt x="118003" y="23938"/>
                        <a:pt x="116569" y="24821"/>
                        <a:pt x="115134" y="25649"/>
                      </a:cubicBezTo>
                      <a:lnTo>
                        <a:pt x="112926" y="26863"/>
                      </a:lnTo>
                      <a:lnTo>
                        <a:pt x="112871" y="24435"/>
                      </a:lnTo>
                      <a:cubicBezTo>
                        <a:pt x="112816" y="20130"/>
                        <a:pt x="111216" y="15992"/>
                        <a:pt x="108401" y="12846"/>
                      </a:cubicBezTo>
                      <a:cubicBezTo>
                        <a:pt x="105642" y="9645"/>
                        <a:pt x="102055" y="7217"/>
                        <a:pt x="98192" y="5561"/>
                      </a:cubicBezTo>
                      <a:cubicBezTo>
                        <a:pt x="90466" y="2140"/>
                        <a:pt x="82133" y="2085"/>
                        <a:pt x="74517" y="3851"/>
                      </a:cubicBezTo>
                      <a:cubicBezTo>
                        <a:pt x="59286" y="7327"/>
                        <a:pt x="46373" y="14281"/>
                        <a:pt x="34177" y="15660"/>
                      </a:cubicBezTo>
                      <a:cubicBezTo>
                        <a:pt x="22091" y="17206"/>
                        <a:pt x="12047" y="14226"/>
                        <a:pt x="6639" y="10142"/>
                      </a:cubicBezTo>
                      <a:cubicBezTo>
                        <a:pt x="3824" y="8210"/>
                        <a:pt x="2279" y="6003"/>
                        <a:pt x="1231" y="4623"/>
                      </a:cubicBezTo>
                      <a:cubicBezTo>
                        <a:pt x="348" y="3078"/>
                        <a:pt x="-94" y="2305"/>
                        <a:pt x="17" y="2250"/>
                      </a:cubicBezTo>
                      <a:cubicBezTo>
                        <a:pt x="293" y="2030"/>
                        <a:pt x="1783" y="5617"/>
                        <a:pt x="7246" y="9259"/>
                      </a:cubicBezTo>
                      <a:cubicBezTo>
                        <a:pt x="12599" y="12901"/>
                        <a:pt x="22256" y="15440"/>
                        <a:pt x="33901" y="13729"/>
                      </a:cubicBezTo>
                      <a:cubicBezTo>
                        <a:pt x="39695" y="12901"/>
                        <a:pt x="45876" y="10804"/>
                        <a:pt x="52443" y="8376"/>
                      </a:cubicBezTo>
                      <a:cubicBezTo>
                        <a:pt x="59010" y="5948"/>
                        <a:pt x="66074" y="3078"/>
                        <a:pt x="73965" y="1312"/>
                      </a:cubicBezTo>
                      <a:cubicBezTo>
                        <a:pt x="77939" y="484"/>
                        <a:pt x="82078" y="-178"/>
                        <a:pt x="86437" y="43"/>
                      </a:cubicBezTo>
                      <a:cubicBezTo>
                        <a:pt x="90742" y="264"/>
                        <a:pt x="95101" y="1257"/>
                        <a:pt x="99295" y="3023"/>
                      </a:cubicBezTo>
                      <a:cubicBezTo>
                        <a:pt x="103434" y="4789"/>
                        <a:pt x="107408" y="7438"/>
                        <a:pt x="110553" y="11025"/>
                      </a:cubicBezTo>
                      <a:cubicBezTo>
                        <a:pt x="113754" y="14557"/>
                        <a:pt x="115686" y="19468"/>
                        <a:pt x="115741" y="24490"/>
                      </a:cubicBezTo>
                      <a:lnTo>
                        <a:pt x="113533" y="23276"/>
                      </a:lnTo>
                      <a:cubicBezTo>
                        <a:pt x="115023" y="22448"/>
                        <a:pt x="116569" y="21455"/>
                        <a:pt x="118169" y="20627"/>
                      </a:cubicBezTo>
                      <a:cubicBezTo>
                        <a:pt x="119825" y="19910"/>
                        <a:pt x="121480" y="19027"/>
                        <a:pt x="123246" y="18475"/>
                      </a:cubicBezTo>
                      <a:cubicBezTo>
                        <a:pt x="142616" y="11687"/>
                        <a:pt x="163807" y="17206"/>
                        <a:pt x="176721" y="29070"/>
                      </a:cubicBezTo>
                      <a:cubicBezTo>
                        <a:pt x="183288" y="34920"/>
                        <a:pt x="187592" y="42536"/>
                        <a:pt x="189855" y="49931"/>
                      </a:cubicBezTo>
                      <a:cubicBezTo>
                        <a:pt x="192118" y="57381"/>
                        <a:pt x="192338" y="64776"/>
                        <a:pt x="191566" y="71343"/>
                      </a:cubicBezTo>
                      <a:cubicBezTo>
                        <a:pt x="190021" y="84532"/>
                        <a:pt x="184116" y="94024"/>
                        <a:pt x="179315" y="99432"/>
                      </a:cubicBezTo>
                      <a:cubicBezTo>
                        <a:pt x="176886" y="102136"/>
                        <a:pt x="174734" y="104068"/>
                        <a:pt x="173134" y="105116"/>
                      </a:cubicBezTo>
                      <a:cubicBezTo>
                        <a:pt x="171754" y="106220"/>
                        <a:pt x="170871" y="106717"/>
                        <a:pt x="170816" y="106661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4" name="Freeform: Shape 893">
                  <a:extLst>
                    <a:ext uri="{FF2B5EF4-FFF2-40B4-BE49-F238E27FC236}">
                      <a16:creationId xmlns:a16="http://schemas.microsoft.com/office/drawing/2014/main" id="{C941CE0B-44E6-4757-A712-0622139297F2}"/>
                    </a:ext>
                  </a:extLst>
                </p:cNvPr>
                <p:cNvSpPr/>
                <p:nvPr/>
              </p:nvSpPr>
              <p:spPr>
                <a:xfrm>
                  <a:off x="7648375" y="-2242215"/>
                  <a:ext cx="158995" cy="30390"/>
                </a:xfrm>
                <a:custGeom>
                  <a:avLst/>
                  <a:gdLst>
                    <a:gd name="connsiteX0" fmla="*/ 158993 w 158995"/>
                    <a:gd name="connsiteY0" fmla="*/ 21009 h 30390"/>
                    <a:gd name="connsiteX1" fmla="*/ 147570 w 158995"/>
                    <a:gd name="connsiteY1" fmla="*/ 17091 h 30390"/>
                    <a:gd name="connsiteX2" fmla="*/ 133994 w 158995"/>
                    <a:gd name="connsiteY2" fmla="*/ 18305 h 30390"/>
                    <a:gd name="connsiteX3" fmla="*/ 120032 w 158995"/>
                    <a:gd name="connsiteY3" fmla="*/ 28459 h 30390"/>
                    <a:gd name="connsiteX4" fmla="*/ 118708 w 158995"/>
                    <a:gd name="connsiteY4" fmla="*/ 30390 h 30390"/>
                    <a:gd name="connsiteX5" fmla="*/ 117880 w 158995"/>
                    <a:gd name="connsiteY5" fmla="*/ 28183 h 30390"/>
                    <a:gd name="connsiteX6" fmla="*/ 84217 w 158995"/>
                    <a:gd name="connsiteY6" fmla="*/ 3184 h 30390"/>
                    <a:gd name="connsiteX7" fmla="*/ 51878 w 158995"/>
                    <a:gd name="connsiteY7" fmla="*/ 12510 h 30390"/>
                    <a:gd name="connsiteX8" fmla="*/ 26217 w 158995"/>
                    <a:gd name="connsiteY8" fmla="*/ 25755 h 30390"/>
                    <a:gd name="connsiteX9" fmla="*/ 6791 w 158995"/>
                    <a:gd name="connsiteY9" fmla="*/ 28017 h 30390"/>
                    <a:gd name="connsiteX10" fmla="*/ 1659 w 158995"/>
                    <a:gd name="connsiteY10" fmla="*/ 26583 h 30390"/>
                    <a:gd name="connsiteX11" fmla="*/ 3 w 158995"/>
                    <a:gd name="connsiteY11" fmla="*/ 25700 h 30390"/>
                    <a:gd name="connsiteX12" fmla="*/ 6957 w 158995"/>
                    <a:gd name="connsiteY12" fmla="*/ 26858 h 30390"/>
                    <a:gd name="connsiteX13" fmla="*/ 25554 w 158995"/>
                    <a:gd name="connsiteY13" fmla="*/ 23768 h 30390"/>
                    <a:gd name="connsiteX14" fmla="*/ 50553 w 158995"/>
                    <a:gd name="connsiteY14" fmla="*/ 10137 h 30390"/>
                    <a:gd name="connsiteX15" fmla="*/ 66005 w 158995"/>
                    <a:gd name="connsiteY15" fmla="*/ 2577 h 30390"/>
                    <a:gd name="connsiteX16" fmla="*/ 84548 w 158995"/>
                    <a:gd name="connsiteY16" fmla="*/ 204 h 30390"/>
                    <a:gd name="connsiteX17" fmla="*/ 120198 w 158995"/>
                    <a:gd name="connsiteY17" fmla="*/ 27190 h 30390"/>
                    <a:gd name="connsiteX18" fmla="*/ 117990 w 158995"/>
                    <a:gd name="connsiteY18" fmla="*/ 26914 h 30390"/>
                    <a:gd name="connsiteX19" fmla="*/ 133442 w 158995"/>
                    <a:gd name="connsiteY19" fmla="*/ 16208 h 30390"/>
                    <a:gd name="connsiteX20" fmla="*/ 147846 w 158995"/>
                    <a:gd name="connsiteY20" fmla="*/ 15490 h 30390"/>
                    <a:gd name="connsiteX21" fmla="*/ 156510 w 158995"/>
                    <a:gd name="connsiteY21" fmla="*/ 18801 h 30390"/>
                    <a:gd name="connsiteX22" fmla="*/ 158993 w 158995"/>
                    <a:gd name="connsiteY22" fmla="*/ 21009 h 30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58995" h="30390">
                      <a:moveTo>
                        <a:pt x="158993" y="21009"/>
                      </a:moveTo>
                      <a:cubicBezTo>
                        <a:pt x="158772" y="21395"/>
                        <a:pt x="155241" y="18194"/>
                        <a:pt x="147570" y="17091"/>
                      </a:cubicBezTo>
                      <a:cubicBezTo>
                        <a:pt x="143817" y="16594"/>
                        <a:pt x="139016" y="16594"/>
                        <a:pt x="133994" y="18305"/>
                      </a:cubicBezTo>
                      <a:cubicBezTo>
                        <a:pt x="128972" y="19850"/>
                        <a:pt x="123674" y="23216"/>
                        <a:pt x="120032" y="28459"/>
                      </a:cubicBezTo>
                      <a:lnTo>
                        <a:pt x="118708" y="30390"/>
                      </a:lnTo>
                      <a:lnTo>
                        <a:pt x="117880" y="28183"/>
                      </a:lnTo>
                      <a:cubicBezTo>
                        <a:pt x="113410" y="16263"/>
                        <a:pt x="100386" y="4950"/>
                        <a:pt x="84217" y="3184"/>
                      </a:cubicBezTo>
                      <a:cubicBezTo>
                        <a:pt x="72076" y="1804"/>
                        <a:pt x="61039" y="7268"/>
                        <a:pt x="51878" y="12510"/>
                      </a:cubicBezTo>
                      <a:cubicBezTo>
                        <a:pt x="42607" y="17918"/>
                        <a:pt x="34163" y="23216"/>
                        <a:pt x="26217" y="25755"/>
                      </a:cubicBezTo>
                      <a:cubicBezTo>
                        <a:pt x="18380" y="28514"/>
                        <a:pt x="11372" y="28845"/>
                        <a:pt x="6791" y="28017"/>
                      </a:cubicBezTo>
                      <a:cubicBezTo>
                        <a:pt x="4473" y="27631"/>
                        <a:pt x="2763" y="27079"/>
                        <a:pt x="1659" y="26583"/>
                      </a:cubicBezTo>
                      <a:cubicBezTo>
                        <a:pt x="555" y="26086"/>
                        <a:pt x="-52" y="25810"/>
                        <a:pt x="3" y="25700"/>
                      </a:cubicBezTo>
                      <a:cubicBezTo>
                        <a:pt x="114" y="25424"/>
                        <a:pt x="2487" y="26417"/>
                        <a:pt x="6957" y="26858"/>
                      </a:cubicBezTo>
                      <a:cubicBezTo>
                        <a:pt x="11427" y="27300"/>
                        <a:pt x="17994" y="26693"/>
                        <a:pt x="25554" y="23768"/>
                      </a:cubicBezTo>
                      <a:cubicBezTo>
                        <a:pt x="33170" y="21064"/>
                        <a:pt x="41227" y="15766"/>
                        <a:pt x="50553" y="10137"/>
                      </a:cubicBezTo>
                      <a:cubicBezTo>
                        <a:pt x="55244" y="7378"/>
                        <a:pt x="60321" y="4563"/>
                        <a:pt x="66005" y="2577"/>
                      </a:cubicBezTo>
                      <a:cubicBezTo>
                        <a:pt x="71689" y="535"/>
                        <a:pt x="78091" y="-458"/>
                        <a:pt x="84548" y="204"/>
                      </a:cubicBezTo>
                      <a:cubicBezTo>
                        <a:pt x="101876" y="2135"/>
                        <a:pt x="115672" y="14331"/>
                        <a:pt x="120198" y="27190"/>
                      </a:cubicBezTo>
                      <a:lnTo>
                        <a:pt x="117990" y="26914"/>
                      </a:lnTo>
                      <a:cubicBezTo>
                        <a:pt x="122129" y="21119"/>
                        <a:pt x="128034" y="17698"/>
                        <a:pt x="133442" y="16208"/>
                      </a:cubicBezTo>
                      <a:cubicBezTo>
                        <a:pt x="138850" y="14552"/>
                        <a:pt x="143928" y="14773"/>
                        <a:pt x="147846" y="15490"/>
                      </a:cubicBezTo>
                      <a:cubicBezTo>
                        <a:pt x="151819" y="16263"/>
                        <a:pt x="154689" y="17698"/>
                        <a:pt x="156510" y="18801"/>
                      </a:cubicBezTo>
                      <a:cubicBezTo>
                        <a:pt x="158221" y="20181"/>
                        <a:pt x="159048" y="20954"/>
                        <a:pt x="158993" y="21009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5" name="Freeform: Shape 894">
                  <a:extLst>
                    <a:ext uri="{FF2B5EF4-FFF2-40B4-BE49-F238E27FC236}">
                      <a16:creationId xmlns:a16="http://schemas.microsoft.com/office/drawing/2014/main" id="{42B99B80-733E-499A-9491-97942058303E}"/>
                    </a:ext>
                  </a:extLst>
                </p:cNvPr>
                <p:cNvSpPr/>
                <p:nvPr/>
              </p:nvSpPr>
              <p:spPr>
                <a:xfrm>
                  <a:off x="7714181" y="-2033504"/>
                  <a:ext cx="23208" cy="20423"/>
                </a:xfrm>
                <a:custGeom>
                  <a:avLst/>
                  <a:gdLst>
                    <a:gd name="connsiteX0" fmla="*/ 20509 w 23208"/>
                    <a:gd name="connsiteY0" fmla="*/ 2909 h 20423"/>
                    <a:gd name="connsiteX1" fmla="*/ 10796 w 23208"/>
                    <a:gd name="connsiteY1" fmla="*/ 94 h 20423"/>
                    <a:gd name="connsiteX2" fmla="*/ 1469 w 23208"/>
                    <a:gd name="connsiteY2" fmla="*/ 6882 h 20423"/>
                    <a:gd name="connsiteX3" fmla="*/ 1304 w 23208"/>
                    <a:gd name="connsiteY3" fmla="*/ 7103 h 20423"/>
                    <a:gd name="connsiteX4" fmla="*/ 973 w 23208"/>
                    <a:gd name="connsiteY4" fmla="*/ 7544 h 20423"/>
                    <a:gd name="connsiteX5" fmla="*/ 1083 w 23208"/>
                    <a:gd name="connsiteY5" fmla="*/ 7434 h 20423"/>
                    <a:gd name="connsiteX6" fmla="*/ 35 w 23208"/>
                    <a:gd name="connsiteY6" fmla="*/ 11628 h 20423"/>
                    <a:gd name="connsiteX7" fmla="*/ 5774 w 23208"/>
                    <a:gd name="connsiteY7" fmla="*/ 19078 h 20423"/>
                    <a:gd name="connsiteX8" fmla="*/ 20233 w 23208"/>
                    <a:gd name="connsiteY8" fmla="*/ 16981 h 20423"/>
                    <a:gd name="connsiteX9" fmla="*/ 20509 w 23208"/>
                    <a:gd name="connsiteY9" fmla="*/ 2909 h 2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208" h="20423">
                      <a:moveTo>
                        <a:pt x="20509" y="2909"/>
                      </a:moveTo>
                      <a:cubicBezTo>
                        <a:pt x="18025" y="481"/>
                        <a:pt x="14273" y="-292"/>
                        <a:pt x="10796" y="94"/>
                      </a:cubicBezTo>
                      <a:cubicBezTo>
                        <a:pt x="7540" y="481"/>
                        <a:pt x="3567" y="3350"/>
                        <a:pt x="1469" y="6882"/>
                      </a:cubicBezTo>
                      <a:cubicBezTo>
                        <a:pt x="1414" y="6937"/>
                        <a:pt x="1359" y="6993"/>
                        <a:pt x="1304" y="7103"/>
                      </a:cubicBezTo>
                      <a:cubicBezTo>
                        <a:pt x="1194" y="7268"/>
                        <a:pt x="1083" y="7379"/>
                        <a:pt x="973" y="7544"/>
                      </a:cubicBezTo>
                      <a:lnTo>
                        <a:pt x="1083" y="7434"/>
                      </a:lnTo>
                      <a:cubicBezTo>
                        <a:pt x="311" y="8703"/>
                        <a:pt x="-131" y="10138"/>
                        <a:pt x="35" y="11628"/>
                      </a:cubicBezTo>
                      <a:cubicBezTo>
                        <a:pt x="366" y="14884"/>
                        <a:pt x="2849" y="17643"/>
                        <a:pt x="5774" y="19078"/>
                      </a:cubicBezTo>
                      <a:cubicBezTo>
                        <a:pt x="10410" y="21396"/>
                        <a:pt x="16590" y="20734"/>
                        <a:pt x="20233" y="16981"/>
                      </a:cubicBezTo>
                      <a:cubicBezTo>
                        <a:pt x="24040" y="13229"/>
                        <a:pt x="24261" y="6551"/>
                        <a:pt x="20509" y="2909"/>
                      </a:cubicBezTo>
                      <a:close/>
                    </a:path>
                  </a:pathLst>
                </a:custGeom>
                <a:solidFill>
                  <a:srgbClr val="E8505B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6" name="Freeform: Shape 895">
                  <a:extLst>
                    <a:ext uri="{FF2B5EF4-FFF2-40B4-BE49-F238E27FC236}">
                      <a16:creationId xmlns:a16="http://schemas.microsoft.com/office/drawing/2014/main" id="{DFE753CE-79B3-44F2-88D2-D41638ECD6C6}"/>
                    </a:ext>
                  </a:extLst>
                </p:cNvPr>
                <p:cNvSpPr/>
                <p:nvPr/>
              </p:nvSpPr>
              <p:spPr>
                <a:xfrm>
                  <a:off x="7712537" y="-2028342"/>
                  <a:ext cx="25199" cy="14914"/>
                </a:xfrm>
                <a:custGeom>
                  <a:avLst/>
                  <a:gdLst>
                    <a:gd name="connsiteX0" fmla="*/ 24912 w 25199"/>
                    <a:gd name="connsiteY0" fmla="*/ 14909 h 14914"/>
                    <a:gd name="connsiteX1" fmla="*/ 22483 w 25199"/>
                    <a:gd name="connsiteY1" fmla="*/ 10936 h 14914"/>
                    <a:gd name="connsiteX2" fmla="*/ 14813 w 25199"/>
                    <a:gd name="connsiteY2" fmla="*/ 4038 h 14914"/>
                    <a:gd name="connsiteX3" fmla="*/ 4603 w 25199"/>
                    <a:gd name="connsiteY3" fmla="*/ 2769 h 14914"/>
                    <a:gd name="connsiteX4" fmla="*/ 23 w 25199"/>
                    <a:gd name="connsiteY4" fmla="*/ 3541 h 14914"/>
                    <a:gd name="connsiteX5" fmla="*/ 4107 w 25199"/>
                    <a:gd name="connsiteY5" fmla="*/ 837 h 14914"/>
                    <a:gd name="connsiteX6" fmla="*/ 16027 w 25199"/>
                    <a:gd name="connsiteY6" fmla="*/ 1444 h 14914"/>
                    <a:gd name="connsiteX7" fmla="*/ 24304 w 25199"/>
                    <a:gd name="connsiteY7" fmla="*/ 9998 h 14914"/>
                    <a:gd name="connsiteX8" fmla="*/ 24912 w 25199"/>
                    <a:gd name="connsiteY8" fmla="*/ 14909 h 14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199" h="14914">
                      <a:moveTo>
                        <a:pt x="24912" y="14909"/>
                      </a:moveTo>
                      <a:cubicBezTo>
                        <a:pt x="24470" y="15020"/>
                        <a:pt x="23918" y="13254"/>
                        <a:pt x="22483" y="10936"/>
                      </a:cubicBezTo>
                      <a:cubicBezTo>
                        <a:pt x="21049" y="8618"/>
                        <a:pt x="18455" y="5749"/>
                        <a:pt x="14813" y="4038"/>
                      </a:cubicBezTo>
                      <a:cubicBezTo>
                        <a:pt x="11115" y="2382"/>
                        <a:pt x="7252" y="2327"/>
                        <a:pt x="4603" y="2769"/>
                      </a:cubicBezTo>
                      <a:cubicBezTo>
                        <a:pt x="1899" y="3155"/>
                        <a:pt x="244" y="3927"/>
                        <a:pt x="23" y="3541"/>
                      </a:cubicBezTo>
                      <a:cubicBezTo>
                        <a:pt x="-198" y="3265"/>
                        <a:pt x="1182" y="1830"/>
                        <a:pt x="4107" y="837"/>
                      </a:cubicBezTo>
                      <a:cubicBezTo>
                        <a:pt x="6976" y="-211"/>
                        <a:pt x="11557" y="-543"/>
                        <a:pt x="16027" y="1444"/>
                      </a:cubicBezTo>
                      <a:cubicBezTo>
                        <a:pt x="20442" y="3486"/>
                        <a:pt x="23201" y="7183"/>
                        <a:pt x="24304" y="9998"/>
                      </a:cubicBezTo>
                      <a:cubicBezTo>
                        <a:pt x="25463" y="12923"/>
                        <a:pt x="25298" y="14854"/>
                        <a:pt x="24912" y="1490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7" name="Freeform: Shape 896">
                  <a:extLst>
                    <a:ext uri="{FF2B5EF4-FFF2-40B4-BE49-F238E27FC236}">
                      <a16:creationId xmlns:a16="http://schemas.microsoft.com/office/drawing/2014/main" id="{5B11C8DC-C72B-471A-918E-2CEEEDF2F08E}"/>
                    </a:ext>
                  </a:extLst>
                </p:cNvPr>
                <p:cNvSpPr/>
                <p:nvPr/>
              </p:nvSpPr>
              <p:spPr>
                <a:xfrm>
                  <a:off x="7603418" y="-2014940"/>
                  <a:ext cx="22062" cy="21239"/>
                </a:xfrm>
                <a:custGeom>
                  <a:avLst/>
                  <a:gdLst>
                    <a:gd name="connsiteX0" fmla="*/ 21396 w 22062"/>
                    <a:gd name="connsiteY0" fmla="*/ 8350 h 21239"/>
                    <a:gd name="connsiteX1" fmla="*/ 20900 w 22062"/>
                    <a:gd name="connsiteY1" fmla="*/ 15304 h 21239"/>
                    <a:gd name="connsiteX2" fmla="*/ 14995 w 22062"/>
                    <a:gd name="connsiteY2" fmla="*/ 20602 h 21239"/>
                    <a:gd name="connsiteX3" fmla="*/ 5282 w 22062"/>
                    <a:gd name="connsiteY3" fmla="*/ 19443 h 21239"/>
                    <a:gd name="connsiteX4" fmla="*/ 40 w 22062"/>
                    <a:gd name="connsiteY4" fmla="*/ 11165 h 21239"/>
                    <a:gd name="connsiteX5" fmla="*/ 2302 w 22062"/>
                    <a:gd name="connsiteY5" fmla="*/ 3549 h 21239"/>
                    <a:gd name="connsiteX6" fmla="*/ 8372 w 22062"/>
                    <a:gd name="connsiteY6" fmla="*/ 128 h 21239"/>
                    <a:gd name="connsiteX7" fmla="*/ 4013 w 22062"/>
                    <a:gd name="connsiteY7" fmla="*/ 4708 h 21239"/>
                    <a:gd name="connsiteX8" fmla="*/ 2688 w 22062"/>
                    <a:gd name="connsiteY8" fmla="*/ 10889 h 21239"/>
                    <a:gd name="connsiteX9" fmla="*/ 6827 w 22062"/>
                    <a:gd name="connsiteY9" fmla="*/ 17015 h 21239"/>
                    <a:gd name="connsiteX10" fmla="*/ 14167 w 22062"/>
                    <a:gd name="connsiteY10" fmla="*/ 18118 h 21239"/>
                    <a:gd name="connsiteX11" fmla="*/ 19189 w 22062"/>
                    <a:gd name="connsiteY11" fmla="*/ 14255 h 21239"/>
                    <a:gd name="connsiteX12" fmla="*/ 21396 w 22062"/>
                    <a:gd name="connsiteY12" fmla="*/ 8350 h 2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2062" h="21239">
                      <a:moveTo>
                        <a:pt x="21396" y="8350"/>
                      </a:moveTo>
                      <a:cubicBezTo>
                        <a:pt x="21672" y="8185"/>
                        <a:pt x="22997" y="11110"/>
                        <a:pt x="20900" y="15304"/>
                      </a:cubicBezTo>
                      <a:cubicBezTo>
                        <a:pt x="19851" y="17290"/>
                        <a:pt x="17975" y="19498"/>
                        <a:pt x="14995" y="20602"/>
                      </a:cubicBezTo>
                      <a:cubicBezTo>
                        <a:pt x="12070" y="21761"/>
                        <a:pt x="8262" y="21319"/>
                        <a:pt x="5282" y="19443"/>
                      </a:cubicBezTo>
                      <a:cubicBezTo>
                        <a:pt x="2247" y="17566"/>
                        <a:pt x="260" y="14366"/>
                        <a:pt x="40" y="11165"/>
                      </a:cubicBezTo>
                      <a:cubicBezTo>
                        <a:pt x="-237" y="8019"/>
                        <a:pt x="978" y="5370"/>
                        <a:pt x="2302" y="3549"/>
                      </a:cubicBezTo>
                      <a:cubicBezTo>
                        <a:pt x="5172" y="-148"/>
                        <a:pt x="8372" y="-203"/>
                        <a:pt x="8372" y="128"/>
                      </a:cubicBezTo>
                      <a:cubicBezTo>
                        <a:pt x="8538" y="569"/>
                        <a:pt x="5944" y="1397"/>
                        <a:pt x="4013" y="4708"/>
                      </a:cubicBezTo>
                      <a:cubicBezTo>
                        <a:pt x="3075" y="6309"/>
                        <a:pt x="2357" y="8571"/>
                        <a:pt x="2688" y="10889"/>
                      </a:cubicBezTo>
                      <a:cubicBezTo>
                        <a:pt x="2964" y="13207"/>
                        <a:pt x="4510" y="15525"/>
                        <a:pt x="6827" y="17015"/>
                      </a:cubicBezTo>
                      <a:cubicBezTo>
                        <a:pt x="9145" y="18449"/>
                        <a:pt x="11959" y="18836"/>
                        <a:pt x="14167" y="18118"/>
                      </a:cubicBezTo>
                      <a:cubicBezTo>
                        <a:pt x="16430" y="17401"/>
                        <a:pt x="18140" y="15801"/>
                        <a:pt x="19189" y="14255"/>
                      </a:cubicBezTo>
                      <a:cubicBezTo>
                        <a:pt x="21341" y="11055"/>
                        <a:pt x="20955" y="8350"/>
                        <a:pt x="21396" y="8350"/>
                      </a:cubicBezTo>
                      <a:close/>
                    </a:path>
                  </a:pathLst>
                </a:custGeom>
                <a:solidFill>
                  <a:srgbClr val="E8505B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8" name="Freeform: Shape 897">
                  <a:extLst>
                    <a:ext uri="{FF2B5EF4-FFF2-40B4-BE49-F238E27FC236}">
                      <a16:creationId xmlns:a16="http://schemas.microsoft.com/office/drawing/2014/main" id="{5A1F42F8-C8D8-4F2A-B2BD-40CA8C156495}"/>
                    </a:ext>
                  </a:extLst>
                </p:cNvPr>
                <p:cNvSpPr/>
                <p:nvPr/>
              </p:nvSpPr>
              <p:spPr>
                <a:xfrm>
                  <a:off x="7593611" y="-2019068"/>
                  <a:ext cx="12697" cy="14008"/>
                </a:xfrm>
                <a:custGeom>
                  <a:avLst/>
                  <a:gdLst>
                    <a:gd name="connsiteX0" fmla="*/ 12606 w 12697"/>
                    <a:gd name="connsiteY0" fmla="*/ 10327 h 14008"/>
                    <a:gd name="connsiteX1" fmla="*/ 10012 w 12697"/>
                    <a:gd name="connsiteY1" fmla="*/ 13362 h 14008"/>
                    <a:gd name="connsiteX2" fmla="*/ 5431 w 12697"/>
                    <a:gd name="connsiteY2" fmla="*/ 13803 h 14008"/>
                    <a:gd name="connsiteX3" fmla="*/ 906 w 12697"/>
                    <a:gd name="connsiteY3" fmla="*/ 10216 h 14008"/>
                    <a:gd name="connsiteX4" fmla="*/ 355 w 12697"/>
                    <a:gd name="connsiteY4" fmla="*/ 4477 h 14008"/>
                    <a:gd name="connsiteX5" fmla="*/ 3224 w 12697"/>
                    <a:gd name="connsiteY5" fmla="*/ 890 h 14008"/>
                    <a:gd name="connsiteX6" fmla="*/ 7197 w 12697"/>
                    <a:gd name="connsiteY6" fmla="*/ 393 h 14008"/>
                    <a:gd name="connsiteX7" fmla="*/ 4493 w 12697"/>
                    <a:gd name="connsiteY7" fmla="*/ 2490 h 14008"/>
                    <a:gd name="connsiteX8" fmla="*/ 3445 w 12697"/>
                    <a:gd name="connsiteY8" fmla="*/ 8837 h 14008"/>
                    <a:gd name="connsiteX9" fmla="*/ 9350 w 12697"/>
                    <a:gd name="connsiteY9" fmla="*/ 11430 h 14008"/>
                    <a:gd name="connsiteX10" fmla="*/ 12606 w 12697"/>
                    <a:gd name="connsiteY10" fmla="*/ 10327 h 14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697" h="14008">
                      <a:moveTo>
                        <a:pt x="12606" y="10327"/>
                      </a:moveTo>
                      <a:cubicBezTo>
                        <a:pt x="12937" y="10492"/>
                        <a:pt x="12440" y="12203"/>
                        <a:pt x="10012" y="13362"/>
                      </a:cubicBezTo>
                      <a:cubicBezTo>
                        <a:pt x="8853" y="13914"/>
                        <a:pt x="7197" y="14245"/>
                        <a:pt x="5431" y="13803"/>
                      </a:cubicBezTo>
                      <a:cubicBezTo>
                        <a:pt x="3610" y="13362"/>
                        <a:pt x="1900" y="12038"/>
                        <a:pt x="906" y="10216"/>
                      </a:cubicBezTo>
                      <a:cubicBezTo>
                        <a:pt x="-87" y="8395"/>
                        <a:pt x="-253" y="6188"/>
                        <a:pt x="355" y="4477"/>
                      </a:cubicBezTo>
                      <a:cubicBezTo>
                        <a:pt x="961" y="2766"/>
                        <a:pt x="2120" y="1552"/>
                        <a:pt x="3224" y="890"/>
                      </a:cubicBezTo>
                      <a:cubicBezTo>
                        <a:pt x="5542" y="-490"/>
                        <a:pt x="7253" y="62"/>
                        <a:pt x="7197" y="393"/>
                      </a:cubicBezTo>
                      <a:cubicBezTo>
                        <a:pt x="7253" y="835"/>
                        <a:pt x="5818" y="1111"/>
                        <a:pt x="4493" y="2490"/>
                      </a:cubicBezTo>
                      <a:cubicBezTo>
                        <a:pt x="3059" y="3815"/>
                        <a:pt x="2065" y="6409"/>
                        <a:pt x="3445" y="8837"/>
                      </a:cubicBezTo>
                      <a:cubicBezTo>
                        <a:pt x="4769" y="11320"/>
                        <a:pt x="7473" y="11872"/>
                        <a:pt x="9350" y="11430"/>
                      </a:cubicBezTo>
                      <a:cubicBezTo>
                        <a:pt x="11226" y="11099"/>
                        <a:pt x="12219" y="10106"/>
                        <a:pt x="12606" y="10327"/>
                      </a:cubicBezTo>
                      <a:close/>
                    </a:path>
                  </a:pathLst>
                </a:custGeom>
                <a:solidFill>
                  <a:srgbClr val="E8505B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5" name="Graphic 179">
                <a:extLst>
                  <a:ext uri="{FF2B5EF4-FFF2-40B4-BE49-F238E27FC236}">
                    <a16:creationId xmlns:a16="http://schemas.microsoft.com/office/drawing/2014/main" id="{1F922323-07D1-4E1F-81E7-8E78631DE1B7}"/>
                  </a:ext>
                </a:extLst>
              </p:cNvPr>
              <p:cNvGrpSpPr/>
              <p:nvPr/>
            </p:nvGrpSpPr>
            <p:grpSpPr>
              <a:xfrm>
                <a:off x="7543582" y="-1979329"/>
                <a:ext cx="446360" cy="489351"/>
                <a:chOff x="7543582" y="-1979329"/>
                <a:chExt cx="446360" cy="489351"/>
              </a:xfrm>
            </p:grpSpPr>
            <p:sp>
              <p:nvSpPr>
                <p:cNvPr id="880" name="Freeform: Shape 879">
                  <a:extLst>
                    <a:ext uri="{FF2B5EF4-FFF2-40B4-BE49-F238E27FC236}">
                      <a16:creationId xmlns:a16="http://schemas.microsoft.com/office/drawing/2014/main" id="{AD76402C-4568-466F-9A4A-40E52F8FC288}"/>
                    </a:ext>
                  </a:extLst>
                </p:cNvPr>
                <p:cNvSpPr/>
                <p:nvPr/>
              </p:nvSpPr>
              <p:spPr>
                <a:xfrm>
                  <a:off x="7666480" y="-1664659"/>
                  <a:ext cx="323461" cy="154698"/>
                </a:xfrm>
                <a:custGeom>
                  <a:avLst/>
                  <a:gdLst>
                    <a:gd name="connsiteX0" fmla="*/ 386 w 323461"/>
                    <a:gd name="connsiteY0" fmla="*/ 146021 h 154698"/>
                    <a:gd name="connsiteX1" fmla="*/ 217762 w 323461"/>
                    <a:gd name="connsiteY1" fmla="*/ 154685 h 154698"/>
                    <a:gd name="connsiteX2" fmla="*/ 320684 w 323461"/>
                    <a:gd name="connsiteY2" fmla="*/ 98451 h 154698"/>
                    <a:gd name="connsiteX3" fmla="*/ 308598 w 323461"/>
                    <a:gd name="connsiteY3" fmla="*/ 0 h 154698"/>
                    <a:gd name="connsiteX4" fmla="*/ 212961 w 323461"/>
                    <a:gd name="connsiteY4" fmla="*/ 18818 h 154698"/>
                    <a:gd name="connsiteX5" fmla="*/ 220190 w 323461"/>
                    <a:gd name="connsiteY5" fmla="*/ 48398 h 154698"/>
                    <a:gd name="connsiteX6" fmla="*/ 0 w 323461"/>
                    <a:gd name="connsiteY6" fmla="*/ 67382 h 154698"/>
                    <a:gd name="connsiteX7" fmla="*/ 386 w 323461"/>
                    <a:gd name="connsiteY7" fmla="*/ 146021 h 154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3461" h="154698">
                      <a:moveTo>
                        <a:pt x="386" y="146021"/>
                      </a:moveTo>
                      <a:cubicBezTo>
                        <a:pt x="386" y="146021"/>
                        <a:pt x="137026" y="153968"/>
                        <a:pt x="217762" y="154685"/>
                      </a:cubicBezTo>
                      <a:cubicBezTo>
                        <a:pt x="280343" y="155237"/>
                        <a:pt x="308212" y="138626"/>
                        <a:pt x="320684" y="98451"/>
                      </a:cubicBezTo>
                      <a:cubicBezTo>
                        <a:pt x="331169" y="64678"/>
                        <a:pt x="308598" y="0"/>
                        <a:pt x="308598" y="0"/>
                      </a:cubicBezTo>
                      <a:cubicBezTo>
                        <a:pt x="266326" y="221"/>
                        <a:pt x="240168" y="6070"/>
                        <a:pt x="212961" y="18818"/>
                      </a:cubicBezTo>
                      <a:lnTo>
                        <a:pt x="220190" y="48398"/>
                      </a:lnTo>
                      <a:lnTo>
                        <a:pt x="0" y="67382"/>
                      </a:lnTo>
                      <a:lnTo>
                        <a:pt x="386" y="146021"/>
                      </a:lnTo>
                      <a:close/>
                    </a:path>
                  </a:pathLst>
                </a:custGeom>
                <a:solidFill>
                  <a:srgbClr val="FFBE9D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1" name="Freeform: Shape 880">
                  <a:extLst>
                    <a:ext uri="{FF2B5EF4-FFF2-40B4-BE49-F238E27FC236}">
                      <a16:creationId xmlns:a16="http://schemas.microsoft.com/office/drawing/2014/main" id="{0C689FBF-9ED1-493C-81DC-BBA3FAAF0171}"/>
                    </a:ext>
                  </a:extLst>
                </p:cNvPr>
                <p:cNvSpPr/>
                <p:nvPr/>
              </p:nvSpPr>
              <p:spPr>
                <a:xfrm>
                  <a:off x="7885453" y="-1617090"/>
                  <a:ext cx="47296" cy="32409"/>
                </a:xfrm>
                <a:custGeom>
                  <a:avLst/>
                  <a:gdLst>
                    <a:gd name="connsiteX0" fmla="*/ 47242 w 47296"/>
                    <a:gd name="connsiteY0" fmla="*/ 32395 h 32409"/>
                    <a:gd name="connsiteX1" fmla="*/ 26602 w 47296"/>
                    <a:gd name="connsiteY1" fmla="*/ 11921 h 32409"/>
                    <a:gd name="connsiteX2" fmla="*/ 3 w 47296"/>
                    <a:gd name="connsiteY2" fmla="*/ 221 h 32409"/>
                    <a:gd name="connsiteX3" fmla="*/ 8777 w 47296"/>
                    <a:gd name="connsiteY3" fmla="*/ 994 h 32409"/>
                    <a:gd name="connsiteX4" fmla="*/ 28203 w 47296"/>
                    <a:gd name="connsiteY4" fmla="*/ 9603 h 32409"/>
                    <a:gd name="connsiteX5" fmla="*/ 43268 w 47296"/>
                    <a:gd name="connsiteY5" fmla="*/ 24558 h 32409"/>
                    <a:gd name="connsiteX6" fmla="*/ 47242 w 47296"/>
                    <a:gd name="connsiteY6" fmla="*/ 32395 h 32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296" h="32409">
                      <a:moveTo>
                        <a:pt x="47242" y="32395"/>
                      </a:moveTo>
                      <a:cubicBezTo>
                        <a:pt x="46469" y="32891"/>
                        <a:pt x="40067" y="20916"/>
                        <a:pt x="26602" y="11921"/>
                      </a:cubicBezTo>
                      <a:cubicBezTo>
                        <a:pt x="13302" y="2705"/>
                        <a:pt x="-218" y="1104"/>
                        <a:pt x="3" y="221"/>
                      </a:cubicBezTo>
                      <a:cubicBezTo>
                        <a:pt x="58" y="-110"/>
                        <a:pt x="3424" y="-220"/>
                        <a:pt x="8777" y="994"/>
                      </a:cubicBezTo>
                      <a:cubicBezTo>
                        <a:pt x="14075" y="2153"/>
                        <a:pt x="21304" y="4857"/>
                        <a:pt x="28203" y="9603"/>
                      </a:cubicBezTo>
                      <a:cubicBezTo>
                        <a:pt x="35101" y="14349"/>
                        <a:pt x="40288" y="20033"/>
                        <a:pt x="43268" y="24558"/>
                      </a:cubicBezTo>
                      <a:cubicBezTo>
                        <a:pt x="46414" y="29083"/>
                        <a:pt x="47573" y="32229"/>
                        <a:pt x="47242" y="32395"/>
                      </a:cubicBezTo>
                      <a:close/>
                    </a:path>
                  </a:pathLst>
                </a:custGeom>
                <a:solidFill>
                  <a:srgbClr val="EB996E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82" name="Graphic 179">
                  <a:extLst>
                    <a:ext uri="{FF2B5EF4-FFF2-40B4-BE49-F238E27FC236}">
                      <a16:creationId xmlns:a16="http://schemas.microsoft.com/office/drawing/2014/main" id="{DE9EA5AD-192D-4F5D-9F0B-BF13BC6FA30D}"/>
                    </a:ext>
                  </a:extLst>
                </p:cNvPr>
                <p:cNvGrpSpPr/>
                <p:nvPr/>
              </p:nvGrpSpPr>
              <p:grpSpPr>
                <a:xfrm>
                  <a:off x="7543582" y="-1979329"/>
                  <a:ext cx="247611" cy="489351"/>
                  <a:chOff x="7543582" y="-1979329"/>
                  <a:chExt cx="247611" cy="489351"/>
                </a:xfrm>
              </p:grpSpPr>
              <p:sp>
                <p:nvSpPr>
                  <p:cNvPr id="883" name="Freeform: Shape 882">
                    <a:extLst>
                      <a:ext uri="{FF2B5EF4-FFF2-40B4-BE49-F238E27FC236}">
                        <a16:creationId xmlns:a16="http://schemas.microsoft.com/office/drawing/2014/main" id="{40CA888B-353A-4BEB-8BBB-3567E8E8B9CC}"/>
                      </a:ext>
                    </a:extLst>
                  </p:cNvPr>
                  <p:cNvSpPr/>
                  <p:nvPr/>
                </p:nvSpPr>
                <p:spPr>
                  <a:xfrm>
                    <a:off x="7543582" y="-1835238"/>
                    <a:ext cx="206449" cy="344622"/>
                  </a:xfrm>
                  <a:custGeom>
                    <a:avLst/>
                    <a:gdLst>
                      <a:gd name="connsiteX0" fmla="*/ 73286 w 206449"/>
                      <a:gd name="connsiteY0" fmla="*/ 189176 h 344622"/>
                      <a:gd name="connsiteX1" fmla="*/ 73286 w 206449"/>
                      <a:gd name="connsiteY1" fmla="*/ 189176 h 344622"/>
                      <a:gd name="connsiteX2" fmla="*/ 0 w 206449"/>
                      <a:gd name="connsiteY2" fmla="*/ 220080 h 344622"/>
                      <a:gd name="connsiteX3" fmla="*/ 33001 w 206449"/>
                      <a:gd name="connsiteY3" fmla="*/ 309812 h 344622"/>
                      <a:gd name="connsiteX4" fmla="*/ 104522 w 206449"/>
                      <a:gd name="connsiteY4" fmla="*/ 338453 h 344622"/>
                      <a:gd name="connsiteX5" fmla="*/ 160756 w 206449"/>
                      <a:gd name="connsiteY5" fmla="*/ 245410 h 344622"/>
                      <a:gd name="connsiteX6" fmla="*/ 206449 w 206449"/>
                      <a:gd name="connsiteY6" fmla="*/ 47404 h 344622"/>
                      <a:gd name="connsiteX7" fmla="*/ 130790 w 206449"/>
                      <a:gd name="connsiteY7" fmla="*/ 0 h 344622"/>
                      <a:gd name="connsiteX8" fmla="*/ 73286 w 206449"/>
                      <a:gd name="connsiteY8" fmla="*/ 189176 h 344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06449" h="344622">
                        <a:moveTo>
                          <a:pt x="73286" y="189176"/>
                        </a:moveTo>
                        <a:lnTo>
                          <a:pt x="73286" y="189176"/>
                        </a:lnTo>
                        <a:cubicBezTo>
                          <a:pt x="73286" y="189176"/>
                          <a:pt x="31014" y="199330"/>
                          <a:pt x="0" y="220080"/>
                        </a:cubicBezTo>
                        <a:lnTo>
                          <a:pt x="33001" y="309812"/>
                        </a:lnTo>
                        <a:cubicBezTo>
                          <a:pt x="44038" y="339281"/>
                          <a:pt x="77812" y="353740"/>
                          <a:pt x="104522" y="338453"/>
                        </a:cubicBezTo>
                        <a:cubicBezTo>
                          <a:pt x="146076" y="314723"/>
                          <a:pt x="160756" y="245410"/>
                          <a:pt x="160756" y="245410"/>
                        </a:cubicBezTo>
                        <a:lnTo>
                          <a:pt x="206449" y="47404"/>
                        </a:lnTo>
                        <a:lnTo>
                          <a:pt x="130790" y="0"/>
                        </a:lnTo>
                        <a:lnTo>
                          <a:pt x="73286" y="189176"/>
                        </a:lnTo>
                      </a:path>
                    </a:pathLst>
                  </a:custGeom>
                  <a:solidFill>
                    <a:srgbClr val="FFBE9D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884" name="Graphic 179">
                    <a:extLst>
                      <a:ext uri="{FF2B5EF4-FFF2-40B4-BE49-F238E27FC236}">
                        <a16:creationId xmlns:a16="http://schemas.microsoft.com/office/drawing/2014/main" id="{1573DED7-4F8F-4A4D-BA41-31ADC1E7049E}"/>
                      </a:ext>
                    </a:extLst>
                  </p:cNvPr>
                  <p:cNvGrpSpPr/>
                  <p:nvPr/>
                </p:nvGrpSpPr>
                <p:grpSpPr>
                  <a:xfrm>
                    <a:off x="7603955" y="-1979329"/>
                    <a:ext cx="187238" cy="489351"/>
                    <a:chOff x="7603955" y="-1979329"/>
                    <a:chExt cx="187238" cy="489351"/>
                  </a:xfrm>
                </p:grpSpPr>
                <p:sp>
                  <p:nvSpPr>
                    <p:cNvPr id="885" name="Freeform: Shape 884">
                      <a:extLst>
                        <a:ext uri="{FF2B5EF4-FFF2-40B4-BE49-F238E27FC236}">
                          <a16:creationId xmlns:a16="http://schemas.microsoft.com/office/drawing/2014/main" id="{CB1D1E9D-C344-4061-BD14-7858ABC06C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59758" y="-1978393"/>
                      <a:ext cx="129963" cy="190559"/>
                    </a:xfrm>
                    <a:custGeom>
                      <a:avLst/>
                      <a:gdLst>
                        <a:gd name="connsiteX0" fmla="*/ 14558 w 129963"/>
                        <a:gd name="connsiteY0" fmla="*/ 143155 h 190559"/>
                        <a:gd name="connsiteX1" fmla="*/ 17594 w 129963"/>
                        <a:gd name="connsiteY1" fmla="*/ 78036 h 190559"/>
                        <a:gd name="connsiteX2" fmla="*/ 707 w 129963"/>
                        <a:gd name="connsiteY2" fmla="*/ 12089 h 190559"/>
                        <a:gd name="connsiteX3" fmla="*/ 2252 w 129963"/>
                        <a:gd name="connsiteY3" fmla="*/ 1659 h 190559"/>
                        <a:gd name="connsiteX4" fmla="*/ 12461 w 129963"/>
                        <a:gd name="connsiteY4" fmla="*/ 1990 h 190559"/>
                        <a:gd name="connsiteX5" fmla="*/ 39171 w 129963"/>
                        <a:gd name="connsiteY5" fmla="*/ 64626 h 190559"/>
                        <a:gd name="connsiteX6" fmla="*/ 78629 w 129963"/>
                        <a:gd name="connsiteY6" fmla="*/ 43545 h 190559"/>
                        <a:gd name="connsiteX7" fmla="*/ 92536 w 129963"/>
                        <a:gd name="connsiteY7" fmla="*/ 61977 h 190559"/>
                        <a:gd name="connsiteX8" fmla="*/ 92591 w 129963"/>
                        <a:gd name="connsiteY8" fmla="*/ 74063 h 190559"/>
                        <a:gd name="connsiteX9" fmla="*/ 115162 w 129963"/>
                        <a:gd name="connsiteY9" fmla="*/ 77540 h 190559"/>
                        <a:gd name="connsiteX10" fmla="*/ 117535 w 129963"/>
                        <a:gd name="connsiteY10" fmla="*/ 95089 h 190559"/>
                        <a:gd name="connsiteX11" fmla="*/ 127689 w 129963"/>
                        <a:gd name="connsiteY11" fmla="*/ 104525 h 190559"/>
                        <a:gd name="connsiteX12" fmla="*/ 127799 w 129963"/>
                        <a:gd name="connsiteY12" fmla="*/ 124502 h 190559"/>
                        <a:gd name="connsiteX13" fmla="*/ 114941 w 129963"/>
                        <a:gd name="connsiteY13" fmla="*/ 131677 h 190559"/>
                        <a:gd name="connsiteX14" fmla="*/ 110526 w 129963"/>
                        <a:gd name="connsiteY14" fmla="*/ 168541 h 190559"/>
                        <a:gd name="connsiteX15" fmla="*/ 90218 w 129963"/>
                        <a:gd name="connsiteY15" fmla="*/ 190560 h 190559"/>
                        <a:gd name="connsiteX16" fmla="*/ 14558 w 129963"/>
                        <a:gd name="connsiteY16" fmla="*/ 143155 h 1905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129963" h="190559">
                          <a:moveTo>
                            <a:pt x="14558" y="143155"/>
                          </a:moveTo>
                          <a:lnTo>
                            <a:pt x="17594" y="78036"/>
                          </a:lnTo>
                          <a:lnTo>
                            <a:pt x="707" y="12089"/>
                          </a:lnTo>
                          <a:cubicBezTo>
                            <a:pt x="-231" y="8447"/>
                            <a:pt x="-673" y="3867"/>
                            <a:pt x="2252" y="1659"/>
                          </a:cubicBezTo>
                          <a:cubicBezTo>
                            <a:pt x="5342" y="-658"/>
                            <a:pt x="9978" y="-548"/>
                            <a:pt x="12461" y="1990"/>
                          </a:cubicBezTo>
                          <a:cubicBezTo>
                            <a:pt x="17097" y="6736"/>
                            <a:pt x="39171" y="64626"/>
                            <a:pt x="39171" y="64626"/>
                          </a:cubicBezTo>
                          <a:cubicBezTo>
                            <a:pt x="39171" y="64626"/>
                            <a:pt x="72669" y="44483"/>
                            <a:pt x="78629" y="43545"/>
                          </a:cubicBezTo>
                          <a:cubicBezTo>
                            <a:pt x="84589" y="42552"/>
                            <a:pt x="92039" y="60598"/>
                            <a:pt x="92536" y="61977"/>
                          </a:cubicBezTo>
                          <a:cubicBezTo>
                            <a:pt x="92977" y="63412"/>
                            <a:pt x="92591" y="74063"/>
                            <a:pt x="92591" y="74063"/>
                          </a:cubicBezTo>
                          <a:cubicBezTo>
                            <a:pt x="92591" y="74063"/>
                            <a:pt x="113285" y="74670"/>
                            <a:pt x="115162" y="77540"/>
                          </a:cubicBezTo>
                          <a:cubicBezTo>
                            <a:pt x="117038" y="80354"/>
                            <a:pt x="117535" y="95089"/>
                            <a:pt x="117535" y="95089"/>
                          </a:cubicBezTo>
                          <a:cubicBezTo>
                            <a:pt x="117535" y="95089"/>
                            <a:pt x="126309" y="97903"/>
                            <a:pt x="127689" y="104525"/>
                          </a:cubicBezTo>
                          <a:cubicBezTo>
                            <a:pt x="129124" y="111148"/>
                            <a:pt x="131938" y="122074"/>
                            <a:pt x="127799" y="124502"/>
                          </a:cubicBezTo>
                          <a:cubicBezTo>
                            <a:pt x="123660" y="126875"/>
                            <a:pt x="114941" y="131677"/>
                            <a:pt x="114941" y="131677"/>
                          </a:cubicBezTo>
                          <a:cubicBezTo>
                            <a:pt x="114941" y="131677"/>
                            <a:pt x="111409" y="165450"/>
                            <a:pt x="110526" y="168541"/>
                          </a:cubicBezTo>
                          <a:cubicBezTo>
                            <a:pt x="109643" y="171631"/>
                            <a:pt x="90218" y="190560"/>
                            <a:pt x="90218" y="190560"/>
                          </a:cubicBezTo>
                          <a:lnTo>
                            <a:pt x="14558" y="143155"/>
                          </a:lnTo>
                          <a:close/>
                        </a:path>
                      </a:pathLst>
                    </a:custGeom>
                    <a:solidFill>
                      <a:srgbClr val="FFBE9D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6" name="Freeform: Shape 885">
                      <a:extLst>
                        <a:ext uri="{FF2B5EF4-FFF2-40B4-BE49-F238E27FC236}">
                          <a16:creationId xmlns:a16="http://schemas.microsoft.com/office/drawing/2014/main" id="{1C52A9CC-AAD9-4B73-AFBD-9223041F15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03955" y="-1979329"/>
                      <a:ext cx="187238" cy="489351"/>
                    </a:xfrm>
                    <a:custGeom>
                      <a:avLst/>
                      <a:gdLst>
                        <a:gd name="connsiteX0" fmla="*/ 0 w 187238"/>
                        <a:gd name="connsiteY0" fmla="*/ 483923 h 489351"/>
                        <a:gd name="connsiteX1" fmla="*/ 6346 w 187238"/>
                        <a:gd name="connsiteY1" fmla="*/ 486517 h 489351"/>
                        <a:gd name="connsiteX2" fmla="*/ 25827 w 187238"/>
                        <a:gd name="connsiteY2" fmla="*/ 488062 h 489351"/>
                        <a:gd name="connsiteX3" fmla="*/ 54082 w 187238"/>
                        <a:gd name="connsiteY3" fmla="*/ 475039 h 489351"/>
                        <a:gd name="connsiteX4" fmla="*/ 80350 w 187238"/>
                        <a:gd name="connsiteY4" fmla="*/ 441817 h 489351"/>
                        <a:gd name="connsiteX5" fmla="*/ 90560 w 187238"/>
                        <a:gd name="connsiteY5" fmla="*/ 419025 h 489351"/>
                        <a:gd name="connsiteX6" fmla="*/ 97623 w 187238"/>
                        <a:gd name="connsiteY6" fmla="*/ 392591 h 489351"/>
                        <a:gd name="connsiteX7" fmla="*/ 111585 w 187238"/>
                        <a:gd name="connsiteY7" fmla="*/ 332715 h 489351"/>
                        <a:gd name="connsiteX8" fmla="*/ 144697 w 187238"/>
                        <a:gd name="connsiteY8" fmla="*/ 191274 h 489351"/>
                        <a:gd name="connsiteX9" fmla="*/ 144807 w 187238"/>
                        <a:gd name="connsiteY9" fmla="*/ 190888 h 489351"/>
                        <a:gd name="connsiteX10" fmla="*/ 145083 w 187238"/>
                        <a:gd name="connsiteY10" fmla="*/ 190612 h 489351"/>
                        <a:gd name="connsiteX11" fmla="*/ 156506 w 187238"/>
                        <a:gd name="connsiteY11" fmla="*/ 179133 h 489351"/>
                        <a:gd name="connsiteX12" fmla="*/ 162080 w 187238"/>
                        <a:gd name="connsiteY12" fmla="*/ 173118 h 489351"/>
                        <a:gd name="connsiteX13" fmla="*/ 164563 w 187238"/>
                        <a:gd name="connsiteY13" fmla="*/ 170028 h 489351"/>
                        <a:gd name="connsiteX14" fmla="*/ 165502 w 187238"/>
                        <a:gd name="connsiteY14" fmla="*/ 166606 h 489351"/>
                        <a:gd name="connsiteX15" fmla="*/ 169365 w 187238"/>
                        <a:gd name="connsiteY15" fmla="*/ 132667 h 489351"/>
                        <a:gd name="connsiteX16" fmla="*/ 169420 w 187238"/>
                        <a:gd name="connsiteY16" fmla="*/ 131950 h 489351"/>
                        <a:gd name="connsiteX17" fmla="*/ 170082 w 187238"/>
                        <a:gd name="connsiteY17" fmla="*/ 131563 h 489351"/>
                        <a:gd name="connsiteX18" fmla="*/ 180622 w 187238"/>
                        <a:gd name="connsiteY18" fmla="*/ 125659 h 489351"/>
                        <a:gd name="connsiteX19" fmla="*/ 183106 w 187238"/>
                        <a:gd name="connsiteY19" fmla="*/ 124224 h 489351"/>
                        <a:gd name="connsiteX20" fmla="*/ 184099 w 187238"/>
                        <a:gd name="connsiteY20" fmla="*/ 122347 h 489351"/>
                        <a:gd name="connsiteX21" fmla="*/ 184154 w 187238"/>
                        <a:gd name="connsiteY21" fmla="*/ 116608 h 489351"/>
                        <a:gd name="connsiteX22" fmla="*/ 181726 w 187238"/>
                        <a:gd name="connsiteY22" fmla="*/ 104633 h 489351"/>
                        <a:gd name="connsiteX23" fmla="*/ 172952 w 187238"/>
                        <a:gd name="connsiteY23" fmla="*/ 97569 h 489351"/>
                        <a:gd name="connsiteX24" fmla="*/ 172013 w 187238"/>
                        <a:gd name="connsiteY24" fmla="*/ 97238 h 489351"/>
                        <a:gd name="connsiteX25" fmla="*/ 171958 w 187238"/>
                        <a:gd name="connsiteY25" fmla="*/ 96300 h 489351"/>
                        <a:gd name="connsiteX26" fmla="*/ 171241 w 187238"/>
                        <a:gd name="connsiteY26" fmla="*/ 86532 h 489351"/>
                        <a:gd name="connsiteX27" fmla="*/ 170523 w 187238"/>
                        <a:gd name="connsiteY27" fmla="*/ 81676 h 489351"/>
                        <a:gd name="connsiteX28" fmla="*/ 169916 w 187238"/>
                        <a:gd name="connsiteY28" fmla="*/ 79634 h 489351"/>
                        <a:gd name="connsiteX29" fmla="*/ 169585 w 187238"/>
                        <a:gd name="connsiteY29" fmla="*/ 79303 h 489351"/>
                        <a:gd name="connsiteX30" fmla="*/ 168647 w 187238"/>
                        <a:gd name="connsiteY30" fmla="*/ 78916 h 489351"/>
                        <a:gd name="connsiteX31" fmla="*/ 148449 w 187238"/>
                        <a:gd name="connsiteY31" fmla="*/ 76654 h 489351"/>
                        <a:gd name="connsiteX32" fmla="*/ 147014 w 187238"/>
                        <a:gd name="connsiteY32" fmla="*/ 76599 h 489351"/>
                        <a:gd name="connsiteX33" fmla="*/ 147070 w 187238"/>
                        <a:gd name="connsiteY33" fmla="*/ 75164 h 489351"/>
                        <a:gd name="connsiteX34" fmla="*/ 147180 w 187238"/>
                        <a:gd name="connsiteY34" fmla="*/ 64403 h 489351"/>
                        <a:gd name="connsiteX35" fmla="*/ 145911 w 187238"/>
                        <a:gd name="connsiteY35" fmla="*/ 60705 h 489351"/>
                        <a:gd name="connsiteX36" fmla="*/ 144034 w 187238"/>
                        <a:gd name="connsiteY36" fmla="*/ 56787 h 489351"/>
                        <a:gd name="connsiteX37" fmla="*/ 139509 w 187238"/>
                        <a:gd name="connsiteY37" fmla="*/ 49503 h 489351"/>
                        <a:gd name="connsiteX38" fmla="*/ 136695 w 187238"/>
                        <a:gd name="connsiteY38" fmla="*/ 46743 h 489351"/>
                        <a:gd name="connsiteX39" fmla="*/ 133770 w 187238"/>
                        <a:gd name="connsiteY39" fmla="*/ 46412 h 489351"/>
                        <a:gd name="connsiteX40" fmla="*/ 125989 w 187238"/>
                        <a:gd name="connsiteY40" fmla="*/ 49999 h 489351"/>
                        <a:gd name="connsiteX41" fmla="*/ 95857 w 187238"/>
                        <a:gd name="connsiteY41" fmla="*/ 67052 h 489351"/>
                        <a:gd name="connsiteX42" fmla="*/ 94422 w 187238"/>
                        <a:gd name="connsiteY42" fmla="*/ 67879 h 489351"/>
                        <a:gd name="connsiteX43" fmla="*/ 93815 w 187238"/>
                        <a:gd name="connsiteY43" fmla="*/ 66334 h 489351"/>
                        <a:gd name="connsiteX44" fmla="*/ 78363 w 187238"/>
                        <a:gd name="connsiteY44" fmla="*/ 27649 h 489351"/>
                        <a:gd name="connsiteX45" fmla="*/ 70803 w 187238"/>
                        <a:gd name="connsiteY45" fmla="*/ 8720 h 489351"/>
                        <a:gd name="connsiteX46" fmla="*/ 64733 w 187238"/>
                        <a:gd name="connsiteY46" fmla="*/ 3036 h 489351"/>
                        <a:gd name="connsiteX47" fmla="*/ 57559 w 187238"/>
                        <a:gd name="connsiteY47" fmla="*/ 5685 h 489351"/>
                        <a:gd name="connsiteX48" fmla="*/ 56731 w 187238"/>
                        <a:gd name="connsiteY48" fmla="*/ 9603 h 489351"/>
                        <a:gd name="connsiteX49" fmla="*/ 57834 w 187238"/>
                        <a:gd name="connsiteY49" fmla="*/ 14184 h 489351"/>
                        <a:gd name="connsiteX50" fmla="*/ 60318 w 187238"/>
                        <a:gd name="connsiteY50" fmla="*/ 23676 h 489351"/>
                        <a:gd name="connsiteX51" fmla="*/ 65229 w 187238"/>
                        <a:gd name="connsiteY51" fmla="*/ 42439 h 489351"/>
                        <a:gd name="connsiteX52" fmla="*/ 74776 w 187238"/>
                        <a:gd name="connsiteY52" fmla="*/ 78861 h 489351"/>
                        <a:gd name="connsiteX53" fmla="*/ 74832 w 187238"/>
                        <a:gd name="connsiteY53" fmla="*/ 79082 h 489351"/>
                        <a:gd name="connsiteX54" fmla="*/ 74832 w 187238"/>
                        <a:gd name="connsiteY54" fmla="*/ 79303 h 489351"/>
                        <a:gd name="connsiteX55" fmla="*/ 71686 w 187238"/>
                        <a:gd name="connsiteY55" fmla="*/ 144422 h 489351"/>
                        <a:gd name="connsiteX56" fmla="*/ 71686 w 187238"/>
                        <a:gd name="connsiteY56" fmla="*/ 144587 h 489351"/>
                        <a:gd name="connsiteX57" fmla="*/ 71631 w 187238"/>
                        <a:gd name="connsiteY57" fmla="*/ 144753 h 489351"/>
                        <a:gd name="connsiteX58" fmla="*/ 21357 w 187238"/>
                        <a:gd name="connsiteY58" fmla="*/ 308323 h 489351"/>
                        <a:gd name="connsiteX59" fmla="*/ 7174 w 187238"/>
                        <a:gd name="connsiteY59" fmla="*/ 353851 h 489351"/>
                        <a:gd name="connsiteX60" fmla="*/ 3366 w 187238"/>
                        <a:gd name="connsiteY60" fmla="*/ 365771 h 489351"/>
                        <a:gd name="connsiteX61" fmla="*/ 1931 w 187238"/>
                        <a:gd name="connsiteY61" fmla="*/ 369855 h 489351"/>
                        <a:gd name="connsiteX62" fmla="*/ 2980 w 187238"/>
                        <a:gd name="connsiteY62" fmla="*/ 365716 h 489351"/>
                        <a:gd name="connsiteX63" fmla="*/ 6457 w 187238"/>
                        <a:gd name="connsiteY63" fmla="*/ 353685 h 489351"/>
                        <a:gd name="connsiteX64" fmla="*/ 20032 w 187238"/>
                        <a:gd name="connsiteY64" fmla="*/ 307937 h 489351"/>
                        <a:gd name="connsiteX65" fmla="*/ 69313 w 187238"/>
                        <a:gd name="connsiteY65" fmla="*/ 144035 h 489351"/>
                        <a:gd name="connsiteX66" fmla="*/ 69258 w 187238"/>
                        <a:gd name="connsiteY66" fmla="*/ 144311 h 489351"/>
                        <a:gd name="connsiteX67" fmla="*/ 72238 w 187238"/>
                        <a:gd name="connsiteY67" fmla="*/ 79192 h 489351"/>
                        <a:gd name="connsiteX68" fmla="*/ 72293 w 187238"/>
                        <a:gd name="connsiteY68" fmla="*/ 79579 h 489351"/>
                        <a:gd name="connsiteX69" fmla="*/ 62636 w 187238"/>
                        <a:gd name="connsiteY69" fmla="*/ 43156 h 489351"/>
                        <a:gd name="connsiteX70" fmla="*/ 57669 w 187238"/>
                        <a:gd name="connsiteY70" fmla="*/ 24393 h 489351"/>
                        <a:gd name="connsiteX71" fmla="*/ 55130 w 187238"/>
                        <a:gd name="connsiteY71" fmla="*/ 14901 h 489351"/>
                        <a:gd name="connsiteX72" fmla="*/ 53916 w 187238"/>
                        <a:gd name="connsiteY72" fmla="*/ 9879 h 489351"/>
                        <a:gd name="connsiteX73" fmla="*/ 55130 w 187238"/>
                        <a:gd name="connsiteY73" fmla="*/ 4250 h 489351"/>
                        <a:gd name="connsiteX74" fmla="*/ 59600 w 187238"/>
                        <a:gd name="connsiteY74" fmla="*/ 498 h 489351"/>
                        <a:gd name="connsiteX75" fmla="*/ 65284 w 187238"/>
                        <a:gd name="connsiteY75" fmla="*/ 332 h 489351"/>
                        <a:gd name="connsiteX76" fmla="*/ 70362 w 187238"/>
                        <a:gd name="connsiteY76" fmla="*/ 2926 h 489351"/>
                        <a:gd name="connsiteX77" fmla="*/ 73342 w 187238"/>
                        <a:gd name="connsiteY77" fmla="*/ 7672 h 489351"/>
                        <a:gd name="connsiteX78" fmla="*/ 80902 w 187238"/>
                        <a:gd name="connsiteY78" fmla="*/ 26600 h 489351"/>
                        <a:gd name="connsiteX79" fmla="*/ 96409 w 187238"/>
                        <a:gd name="connsiteY79" fmla="*/ 65286 h 489351"/>
                        <a:gd name="connsiteX80" fmla="*/ 94367 w 187238"/>
                        <a:gd name="connsiteY80" fmla="*/ 64568 h 489351"/>
                        <a:gd name="connsiteX81" fmla="*/ 124664 w 187238"/>
                        <a:gd name="connsiteY81" fmla="*/ 47405 h 489351"/>
                        <a:gd name="connsiteX82" fmla="*/ 132832 w 187238"/>
                        <a:gd name="connsiteY82" fmla="*/ 43653 h 489351"/>
                        <a:gd name="connsiteX83" fmla="*/ 135591 w 187238"/>
                        <a:gd name="connsiteY83" fmla="*/ 43267 h 489351"/>
                        <a:gd name="connsiteX84" fmla="*/ 138185 w 187238"/>
                        <a:gd name="connsiteY84" fmla="*/ 44315 h 489351"/>
                        <a:gd name="connsiteX85" fmla="*/ 141661 w 187238"/>
                        <a:gd name="connsiteY85" fmla="*/ 47681 h 489351"/>
                        <a:gd name="connsiteX86" fmla="*/ 146462 w 187238"/>
                        <a:gd name="connsiteY86" fmla="*/ 55463 h 489351"/>
                        <a:gd name="connsiteX87" fmla="*/ 148449 w 187238"/>
                        <a:gd name="connsiteY87" fmla="*/ 59546 h 489351"/>
                        <a:gd name="connsiteX88" fmla="*/ 149994 w 187238"/>
                        <a:gd name="connsiteY88" fmla="*/ 64237 h 489351"/>
                        <a:gd name="connsiteX89" fmla="*/ 149884 w 187238"/>
                        <a:gd name="connsiteY89" fmla="*/ 75329 h 489351"/>
                        <a:gd name="connsiteX90" fmla="*/ 148504 w 187238"/>
                        <a:gd name="connsiteY90" fmla="*/ 73839 h 489351"/>
                        <a:gd name="connsiteX91" fmla="*/ 169585 w 187238"/>
                        <a:gd name="connsiteY91" fmla="*/ 76267 h 489351"/>
                        <a:gd name="connsiteX92" fmla="*/ 171020 w 187238"/>
                        <a:gd name="connsiteY92" fmla="*/ 76875 h 489351"/>
                        <a:gd name="connsiteX93" fmla="*/ 172455 w 187238"/>
                        <a:gd name="connsiteY93" fmla="*/ 78309 h 489351"/>
                        <a:gd name="connsiteX94" fmla="*/ 173338 w 187238"/>
                        <a:gd name="connsiteY94" fmla="*/ 81124 h 489351"/>
                        <a:gd name="connsiteX95" fmla="*/ 174110 w 187238"/>
                        <a:gd name="connsiteY95" fmla="*/ 86256 h 489351"/>
                        <a:gd name="connsiteX96" fmla="*/ 174828 w 187238"/>
                        <a:gd name="connsiteY96" fmla="*/ 96245 h 489351"/>
                        <a:gd name="connsiteX97" fmla="*/ 173835 w 187238"/>
                        <a:gd name="connsiteY97" fmla="*/ 94920 h 489351"/>
                        <a:gd name="connsiteX98" fmla="*/ 184375 w 187238"/>
                        <a:gd name="connsiteY98" fmla="*/ 103640 h 489351"/>
                        <a:gd name="connsiteX99" fmla="*/ 187024 w 187238"/>
                        <a:gd name="connsiteY99" fmla="*/ 116387 h 489351"/>
                        <a:gd name="connsiteX100" fmla="*/ 186914 w 187238"/>
                        <a:gd name="connsiteY100" fmla="*/ 123065 h 489351"/>
                        <a:gd name="connsiteX101" fmla="*/ 184927 w 187238"/>
                        <a:gd name="connsiteY101" fmla="*/ 126486 h 489351"/>
                        <a:gd name="connsiteX102" fmla="*/ 182112 w 187238"/>
                        <a:gd name="connsiteY102" fmla="*/ 128142 h 489351"/>
                        <a:gd name="connsiteX103" fmla="*/ 171517 w 187238"/>
                        <a:gd name="connsiteY103" fmla="*/ 134047 h 489351"/>
                        <a:gd name="connsiteX104" fmla="*/ 172234 w 187238"/>
                        <a:gd name="connsiteY104" fmla="*/ 132943 h 489351"/>
                        <a:gd name="connsiteX105" fmla="*/ 168316 w 187238"/>
                        <a:gd name="connsiteY105" fmla="*/ 166993 h 489351"/>
                        <a:gd name="connsiteX106" fmla="*/ 167985 w 187238"/>
                        <a:gd name="connsiteY106" fmla="*/ 169145 h 489351"/>
                        <a:gd name="connsiteX107" fmla="*/ 166936 w 187238"/>
                        <a:gd name="connsiteY107" fmla="*/ 171573 h 489351"/>
                        <a:gd name="connsiteX108" fmla="*/ 164232 w 187238"/>
                        <a:gd name="connsiteY108" fmla="*/ 174939 h 489351"/>
                        <a:gd name="connsiteX109" fmla="*/ 158548 w 187238"/>
                        <a:gd name="connsiteY109" fmla="*/ 181065 h 489351"/>
                        <a:gd name="connsiteX110" fmla="*/ 147070 w 187238"/>
                        <a:gd name="connsiteY110" fmla="*/ 192599 h 489351"/>
                        <a:gd name="connsiteX111" fmla="*/ 147456 w 187238"/>
                        <a:gd name="connsiteY111" fmla="*/ 191937 h 489351"/>
                        <a:gd name="connsiteX112" fmla="*/ 113958 w 187238"/>
                        <a:gd name="connsiteY112" fmla="*/ 333267 h 489351"/>
                        <a:gd name="connsiteX113" fmla="*/ 99720 w 187238"/>
                        <a:gd name="connsiteY113" fmla="*/ 393088 h 489351"/>
                        <a:gd name="connsiteX114" fmla="*/ 92436 w 187238"/>
                        <a:gd name="connsiteY114" fmla="*/ 419687 h 489351"/>
                        <a:gd name="connsiteX115" fmla="*/ 81950 w 187238"/>
                        <a:gd name="connsiteY115" fmla="*/ 442700 h 489351"/>
                        <a:gd name="connsiteX116" fmla="*/ 55075 w 187238"/>
                        <a:gd name="connsiteY116" fmla="*/ 476087 h 489351"/>
                        <a:gd name="connsiteX117" fmla="*/ 26103 w 187238"/>
                        <a:gd name="connsiteY117" fmla="*/ 489001 h 489351"/>
                        <a:gd name="connsiteX118" fmla="*/ 6346 w 187238"/>
                        <a:gd name="connsiteY118" fmla="*/ 487014 h 489351"/>
                        <a:gd name="connsiteX119" fmla="*/ 1656 w 187238"/>
                        <a:gd name="connsiteY119" fmla="*/ 484917 h 489351"/>
                        <a:gd name="connsiteX120" fmla="*/ 0 w 187238"/>
                        <a:gd name="connsiteY120" fmla="*/ 483923 h 4893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</a:cxnLst>
                      <a:rect l="l" t="t" r="r" b="b"/>
                      <a:pathLst>
                        <a:path w="187238" h="489351">
                          <a:moveTo>
                            <a:pt x="0" y="483923"/>
                          </a:moveTo>
                          <a:cubicBezTo>
                            <a:pt x="110" y="483758"/>
                            <a:pt x="2042" y="485082"/>
                            <a:pt x="6346" y="486517"/>
                          </a:cubicBezTo>
                          <a:cubicBezTo>
                            <a:pt x="10596" y="487952"/>
                            <a:pt x="17273" y="489221"/>
                            <a:pt x="25827" y="488062"/>
                          </a:cubicBezTo>
                          <a:cubicBezTo>
                            <a:pt x="34325" y="486903"/>
                            <a:pt x="44755" y="483206"/>
                            <a:pt x="54082" y="475039"/>
                          </a:cubicBezTo>
                          <a:cubicBezTo>
                            <a:pt x="63298" y="466705"/>
                            <a:pt x="72624" y="455668"/>
                            <a:pt x="80350" y="441817"/>
                          </a:cubicBezTo>
                          <a:cubicBezTo>
                            <a:pt x="84213" y="434863"/>
                            <a:pt x="87690" y="427248"/>
                            <a:pt x="90560" y="419025"/>
                          </a:cubicBezTo>
                          <a:cubicBezTo>
                            <a:pt x="93539" y="410803"/>
                            <a:pt x="95471" y="401862"/>
                            <a:pt x="97623" y="392591"/>
                          </a:cubicBezTo>
                          <a:cubicBezTo>
                            <a:pt x="101983" y="373994"/>
                            <a:pt x="106618" y="353961"/>
                            <a:pt x="111585" y="332715"/>
                          </a:cubicBezTo>
                          <a:cubicBezTo>
                            <a:pt x="121519" y="290167"/>
                            <a:pt x="132666" y="242542"/>
                            <a:pt x="144697" y="191274"/>
                          </a:cubicBezTo>
                          <a:lnTo>
                            <a:pt x="144807" y="190888"/>
                          </a:lnTo>
                          <a:lnTo>
                            <a:pt x="145083" y="190612"/>
                          </a:lnTo>
                          <a:cubicBezTo>
                            <a:pt x="148891" y="186859"/>
                            <a:pt x="152698" y="183052"/>
                            <a:pt x="156506" y="179133"/>
                          </a:cubicBezTo>
                          <a:cubicBezTo>
                            <a:pt x="158383" y="177147"/>
                            <a:pt x="160259" y="175160"/>
                            <a:pt x="162080" y="173118"/>
                          </a:cubicBezTo>
                          <a:cubicBezTo>
                            <a:pt x="162963" y="172070"/>
                            <a:pt x="163901" y="171021"/>
                            <a:pt x="164563" y="170028"/>
                          </a:cubicBezTo>
                          <a:cubicBezTo>
                            <a:pt x="165226" y="169366"/>
                            <a:pt x="165226" y="168041"/>
                            <a:pt x="165502" y="166606"/>
                          </a:cubicBezTo>
                          <a:cubicBezTo>
                            <a:pt x="166991" y="155569"/>
                            <a:pt x="168150" y="144146"/>
                            <a:pt x="169365" y="132667"/>
                          </a:cubicBezTo>
                          <a:lnTo>
                            <a:pt x="169420" y="131950"/>
                          </a:lnTo>
                          <a:lnTo>
                            <a:pt x="170082" y="131563"/>
                          </a:lnTo>
                          <a:cubicBezTo>
                            <a:pt x="173559" y="129632"/>
                            <a:pt x="177035" y="127645"/>
                            <a:pt x="180622" y="125659"/>
                          </a:cubicBezTo>
                          <a:cubicBezTo>
                            <a:pt x="181450" y="125162"/>
                            <a:pt x="182609" y="124610"/>
                            <a:pt x="183106" y="124224"/>
                          </a:cubicBezTo>
                          <a:cubicBezTo>
                            <a:pt x="183547" y="123893"/>
                            <a:pt x="183933" y="123230"/>
                            <a:pt x="184099" y="122347"/>
                          </a:cubicBezTo>
                          <a:cubicBezTo>
                            <a:pt x="184485" y="120692"/>
                            <a:pt x="184375" y="118595"/>
                            <a:pt x="184154" y="116608"/>
                          </a:cubicBezTo>
                          <a:cubicBezTo>
                            <a:pt x="183658" y="112745"/>
                            <a:pt x="182719" y="108220"/>
                            <a:pt x="181726" y="104633"/>
                          </a:cubicBezTo>
                          <a:cubicBezTo>
                            <a:pt x="180346" y="101267"/>
                            <a:pt x="176594" y="98894"/>
                            <a:pt x="172952" y="97569"/>
                          </a:cubicBezTo>
                          <a:lnTo>
                            <a:pt x="172013" y="97238"/>
                          </a:lnTo>
                          <a:lnTo>
                            <a:pt x="171958" y="96300"/>
                          </a:lnTo>
                          <a:cubicBezTo>
                            <a:pt x="171848" y="93099"/>
                            <a:pt x="171627" y="89788"/>
                            <a:pt x="171241" y="86532"/>
                          </a:cubicBezTo>
                          <a:cubicBezTo>
                            <a:pt x="171075" y="84876"/>
                            <a:pt x="170855" y="83276"/>
                            <a:pt x="170523" y="81676"/>
                          </a:cubicBezTo>
                          <a:cubicBezTo>
                            <a:pt x="170358" y="80958"/>
                            <a:pt x="170137" y="80075"/>
                            <a:pt x="169916" y="79634"/>
                          </a:cubicBezTo>
                          <a:cubicBezTo>
                            <a:pt x="169751" y="79248"/>
                            <a:pt x="169806" y="79523"/>
                            <a:pt x="169585" y="79303"/>
                          </a:cubicBezTo>
                          <a:cubicBezTo>
                            <a:pt x="169309" y="79192"/>
                            <a:pt x="169033" y="79027"/>
                            <a:pt x="168647" y="78916"/>
                          </a:cubicBezTo>
                          <a:cubicBezTo>
                            <a:pt x="162521" y="77206"/>
                            <a:pt x="155292" y="76985"/>
                            <a:pt x="148449" y="76654"/>
                          </a:cubicBezTo>
                          <a:lnTo>
                            <a:pt x="147014" y="76599"/>
                          </a:lnTo>
                          <a:lnTo>
                            <a:pt x="147070" y="75164"/>
                          </a:lnTo>
                          <a:cubicBezTo>
                            <a:pt x="147180" y="71742"/>
                            <a:pt x="147345" y="67935"/>
                            <a:pt x="147180" y="64403"/>
                          </a:cubicBezTo>
                          <a:cubicBezTo>
                            <a:pt x="147290" y="63464"/>
                            <a:pt x="146407" y="62030"/>
                            <a:pt x="145911" y="60705"/>
                          </a:cubicBezTo>
                          <a:cubicBezTo>
                            <a:pt x="145304" y="59381"/>
                            <a:pt x="144697" y="58056"/>
                            <a:pt x="144034" y="56787"/>
                          </a:cubicBezTo>
                          <a:cubicBezTo>
                            <a:pt x="142710" y="54193"/>
                            <a:pt x="141220" y="51710"/>
                            <a:pt x="139509" y="49503"/>
                          </a:cubicBezTo>
                          <a:cubicBezTo>
                            <a:pt x="138626" y="48399"/>
                            <a:pt x="137688" y="47405"/>
                            <a:pt x="136695" y="46743"/>
                          </a:cubicBezTo>
                          <a:cubicBezTo>
                            <a:pt x="135591" y="46081"/>
                            <a:pt x="135094" y="45915"/>
                            <a:pt x="133770" y="46412"/>
                          </a:cubicBezTo>
                          <a:cubicBezTo>
                            <a:pt x="131231" y="47295"/>
                            <a:pt x="128582" y="48675"/>
                            <a:pt x="125989" y="49999"/>
                          </a:cubicBezTo>
                          <a:cubicBezTo>
                            <a:pt x="115669" y="55352"/>
                            <a:pt x="105680" y="61202"/>
                            <a:pt x="95857" y="67052"/>
                          </a:cubicBezTo>
                          <a:lnTo>
                            <a:pt x="94422" y="67879"/>
                          </a:lnTo>
                          <a:lnTo>
                            <a:pt x="93815" y="66334"/>
                          </a:lnTo>
                          <a:cubicBezTo>
                            <a:pt x="88573" y="53255"/>
                            <a:pt x="83441" y="40342"/>
                            <a:pt x="78363" y="27649"/>
                          </a:cubicBezTo>
                          <a:cubicBezTo>
                            <a:pt x="75825" y="21303"/>
                            <a:pt x="73286" y="14956"/>
                            <a:pt x="70803" y="8720"/>
                          </a:cubicBezTo>
                          <a:cubicBezTo>
                            <a:pt x="69865" y="5575"/>
                            <a:pt x="67657" y="3754"/>
                            <a:pt x="64733" y="3036"/>
                          </a:cubicBezTo>
                          <a:cubicBezTo>
                            <a:pt x="61808" y="2264"/>
                            <a:pt x="58938" y="3202"/>
                            <a:pt x="57559" y="5685"/>
                          </a:cubicBezTo>
                          <a:cubicBezTo>
                            <a:pt x="56896" y="6844"/>
                            <a:pt x="56565" y="8279"/>
                            <a:pt x="56731" y="9603"/>
                          </a:cubicBezTo>
                          <a:cubicBezTo>
                            <a:pt x="56896" y="10817"/>
                            <a:pt x="57503" y="12694"/>
                            <a:pt x="57834" y="14184"/>
                          </a:cubicBezTo>
                          <a:cubicBezTo>
                            <a:pt x="58662" y="17384"/>
                            <a:pt x="59490" y="20530"/>
                            <a:pt x="60318" y="23676"/>
                          </a:cubicBezTo>
                          <a:cubicBezTo>
                            <a:pt x="61973" y="29967"/>
                            <a:pt x="63629" y="36258"/>
                            <a:pt x="65229" y="42439"/>
                          </a:cubicBezTo>
                          <a:cubicBezTo>
                            <a:pt x="68485" y="54800"/>
                            <a:pt x="71686" y="66996"/>
                            <a:pt x="74776" y="78861"/>
                          </a:cubicBezTo>
                          <a:lnTo>
                            <a:pt x="74832" y="79082"/>
                          </a:lnTo>
                          <a:lnTo>
                            <a:pt x="74832" y="79303"/>
                          </a:lnTo>
                          <a:cubicBezTo>
                            <a:pt x="73728" y="101984"/>
                            <a:pt x="72679" y="123727"/>
                            <a:pt x="71686" y="144422"/>
                          </a:cubicBezTo>
                          <a:lnTo>
                            <a:pt x="71686" y="144587"/>
                          </a:lnTo>
                          <a:lnTo>
                            <a:pt x="71631" y="144753"/>
                          </a:lnTo>
                          <a:cubicBezTo>
                            <a:pt x="50771" y="212631"/>
                            <a:pt x="33498" y="268920"/>
                            <a:pt x="21357" y="308323"/>
                          </a:cubicBezTo>
                          <a:cubicBezTo>
                            <a:pt x="15286" y="327859"/>
                            <a:pt x="10485" y="343255"/>
                            <a:pt x="7174" y="353851"/>
                          </a:cubicBezTo>
                          <a:cubicBezTo>
                            <a:pt x="5519" y="358983"/>
                            <a:pt x="4249" y="362957"/>
                            <a:pt x="3366" y="365771"/>
                          </a:cubicBezTo>
                          <a:cubicBezTo>
                            <a:pt x="2483" y="368475"/>
                            <a:pt x="1931" y="369855"/>
                            <a:pt x="1931" y="369855"/>
                          </a:cubicBezTo>
                          <a:cubicBezTo>
                            <a:pt x="1931" y="369855"/>
                            <a:pt x="2263" y="368420"/>
                            <a:pt x="2980" y="365716"/>
                          </a:cubicBezTo>
                          <a:cubicBezTo>
                            <a:pt x="3808" y="362846"/>
                            <a:pt x="4967" y="358873"/>
                            <a:pt x="6457" y="353685"/>
                          </a:cubicBezTo>
                          <a:cubicBezTo>
                            <a:pt x="9602" y="343035"/>
                            <a:pt x="14183" y="327583"/>
                            <a:pt x="20032" y="307937"/>
                          </a:cubicBezTo>
                          <a:cubicBezTo>
                            <a:pt x="31897" y="268424"/>
                            <a:pt x="48894" y="212024"/>
                            <a:pt x="69313" y="144035"/>
                          </a:cubicBezTo>
                          <a:lnTo>
                            <a:pt x="69258" y="144311"/>
                          </a:lnTo>
                          <a:cubicBezTo>
                            <a:pt x="70196" y="123617"/>
                            <a:pt x="71189" y="101874"/>
                            <a:pt x="72238" y="79192"/>
                          </a:cubicBezTo>
                          <a:lnTo>
                            <a:pt x="72293" y="79579"/>
                          </a:lnTo>
                          <a:cubicBezTo>
                            <a:pt x="69148" y="67714"/>
                            <a:pt x="65947" y="55573"/>
                            <a:pt x="62636" y="43156"/>
                          </a:cubicBezTo>
                          <a:cubicBezTo>
                            <a:pt x="60980" y="36975"/>
                            <a:pt x="59325" y="30739"/>
                            <a:pt x="57669" y="24393"/>
                          </a:cubicBezTo>
                          <a:cubicBezTo>
                            <a:pt x="56841" y="21248"/>
                            <a:pt x="56013" y="18047"/>
                            <a:pt x="55130" y="14901"/>
                          </a:cubicBezTo>
                          <a:cubicBezTo>
                            <a:pt x="54744" y="13190"/>
                            <a:pt x="54247" y="11921"/>
                            <a:pt x="53916" y="9879"/>
                          </a:cubicBezTo>
                          <a:cubicBezTo>
                            <a:pt x="53695" y="7948"/>
                            <a:pt x="54137" y="5961"/>
                            <a:pt x="55130" y="4250"/>
                          </a:cubicBezTo>
                          <a:cubicBezTo>
                            <a:pt x="56124" y="2540"/>
                            <a:pt x="57669" y="1160"/>
                            <a:pt x="59600" y="498"/>
                          </a:cubicBezTo>
                          <a:cubicBezTo>
                            <a:pt x="61532" y="-165"/>
                            <a:pt x="63463" y="-109"/>
                            <a:pt x="65284" y="332"/>
                          </a:cubicBezTo>
                          <a:cubicBezTo>
                            <a:pt x="67106" y="774"/>
                            <a:pt x="68871" y="1601"/>
                            <a:pt x="70362" y="2926"/>
                          </a:cubicBezTo>
                          <a:cubicBezTo>
                            <a:pt x="71852" y="4140"/>
                            <a:pt x="72845" y="6237"/>
                            <a:pt x="73342" y="7672"/>
                          </a:cubicBezTo>
                          <a:cubicBezTo>
                            <a:pt x="75825" y="13908"/>
                            <a:pt x="78363" y="20254"/>
                            <a:pt x="80902" y="26600"/>
                          </a:cubicBezTo>
                          <a:cubicBezTo>
                            <a:pt x="85979" y="39293"/>
                            <a:pt x="91167" y="52207"/>
                            <a:pt x="96409" y="65286"/>
                          </a:cubicBezTo>
                          <a:lnTo>
                            <a:pt x="94367" y="64568"/>
                          </a:lnTo>
                          <a:cubicBezTo>
                            <a:pt x="104245" y="58719"/>
                            <a:pt x="114234" y="52869"/>
                            <a:pt x="124664" y="47405"/>
                          </a:cubicBezTo>
                          <a:cubicBezTo>
                            <a:pt x="127313" y="46081"/>
                            <a:pt x="129852" y="44701"/>
                            <a:pt x="132832" y="43653"/>
                          </a:cubicBezTo>
                          <a:cubicBezTo>
                            <a:pt x="133659" y="43432"/>
                            <a:pt x="134432" y="43101"/>
                            <a:pt x="135591" y="43267"/>
                          </a:cubicBezTo>
                          <a:cubicBezTo>
                            <a:pt x="136584" y="43432"/>
                            <a:pt x="137522" y="43818"/>
                            <a:pt x="138185" y="44315"/>
                          </a:cubicBezTo>
                          <a:cubicBezTo>
                            <a:pt x="139675" y="45253"/>
                            <a:pt x="140723" y="46467"/>
                            <a:pt x="141661" y="47681"/>
                          </a:cubicBezTo>
                          <a:cubicBezTo>
                            <a:pt x="143593" y="50110"/>
                            <a:pt x="145083" y="52758"/>
                            <a:pt x="146462" y="55463"/>
                          </a:cubicBezTo>
                          <a:cubicBezTo>
                            <a:pt x="147125" y="56787"/>
                            <a:pt x="147787" y="58167"/>
                            <a:pt x="148449" y="59546"/>
                          </a:cubicBezTo>
                          <a:cubicBezTo>
                            <a:pt x="148946" y="60981"/>
                            <a:pt x="149884" y="62140"/>
                            <a:pt x="149994" y="64237"/>
                          </a:cubicBezTo>
                          <a:cubicBezTo>
                            <a:pt x="150160" y="68155"/>
                            <a:pt x="149994" y="71853"/>
                            <a:pt x="149884" y="75329"/>
                          </a:cubicBezTo>
                          <a:lnTo>
                            <a:pt x="148504" y="73839"/>
                          </a:lnTo>
                          <a:cubicBezTo>
                            <a:pt x="155623" y="74226"/>
                            <a:pt x="162466" y="74336"/>
                            <a:pt x="169585" y="76267"/>
                          </a:cubicBezTo>
                          <a:cubicBezTo>
                            <a:pt x="170027" y="76378"/>
                            <a:pt x="170523" y="76654"/>
                            <a:pt x="171020" y="76875"/>
                          </a:cubicBezTo>
                          <a:cubicBezTo>
                            <a:pt x="171461" y="77095"/>
                            <a:pt x="172344" y="77868"/>
                            <a:pt x="172455" y="78309"/>
                          </a:cubicBezTo>
                          <a:cubicBezTo>
                            <a:pt x="173007" y="79358"/>
                            <a:pt x="173117" y="80186"/>
                            <a:pt x="173338" y="81124"/>
                          </a:cubicBezTo>
                          <a:cubicBezTo>
                            <a:pt x="173724" y="82890"/>
                            <a:pt x="173945" y="84545"/>
                            <a:pt x="174110" y="86256"/>
                          </a:cubicBezTo>
                          <a:cubicBezTo>
                            <a:pt x="174497" y="89622"/>
                            <a:pt x="174718" y="92934"/>
                            <a:pt x="174828" y="96245"/>
                          </a:cubicBezTo>
                          <a:lnTo>
                            <a:pt x="173835" y="94920"/>
                          </a:lnTo>
                          <a:cubicBezTo>
                            <a:pt x="178084" y="96521"/>
                            <a:pt x="182333" y="99004"/>
                            <a:pt x="184375" y="103640"/>
                          </a:cubicBezTo>
                          <a:cubicBezTo>
                            <a:pt x="185699" y="108165"/>
                            <a:pt x="186417" y="112028"/>
                            <a:pt x="187024" y="116387"/>
                          </a:cubicBezTo>
                          <a:cubicBezTo>
                            <a:pt x="187245" y="118540"/>
                            <a:pt x="187410" y="120747"/>
                            <a:pt x="186914" y="123065"/>
                          </a:cubicBezTo>
                          <a:cubicBezTo>
                            <a:pt x="186693" y="124224"/>
                            <a:pt x="186086" y="125548"/>
                            <a:pt x="184927" y="126486"/>
                          </a:cubicBezTo>
                          <a:cubicBezTo>
                            <a:pt x="183768" y="127314"/>
                            <a:pt x="183050" y="127590"/>
                            <a:pt x="182112" y="128142"/>
                          </a:cubicBezTo>
                          <a:cubicBezTo>
                            <a:pt x="178525" y="130129"/>
                            <a:pt x="174993" y="132115"/>
                            <a:pt x="171517" y="134047"/>
                          </a:cubicBezTo>
                          <a:lnTo>
                            <a:pt x="172234" y="132943"/>
                          </a:lnTo>
                          <a:cubicBezTo>
                            <a:pt x="171020" y="144477"/>
                            <a:pt x="169806" y="155845"/>
                            <a:pt x="168316" y="166993"/>
                          </a:cubicBezTo>
                          <a:lnTo>
                            <a:pt x="167985" y="169145"/>
                          </a:lnTo>
                          <a:cubicBezTo>
                            <a:pt x="167930" y="169807"/>
                            <a:pt x="167433" y="171021"/>
                            <a:pt x="166936" y="171573"/>
                          </a:cubicBezTo>
                          <a:cubicBezTo>
                            <a:pt x="166053" y="172842"/>
                            <a:pt x="165115" y="173891"/>
                            <a:pt x="164232" y="174939"/>
                          </a:cubicBezTo>
                          <a:cubicBezTo>
                            <a:pt x="162356" y="177036"/>
                            <a:pt x="160480" y="179078"/>
                            <a:pt x="158548" y="181065"/>
                          </a:cubicBezTo>
                          <a:cubicBezTo>
                            <a:pt x="154740" y="185038"/>
                            <a:pt x="150877" y="188846"/>
                            <a:pt x="147070" y="192599"/>
                          </a:cubicBezTo>
                          <a:lnTo>
                            <a:pt x="147456" y="191937"/>
                          </a:lnTo>
                          <a:cubicBezTo>
                            <a:pt x="135315" y="243149"/>
                            <a:pt x="124057" y="290719"/>
                            <a:pt x="113958" y="333267"/>
                          </a:cubicBezTo>
                          <a:cubicBezTo>
                            <a:pt x="108881" y="354513"/>
                            <a:pt x="104135" y="374546"/>
                            <a:pt x="99720" y="393088"/>
                          </a:cubicBezTo>
                          <a:cubicBezTo>
                            <a:pt x="97513" y="402359"/>
                            <a:pt x="95471" y="411410"/>
                            <a:pt x="92436" y="419687"/>
                          </a:cubicBezTo>
                          <a:cubicBezTo>
                            <a:pt x="89456" y="428020"/>
                            <a:pt x="85869" y="435691"/>
                            <a:pt x="81950" y="442700"/>
                          </a:cubicBezTo>
                          <a:cubicBezTo>
                            <a:pt x="74004" y="456662"/>
                            <a:pt x="64512" y="467754"/>
                            <a:pt x="55075" y="476087"/>
                          </a:cubicBezTo>
                          <a:cubicBezTo>
                            <a:pt x="45418" y="484365"/>
                            <a:pt x="34712" y="488007"/>
                            <a:pt x="26103" y="489001"/>
                          </a:cubicBezTo>
                          <a:cubicBezTo>
                            <a:pt x="17383" y="490049"/>
                            <a:pt x="10540" y="488559"/>
                            <a:pt x="6346" y="487014"/>
                          </a:cubicBezTo>
                          <a:cubicBezTo>
                            <a:pt x="4194" y="486241"/>
                            <a:pt x="2649" y="485469"/>
                            <a:pt x="1656" y="484917"/>
                          </a:cubicBezTo>
                          <a:cubicBezTo>
                            <a:pt x="497" y="484255"/>
                            <a:pt x="0" y="483979"/>
                            <a:pt x="0" y="483923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7" name="Freeform: Shape 886">
                      <a:extLst>
                        <a:ext uri="{FF2B5EF4-FFF2-40B4-BE49-F238E27FC236}">
                          <a16:creationId xmlns:a16="http://schemas.microsoft.com/office/drawing/2014/main" id="{2A6618E9-C7A2-4D7E-B539-7866D45785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745" y="-1905887"/>
                      <a:ext cx="28603" cy="11943"/>
                    </a:xfrm>
                    <a:custGeom>
                      <a:avLst/>
                      <a:gdLst>
                        <a:gd name="connsiteX0" fmla="*/ 28604 w 28603"/>
                        <a:gd name="connsiteY0" fmla="*/ 1502 h 11943"/>
                        <a:gd name="connsiteX1" fmla="*/ 23802 w 28603"/>
                        <a:gd name="connsiteY1" fmla="*/ 2274 h 11943"/>
                        <a:gd name="connsiteX2" fmla="*/ 12821 w 28603"/>
                        <a:gd name="connsiteY2" fmla="*/ 3599 h 11943"/>
                        <a:gd name="connsiteX3" fmla="*/ 3439 w 28603"/>
                        <a:gd name="connsiteY3" fmla="*/ 8621 h 11943"/>
                        <a:gd name="connsiteX4" fmla="*/ 128 w 28603"/>
                        <a:gd name="connsiteY4" fmla="*/ 11932 h 11943"/>
                        <a:gd name="connsiteX5" fmla="*/ 1894 w 28603"/>
                        <a:gd name="connsiteY5" fmla="*/ 7296 h 11943"/>
                        <a:gd name="connsiteX6" fmla="*/ 12048 w 28603"/>
                        <a:gd name="connsiteY6" fmla="*/ 840 h 11943"/>
                        <a:gd name="connsiteX7" fmla="*/ 23858 w 28603"/>
                        <a:gd name="connsiteY7" fmla="*/ 288 h 11943"/>
                        <a:gd name="connsiteX8" fmla="*/ 28604 w 28603"/>
                        <a:gd name="connsiteY8" fmla="*/ 1502 h 119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8603" h="11943">
                          <a:moveTo>
                            <a:pt x="28604" y="1502"/>
                          </a:moveTo>
                          <a:cubicBezTo>
                            <a:pt x="28604" y="1888"/>
                            <a:pt x="26727" y="2109"/>
                            <a:pt x="23802" y="2274"/>
                          </a:cubicBezTo>
                          <a:cubicBezTo>
                            <a:pt x="20878" y="2440"/>
                            <a:pt x="16904" y="2550"/>
                            <a:pt x="12821" y="3599"/>
                          </a:cubicBezTo>
                          <a:cubicBezTo>
                            <a:pt x="8737" y="4647"/>
                            <a:pt x="5426" y="6689"/>
                            <a:pt x="3439" y="8621"/>
                          </a:cubicBezTo>
                          <a:cubicBezTo>
                            <a:pt x="1397" y="10497"/>
                            <a:pt x="514" y="12097"/>
                            <a:pt x="128" y="11932"/>
                          </a:cubicBezTo>
                          <a:cubicBezTo>
                            <a:pt x="-203" y="11822"/>
                            <a:pt x="17" y="9835"/>
                            <a:pt x="1894" y="7296"/>
                          </a:cubicBezTo>
                          <a:cubicBezTo>
                            <a:pt x="3715" y="4758"/>
                            <a:pt x="7412" y="2054"/>
                            <a:pt x="12048" y="840"/>
                          </a:cubicBezTo>
                          <a:cubicBezTo>
                            <a:pt x="16683" y="-319"/>
                            <a:pt x="20933" y="-43"/>
                            <a:pt x="23858" y="288"/>
                          </a:cubicBezTo>
                          <a:cubicBezTo>
                            <a:pt x="26838" y="619"/>
                            <a:pt x="28604" y="1116"/>
                            <a:pt x="28604" y="1502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8" name="Freeform: Shape 887">
                      <a:extLst>
                        <a:ext uri="{FF2B5EF4-FFF2-40B4-BE49-F238E27FC236}">
                          <a16:creationId xmlns:a16="http://schemas.microsoft.com/office/drawing/2014/main" id="{D8ACA822-65BD-472F-A5EE-A0634CCB3B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35550" y="-1910438"/>
                      <a:ext cx="3632" cy="6697"/>
                    </a:xfrm>
                    <a:custGeom>
                      <a:avLst/>
                      <a:gdLst>
                        <a:gd name="connsiteX0" fmla="*/ 574 w 3632"/>
                        <a:gd name="connsiteY0" fmla="*/ 6660 h 6697"/>
                        <a:gd name="connsiteX1" fmla="*/ 464 w 3632"/>
                        <a:gd name="connsiteY1" fmla="*/ 2852 h 6697"/>
                        <a:gd name="connsiteX2" fmla="*/ 3058 w 3632"/>
                        <a:gd name="connsiteY2" fmla="*/ 38 h 6697"/>
                        <a:gd name="connsiteX3" fmla="*/ 3168 w 3632"/>
                        <a:gd name="connsiteY3" fmla="*/ 3845 h 6697"/>
                        <a:gd name="connsiteX4" fmla="*/ 574 w 3632"/>
                        <a:gd name="connsiteY4" fmla="*/ 6660 h 66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632" h="6697">
                          <a:moveTo>
                            <a:pt x="574" y="6660"/>
                          </a:moveTo>
                          <a:cubicBezTo>
                            <a:pt x="-143" y="6384"/>
                            <a:pt x="-198" y="4673"/>
                            <a:pt x="464" y="2852"/>
                          </a:cubicBezTo>
                          <a:cubicBezTo>
                            <a:pt x="1126" y="1031"/>
                            <a:pt x="2285" y="-238"/>
                            <a:pt x="3058" y="38"/>
                          </a:cubicBezTo>
                          <a:cubicBezTo>
                            <a:pt x="3775" y="314"/>
                            <a:pt x="3830" y="2024"/>
                            <a:pt x="3168" y="3845"/>
                          </a:cubicBezTo>
                          <a:cubicBezTo>
                            <a:pt x="2506" y="5667"/>
                            <a:pt x="1347" y="6936"/>
                            <a:pt x="574" y="6660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9" name="Freeform: Shape 888">
                      <a:extLst>
                        <a:ext uri="{FF2B5EF4-FFF2-40B4-BE49-F238E27FC236}">
                          <a16:creationId xmlns:a16="http://schemas.microsoft.com/office/drawing/2014/main" id="{51EB2406-547F-48BA-9783-3C0777E49E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50318" y="-1884637"/>
                      <a:ext cx="27857" cy="11786"/>
                    </a:xfrm>
                    <a:custGeom>
                      <a:avLst/>
                      <a:gdLst>
                        <a:gd name="connsiteX0" fmla="*/ 27858 w 27857"/>
                        <a:gd name="connsiteY0" fmla="*/ 891 h 11786"/>
                        <a:gd name="connsiteX1" fmla="*/ 11467 w 27857"/>
                        <a:gd name="connsiteY1" fmla="*/ 3154 h 11786"/>
                        <a:gd name="connsiteX2" fmla="*/ 2362 w 27857"/>
                        <a:gd name="connsiteY2" fmla="*/ 7514 h 11786"/>
                        <a:gd name="connsiteX3" fmla="*/ 982 w 27857"/>
                        <a:gd name="connsiteY3" fmla="*/ 11763 h 11786"/>
                        <a:gd name="connsiteX4" fmla="*/ 541 w 27857"/>
                        <a:gd name="connsiteY4" fmla="*/ 6575 h 11786"/>
                        <a:gd name="connsiteX5" fmla="*/ 4514 w 27857"/>
                        <a:gd name="connsiteY5" fmla="*/ 2216 h 11786"/>
                        <a:gd name="connsiteX6" fmla="*/ 11136 w 27857"/>
                        <a:gd name="connsiteY6" fmla="*/ 284 h 11786"/>
                        <a:gd name="connsiteX7" fmla="*/ 27858 w 27857"/>
                        <a:gd name="connsiteY7" fmla="*/ 891 h 117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7857" h="11786">
                          <a:moveTo>
                            <a:pt x="27858" y="891"/>
                          </a:moveTo>
                          <a:cubicBezTo>
                            <a:pt x="27858" y="1719"/>
                            <a:pt x="20463" y="2602"/>
                            <a:pt x="11467" y="3154"/>
                          </a:cubicBezTo>
                          <a:cubicBezTo>
                            <a:pt x="6997" y="3540"/>
                            <a:pt x="3686" y="5141"/>
                            <a:pt x="2362" y="7514"/>
                          </a:cubicBezTo>
                          <a:cubicBezTo>
                            <a:pt x="927" y="9776"/>
                            <a:pt x="1369" y="11652"/>
                            <a:pt x="982" y="11763"/>
                          </a:cubicBezTo>
                          <a:cubicBezTo>
                            <a:pt x="706" y="12039"/>
                            <a:pt x="-784" y="9887"/>
                            <a:pt x="541" y="6575"/>
                          </a:cubicBezTo>
                          <a:cubicBezTo>
                            <a:pt x="1148" y="5030"/>
                            <a:pt x="2527" y="3319"/>
                            <a:pt x="4514" y="2216"/>
                          </a:cubicBezTo>
                          <a:cubicBezTo>
                            <a:pt x="6446" y="1112"/>
                            <a:pt x="8819" y="560"/>
                            <a:pt x="11136" y="284"/>
                          </a:cubicBezTo>
                          <a:cubicBezTo>
                            <a:pt x="20408" y="-323"/>
                            <a:pt x="27913" y="119"/>
                            <a:pt x="27858" y="891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0" name="Freeform: Shape 889">
                      <a:extLst>
                        <a:ext uri="{FF2B5EF4-FFF2-40B4-BE49-F238E27FC236}">
                          <a16:creationId xmlns:a16="http://schemas.microsoft.com/office/drawing/2014/main" id="{38EAAB9C-8C00-4F56-829A-9952D84F5E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72659" y="-1863880"/>
                      <a:ext cx="2974" cy="18101"/>
                    </a:xfrm>
                    <a:custGeom>
                      <a:avLst/>
                      <a:gdLst>
                        <a:gd name="connsiteX0" fmla="*/ 1874 w 2974"/>
                        <a:gd name="connsiteY0" fmla="*/ 1 h 18101"/>
                        <a:gd name="connsiteX1" fmla="*/ 2922 w 2974"/>
                        <a:gd name="connsiteY1" fmla="*/ 9106 h 18101"/>
                        <a:gd name="connsiteX2" fmla="*/ 1101 w 2974"/>
                        <a:gd name="connsiteY2" fmla="*/ 18101 h 18101"/>
                        <a:gd name="connsiteX3" fmla="*/ 53 w 2974"/>
                        <a:gd name="connsiteY3" fmla="*/ 8996 h 18101"/>
                        <a:gd name="connsiteX4" fmla="*/ 1874 w 2974"/>
                        <a:gd name="connsiteY4" fmla="*/ 1 h 181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74" h="18101">
                          <a:moveTo>
                            <a:pt x="1874" y="1"/>
                          </a:moveTo>
                          <a:cubicBezTo>
                            <a:pt x="2646" y="56"/>
                            <a:pt x="3143" y="4139"/>
                            <a:pt x="2922" y="9106"/>
                          </a:cubicBezTo>
                          <a:cubicBezTo>
                            <a:pt x="2702" y="14128"/>
                            <a:pt x="1874" y="18101"/>
                            <a:pt x="1101" y="18101"/>
                          </a:cubicBezTo>
                          <a:cubicBezTo>
                            <a:pt x="329" y="18046"/>
                            <a:pt x="-168" y="13963"/>
                            <a:pt x="53" y="8996"/>
                          </a:cubicBezTo>
                          <a:cubicBezTo>
                            <a:pt x="218" y="3974"/>
                            <a:pt x="1046" y="-55"/>
                            <a:pt x="1874" y="1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550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816" name="Graphic 179">
                <a:extLst>
                  <a:ext uri="{FF2B5EF4-FFF2-40B4-BE49-F238E27FC236}">
                    <a16:creationId xmlns:a16="http://schemas.microsoft.com/office/drawing/2014/main" id="{6C4DD177-C667-42A8-929A-0C4237EB68AE}"/>
                  </a:ext>
                </a:extLst>
              </p:cNvPr>
              <p:cNvGrpSpPr/>
              <p:nvPr/>
            </p:nvGrpSpPr>
            <p:grpSpPr>
              <a:xfrm>
                <a:off x="7797435" y="-1747006"/>
                <a:ext cx="40839" cy="38724"/>
                <a:chOff x="7797435" y="-1747006"/>
                <a:chExt cx="40839" cy="38724"/>
              </a:xfrm>
              <a:solidFill>
                <a:srgbClr val="FFFFFF"/>
              </a:solidFill>
            </p:grpSpPr>
            <p:sp>
              <p:nvSpPr>
                <p:cNvPr id="878" name="Freeform: Shape 877">
                  <a:extLst>
                    <a:ext uri="{FF2B5EF4-FFF2-40B4-BE49-F238E27FC236}">
                      <a16:creationId xmlns:a16="http://schemas.microsoft.com/office/drawing/2014/main" id="{F98195B0-F025-4B3F-A038-358EE11704F9}"/>
                    </a:ext>
                  </a:extLst>
                </p:cNvPr>
                <p:cNvSpPr/>
                <p:nvPr/>
              </p:nvSpPr>
              <p:spPr>
                <a:xfrm>
                  <a:off x="7797435" y="-1747006"/>
                  <a:ext cx="40726" cy="31741"/>
                </a:xfrm>
                <a:custGeom>
                  <a:avLst/>
                  <a:gdLst>
                    <a:gd name="connsiteX0" fmla="*/ 0 w 40726"/>
                    <a:gd name="connsiteY0" fmla="*/ 31742 h 31741"/>
                    <a:gd name="connsiteX1" fmla="*/ 4911 w 40726"/>
                    <a:gd name="connsiteY1" fmla="*/ 14800 h 31741"/>
                    <a:gd name="connsiteX2" fmla="*/ 12637 w 40726"/>
                    <a:gd name="connsiteY2" fmla="*/ 12868 h 31741"/>
                    <a:gd name="connsiteX3" fmla="*/ 19039 w 40726"/>
                    <a:gd name="connsiteY3" fmla="*/ 19380 h 31741"/>
                    <a:gd name="connsiteX4" fmla="*/ 23012 w 40726"/>
                    <a:gd name="connsiteY4" fmla="*/ 3487 h 31741"/>
                    <a:gd name="connsiteX5" fmla="*/ 31676 w 40726"/>
                    <a:gd name="connsiteY5" fmla="*/ 2604 h 31741"/>
                    <a:gd name="connsiteX6" fmla="*/ 40727 w 40726"/>
                    <a:gd name="connsiteY6" fmla="*/ 21422 h 31741"/>
                    <a:gd name="connsiteX7" fmla="*/ 0 w 40726"/>
                    <a:gd name="connsiteY7" fmla="*/ 31742 h 31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726" h="31741">
                      <a:moveTo>
                        <a:pt x="0" y="31742"/>
                      </a:moveTo>
                      <a:lnTo>
                        <a:pt x="4911" y="14800"/>
                      </a:lnTo>
                      <a:cubicBezTo>
                        <a:pt x="5905" y="11378"/>
                        <a:pt x="10154" y="10330"/>
                        <a:pt x="12637" y="12868"/>
                      </a:cubicBezTo>
                      <a:lnTo>
                        <a:pt x="19039" y="19380"/>
                      </a:lnTo>
                      <a:lnTo>
                        <a:pt x="23012" y="3487"/>
                      </a:lnTo>
                      <a:cubicBezTo>
                        <a:pt x="24061" y="-707"/>
                        <a:pt x="29800" y="-1259"/>
                        <a:pt x="31676" y="2604"/>
                      </a:cubicBezTo>
                      <a:lnTo>
                        <a:pt x="40727" y="21422"/>
                      </a:lnTo>
                      <a:lnTo>
                        <a:pt x="0" y="317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9" name="Freeform: Shape 878">
                  <a:extLst>
                    <a:ext uri="{FF2B5EF4-FFF2-40B4-BE49-F238E27FC236}">
                      <a16:creationId xmlns:a16="http://schemas.microsoft.com/office/drawing/2014/main" id="{4E5BE3EE-1829-478A-95E5-78C969686CBB}"/>
                    </a:ext>
                  </a:extLst>
                </p:cNvPr>
                <p:cNvSpPr/>
                <p:nvPr/>
              </p:nvSpPr>
              <p:spPr>
                <a:xfrm>
                  <a:off x="7798592" y="-1718494"/>
                  <a:ext cx="39683" cy="10212"/>
                </a:xfrm>
                <a:custGeom>
                  <a:avLst/>
                  <a:gdLst>
                    <a:gd name="connsiteX0" fmla="*/ 39681 w 39683"/>
                    <a:gd name="connsiteY0" fmla="*/ 195 h 10212"/>
                    <a:gd name="connsiteX1" fmla="*/ 20200 w 39683"/>
                    <a:gd name="connsiteY1" fmla="*/ 6486 h 10212"/>
                    <a:gd name="connsiteX2" fmla="*/ 2 w 39683"/>
                    <a:gd name="connsiteY2" fmla="*/ 10018 h 10212"/>
                    <a:gd name="connsiteX3" fmla="*/ 19483 w 39683"/>
                    <a:gd name="connsiteY3" fmla="*/ 3726 h 10212"/>
                    <a:gd name="connsiteX4" fmla="*/ 39681 w 39683"/>
                    <a:gd name="connsiteY4" fmla="*/ 195 h 10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83" h="10212">
                      <a:moveTo>
                        <a:pt x="39681" y="195"/>
                      </a:moveTo>
                      <a:cubicBezTo>
                        <a:pt x="39846" y="967"/>
                        <a:pt x="31127" y="3782"/>
                        <a:pt x="20200" y="6486"/>
                      </a:cubicBezTo>
                      <a:cubicBezTo>
                        <a:pt x="9218" y="9190"/>
                        <a:pt x="223" y="10790"/>
                        <a:pt x="2" y="10018"/>
                      </a:cubicBezTo>
                      <a:cubicBezTo>
                        <a:pt x="-163" y="9245"/>
                        <a:pt x="8556" y="6430"/>
                        <a:pt x="19483" y="3726"/>
                      </a:cubicBezTo>
                      <a:cubicBezTo>
                        <a:pt x="30465" y="1022"/>
                        <a:pt x="39515" y="-578"/>
                        <a:pt x="39681" y="1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817" name="Freeform: Shape 816">
                <a:extLst>
                  <a:ext uri="{FF2B5EF4-FFF2-40B4-BE49-F238E27FC236}">
                    <a16:creationId xmlns:a16="http://schemas.microsoft.com/office/drawing/2014/main" id="{826AE301-B8DE-481E-B0FC-1DDC29D1132B}"/>
                  </a:ext>
                </a:extLst>
              </p:cNvPr>
              <p:cNvSpPr/>
              <p:nvPr/>
            </p:nvSpPr>
            <p:spPr>
              <a:xfrm>
                <a:off x="7495322" y="-1812612"/>
                <a:ext cx="22984" cy="203855"/>
              </a:xfrm>
              <a:custGeom>
                <a:avLst/>
                <a:gdLst>
                  <a:gd name="connsiteX0" fmla="*/ 14762 w 22984"/>
                  <a:gd name="connsiteY0" fmla="*/ 0 h 203855"/>
                  <a:gd name="connsiteX1" fmla="*/ 9850 w 22984"/>
                  <a:gd name="connsiteY1" fmla="*/ 6567 h 203855"/>
                  <a:gd name="connsiteX2" fmla="*/ 2345 w 22984"/>
                  <a:gd name="connsiteY2" fmla="*/ 27427 h 203855"/>
                  <a:gd name="connsiteX3" fmla="*/ 1352 w 22984"/>
                  <a:gd name="connsiteY3" fmla="*/ 60483 h 203855"/>
                  <a:gd name="connsiteX4" fmla="*/ 4497 w 22984"/>
                  <a:gd name="connsiteY4" fmla="*/ 101045 h 203855"/>
                  <a:gd name="connsiteX5" fmla="*/ 16141 w 22984"/>
                  <a:gd name="connsiteY5" fmla="*/ 174000 h 203855"/>
                  <a:gd name="connsiteX6" fmla="*/ 21108 w 22984"/>
                  <a:gd name="connsiteY6" fmla="*/ 195854 h 203855"/>
                  <a:gd name="connsiteX7" fmla="*/ 22543 w 22984"/>
                  <a:gd name="connsiteY7" fmla="*/ 201758 h 203855"/>
                  <a:gd name="connsiteX8" fmla="*/ 22984 w 22984"/>
                  <a:gd name="connsiteY8" fmla="*/ 203856 h 203855"/>
                  <a:gd name="connsiteX9" fmla="*/ 22322 w 22984"/>
                  <a:gd name="connsiteY9" fmla="*/ 201814 h 203855"/>
                  <a:gd name="connsiteX10" fmla="*/ 20666 w 22984"/>
                  <a:gd name="connsiteY10" fmla="*/ 195964 h 203855"/>
                  <a:gd name="connsiteX11" fmla="*/ 15369 w 22984"/>
                  <a:gd name="connsiteY11" fmla="*/ 174166 h 203855"/>
                  <a:gd name="connsiteX12" fmla="*/ 3393 w 22984"/>
                  <a:gd name="connsiteY12" fmla="*/ 101155 h 203855"/>
                  <a:gd name="connsiteX13" fmla="*/ 358 w 22984"/>
                  <a:gd name="connsiteY13" fmla="*/ 60539 h 203855"/>
                  <a:gd name="connsiteX14" fmla="*/ 1627 w 22984"/>
                  <a:gd name="connsiteY14" fmla="*/ 27262 h 203855"/>
                  <a:gd name="connsiteX15" fmla="*/ 9519 w 22984"/>
                  <a:gd name="connsiteY15" fmla="*/ 6346 h 203855"/>
                  <a:gd name="connsiteX16" fmla="*/ 14762 w 22984"/>
                  <a:gd name="connsiteY16" fmla="*/ 0 h 203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84" h="203855">
                    <a:moveTo>
                      <a:pt x="14762" y="0"/>
                    </a:moveTo>
                    <a:cubicBezTo>
                      <a:pt x="14872" y="110"/>
                      <a:pt x="12720" y="2097"/>
                      <a:pt x="9850" y="6567"/>
                    </a:cubicBezTo>
                    <a:cubicBezTo>
                      <a:pt x="7036" y="10982"/>
                      <a:pt x="3890" y="18101"/>
                      <a:pt x="2345" y="27427"/>
                    </a:cubicBezTo>
                    <a:cubicBezTo>
                      <a:pt x="744" y="36698"/>
                      <a:pt x="634" y="48011"/>
                      <a:pt x="1352" y="60483"/>
                    </a:cubicBezTo>
                    <a:cubicBezTo>
                      <a:pt x="1958" y="72955"/>
                      <a:pt x="2952" y="86697"/>
                      <a:pt x="4497" y="101045"/>
                    </a:cubicBezTo>
                    <a:cubicBezTo>
                      <a:pt x="7532" y="129741"/>
                      <a:pt x="12168" y="155513"/>
                      <a:pt x="16141" y="174000"/>
                    </a:cubicBezTo>
                    <a:cubicBezTo>
                      <a:pt x="18128" y="183271"/>
                      <a:pt x="19894" y="190721"/>
                      <a:pt x="21108" y="195854"/>
                    </a:cubicBezTo>
                    <a:cubicBezTo>
                      <a:pt x="21660" y="198116"/>
                      <a:pt x="22101" y="200103"/>
                      <a:pt x="22543" y="201758"/>
                    </a:cubicBezTo>
                    <a:cubicBezTo>
                      <a:pt x="22874" y="203138"/>
                      <a:pt x="22984" y="203856"/>
                      <a:pt x="22984" y="203856"/>
                    </a:cubicBezTo>
                    <a:cubicBezTo>
                      <a:pt x="22984" y="203856"/>
                      <a:pt x="22708" y="203193"/>
                      <a:pt x="22322" y="201814"/>
                    </a:cubicBezTo>
                    <a:cubicBezTo>
                      <a:pt x="21881" y="200158"/>
                      <a:pt x="21329" y="198227"/>
                      <a:pt x="20666" y="195964"/>
                    </a:cubicBezTo>
                    <a:cubicBezTo>
                      <a:pt x="19287" y="190832"/>
                      <a:pt x="17411" y="183437"/>
                      <a:pt x="15369" y="174166"/>
                    </a:cubicBezTo>
                    <a:cubicBezTo>
                      <a:pt x="11175" y="155679"/>
                      <a:pt x="6428" y="129907"/>
                      <a:pt x="3393" y="101155"/>
                    </a:cubicBezTo>
                    <a:cubicBezTo>
                      <a:pt x="1848" y="86807"/>
                      <a:pt x="910" y="73066"/>
                      <a:pt x="358" y="60539"/>
                    </a:cubicBezTo>
                    <a:cubicBezTo>
                      <a:pt x="-304" y="48067"/>
                      <a:pt x="-139" y="36643"/>
                      <a:pt x="1627" y="27262"/>
                    </a:cubicBezTo>
                    <a:cubicBezTo>
                      <a:pt x="3283" y="17880"/>
                      <a:pt x="6539" y="10706"/>
                      <a:pt x="9519" y="6346"/>
                    </a:cubicBezTo>
                    <a:cubicBezTo>
                      <a:pt x="12499" y="1876"/>
                      <a:pt x="14762" y="0"/>
                      <a:pt x="147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8" name="Freeform: Shape 817">
                <a:extLst>
                  <a:ext uri="{FF2B5EF4-FFF2-40B4-BE49-F238E27FC236}">
                    <a16:creationId xmlns:a16="http://schemas.microsoft.com/office/drawing/2014/main" id="{0D3370F4-DD5C-42E9-BF79-4A7D9CAEEB83}"/>
                  </a:ext>
                </a:extLst>
              </p:cNvPr>
              <p:cNvSpPr/>
              <p:nvPr/>
            </p:nvSpPr>
            <p:spPr>
              <a:xfrm>
                <a:off x="7510194" y="-1887675"/>
                <a:ext cx="116055" cy="74959"/>
              </a:xfrm>
              <a:custGeom>
                <a:avLst/>
                <a:gdLst>
                  <a:gd name="connsiteX0" fmla="*/ 116055 w 116055"/>
                  <a:gd name="connsiteY0" fmla="*/ 11 h 74959"/>
                  <a:gd name="connsiteX1" fmla="*/ 114841 w 116055"/>
                  <a:gd name="connsiteY1" fmla="*/ 673 h 74959"/>
                  <a:gd name="connsiteX2" fmla="*/ 111199 w 116055"/>
                  <a:gd name="connsiteY2" fmla="*/ 2384 h 74959"/>
                  <a:gd name="connsiteX3" fmla="*/ 98010 w 116055"/>
                  <a:gd name="connsiteY3" fmla="*/ 9116 h 74959"/>
                  <a:gd name="connsiteX4" fmla="*/ 56565 w 116055"/>
                  <a:gd name="connsiteY4" fmla="*/ 35053 h 74959"/>
                  <a:gd name="connsiteX5" fmla="*/ 16666 w 116055"/>
                  <a:gd name="connsiteY5" fmla="*/ 63419 h 74959"/>
                  <a:gd name="connsiteX6" fmla="*/ 4525 w 116055"/>
                  <a:gd name="connsiteY6" fmla="*/ 71973 h 74959"/>
                  <a:gd name="connsiteX7" fmla="*/ 1214 w 116055"/>
                  <a:gd name="connsiteY7" fmla="*/ 74235 h 74959"/>
                  <a:gd name="connsiteX8" fmla="*/ 0 w 116055"/>
                  <a:gd name="connsiteY8" fmla="*/ 74953 h 74959"/>
                  <a:gd name="connsiteX9" fmla="*/ 1049 w 116055"/>
                  <a:gd name="connsiteY9" fmla="*/ 74014 h 74959"/>
                  <a:gd name="connsiteX10" fmla="*/ 4249 w 116055"/>
                  <a:gd name="connsiteY10" fmla="*/ 71586 h 74959"/>
                  <a:gd name="connsiteX11" fmla="*/ 16170 w 116055"/>
                  <a:gd name="connsiteY11" fmla="*/ 62701 h 74959"/>
                  <a:gd name="connsiteX12" fmla="*/ 55903 w 116055"/>
                  <a:gd name="connsiteY12" fmla="*/ 34060 h 74959"/>
                  <a:gd name="connsiteX13" fmla="*/ 97623 w 116055"/>
                  <a:gd name="connsiteY13" fmla="*/ 8399 h 74959"/>
                  <a:gd name="connsiteX14" fmla="*/ 111034 w 116055"/>
                  <a:gd name="connsiteY14" fmla="*/ 1942 h 74959"/>
                  <a:gd name="connsiteX15" fmla="*/ 114786 w 116055"/>
                  <a:gd name="connsiteY15" fmla="*/ 397 h 74959"/>
                  <a:gd name="connsiteX16" fmla="*/ 116055 w 116055"/>
                  <a:gd name="connsiteY16" fmla="*/ 11 h 7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6055" h="74959">
                    <a:moveTo>
                      <a:pt x="116055" y="11"/>
                    </a:moveTo>
                    <a:cubicBezTo>
                      <a:pt x="116055" y="66"/>
                      <a:pt x="115669" y="286"/>
                      <a:pt x="114841" y="673"/>
                    </a:cubicBezTo>
                    <a:cubicBezTo>
                      <a:pt x="113738" y="1225"/>
                      <a:pt x="112523" y="1776"/>
                      <a:pt x="111199" y="2384"/>
                    </a:cubicBezTo>
                    <a:cubicBezTo>
                      <a:pt x="108053" y="3874"/>
                      <a:pt x="103473" y="6081"/>
                      <a:pt x="98010" y="9116"/>
                    </a:cubicBezTo>
                    <a:cubicBezTo>
                      <a:pt x="86973" y="15021"/>
                      <a:pt x="72293" y="24182"/>
                      <a:pt x="56565" y="35053"/>
                    </a:cubicBezTo>
                    <a:cubicBezTo>
                      <a:pt x="40837" y="45870"/>
                      <a:pt x="26820" y="56134"/>
                      <a:pt x="16666" y="63419"/>
                    </a:cubicBezTo>
                    <a:cubicBezTo>
                      <a:pt x="11975" y="66730"/>
                      <a:pt x="7947" y="69600"/>
                      <a:pt x="4525" y="71973"/>
                    </a:cubicBezTo>
                    <a:cubicBezTo>
                      <a:pt x="3311" y="72800"/>
                      <a:pt x="2208" y="73573"/>
                      <a:pt x="1214" y="74235"/>
                    </a:cubicBezTo>
                    <a:cubicBezTo>
                      <a:pt x="442" y="74732"/>
                      <a:pt x="55" y="75008"/>
                      <a:pt x="0" y="74953"/>
                    </a:cubicBezTo>
                    <a:cubicBezTo>
                      <a:pt x="0" y="74897"/>
                      <a:pt x="331" y="74621"/>
                      <a:pt x="1049" y="74014"/>
                    </a:cubicBezTo>
                    <a:cubicBezTo>
                      <a:pt x="2042" y="73242"/>
                      <a:pt x="3090" y="72469"/>
                      <a:pt x="4249" y="71586"/>
                    </a:cubicBezTo>
                    <a:cubicBezTo>
                      <a:pt x="7561" y="69103"/>
                      <a:pt x="11534" y="66123"/>
                      <a:pt x="16170" y="62701"/>
                    </a:cubicBezTo>
                    <a:cubicBezTo>
                      <a:pt x="26268" y="55251"/>
                      <a:pt x="40120" y="44876"/>
                      <a:pt x="55903" y="34060"/>
                    </a:cubicBezTo>
                    <a:cubicBezTo>
                      <a:pt x="71686" y="23189"/>
                      <a:pt x="86476" y="14138"/>
                      <a:pt x="97623" y="8399"/>
                    </a:cubicBezTo>
                    <a:cubicBezTo>
                      <a:pt x="103142" y="5474"/>
                      <a:pt x="107777" y="3322"/>
                      <a:pt x="111034" y="1942"/>
                    </a:cubicBezTo>
                    <a:cubicBezTo>
                      <a:pt x="112413" y="1390"/>
                      <a:pt x="113627" y="893"/>
                      <a:pt x="114786" y="397"/>
                    </a:cubicBezTo>
                    <a:cubicBezTo>
                      <a:pt x="115559" y="121"/>
                      <a:pt x="116000" y="-45"/>
                      <a:pt x="116055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9" name="Freeform: Shape 818">
                <a:extLst>
                  <a:ext uri="{FF2B5EF4-FFF2-40B4-BE49-F238E27FC236}">
                    <a16:creationId xmlns:a16="http://schemas.microsoft.com/office/drawing/2014/main" id="{A891D56F-D35B-4F60-8D74-24BBA49BD76B}"/>
                  </a:ext>
                </a:extLst>
              </p:cNvPr>
              <p:cNvSpPr/>
              <p:nvPr/>
            </p:nvSpPr>
            <p:spPr>
              <a:xfrm>
                <a:off x="7787060" y="-1896626"/>
                <a:ext cx="102369" cy="44894"/>
              </a:xfrm>
              <a:custGeom>
                <a:avLst/>
                <a:gdLst>
                  <a:gd name="connsiteX0" fmla="*/ 102369 w 102369"/>
                  <a:gd name="connsiteY0" fmla="*/ 44888 h 44894"/>
                  <a:gd name="connsiteX1" fmla="*/ 101431 w 102369"/>
                  <a:gd name="connsiteY1" fmla="*/ 44170 h 44894"/>
                  <a:gd name="connsiteX2" fmla="*/ 98948 w 102369"/>
                  <a:gd name="connsiteY2" fmla="*/ 42018 h 44894"/>
                  <a:gd name="connsiteX3" fmla="*/ 89290 w 102369"/>
                  <a:gd name="connsiteY3" fmla="*/ 34789 h 44894"/>
                  <a:gd name="connsiteX4" fmla="*/ 53806 w 102369"/>
                  <a:gd name="connsiteY4" fmla="*/ 16853 h 44894"/>
                  <a:gd name="connsiteX5" fmla="*/ 16004 w 102369"/>
                  <a:gd name="connsiteY5" fmla="*/ 4271 h 44894"/>
                  <a:gd name="connsiteX6" fmla="*/ 4304 w 102369"/>
                  <a:gd name="connsiteY6" fmla="*/ 1236 h 44894"/>
                  <a:gd name="connsiteX7" fmla="*/ 1104 w 102369"/>
                  <a:gd name="connsiteY7" fmla="*/ 408 h 44894"/>
                  <a:gd name="connsiteX8" fmla="*/ 0 w 102369"/>
                  <a:gd name="connsiteY8" fmla="*/ 22 h 44894"/>
                  <a:gd name="connsiteX9" fmla="*/ 1159 w 102369"/>
                  <a:gd name="connsiteY9" fmla="*/ 132 h 44894"/>
                  <a:gd name="connsiteX10" fmla="*/ 4415 w 102369"/>
                  <a:gd name="connsiteY10" fmla="*/ 739 h 44894"/>
                  <a:gd name="connsiteX11" fmla="*/ 16225 w 102369"/>
                  <a:gd name="connsiteY11" fmla="*/ 3443 h 44894"/>
                  <a:gd name="connsiteX12" fmla="*/ 54247 w 102369"/>
                  <a:gd name="connsiteY12" fmla="*/ 15750 h 44894"/>
                  <a:gd name="connsiteX13" fmla="*/ 89732 w 102369"/>
                  <a:gd name="connsiteY13" fmla="*/ 34071 h 44894"/>
                  <a:gd name="connsiteX14" fmla="*/ 102369 w 102369"/>
                  <a:gd name="connsiteY14" fmla="*/ 44888 h 4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369" h="44894">
                    <a:moveTo>
                      <a:pt x="102369" y="44888"/>
                    </a:moveTo>
                    <a:cubicBezTo>
                      <a:pt x="102314" y="44943"/>
                      <a:pt x="102038" y="44667"/>
                      <a:pt x="101431" y="44170"/>
                    </a:cubicBezTo>
                    <a:cubicBezTo>
                      <a:pt x="100658" y="43508"/>
                      <a:pt x="99831" y="42790"/>
                      <a:pt x="98948" y="42018"/>
                    </a:cubicBezTo>
                    <a:cubicBezTo>
                      <a:pt x="96796" y="40197"/>
                      <a:pt x="93540" y="37603"/>
                      <a:pt x="89290" y="34789"/>
                    </a:cubicBezTo>
                    <a:cubicBezTo>
                      <a:pt x="80847" y="29049"/>
                      <a:pt x="68265" y="22593"/>
                      <a:pt x="53806" y="16853"/>
                    </a:cubicBezTo>
                    <a:cubicBezTo>
                      <a:pt x="39347" y="11059"/>
                      <a:pt x="25827" y="6975"/>
                      <a:pt x="16004" y="4271"/>
                    </a:cubicBezTo>
                    <a:cubicBezTo>
                      <a:pt x="11092" y="2891"/>
                      <a:pt x="7064" y="1898"/>
                      <a:pt x="4304" y="1236"/>
                    </a:cubicBezTo>
                    <a:cubicBezTo>
                      <a:pt x="3201" y="960"/>
                      <a:pt x="2152" y="684"/>
                      <a:pt x="1104" y="408"/>
                    </a:cubicBezTo>
                    <a:cubicBezTo>
                      <a:pt x="386" y="187"/>
                      <a:pt x="0" y="77"/>
                      <a:pt x="0" y="22"/>
                    </a:cubicBezTo>
                    <a:cubicBezTo>
                      <a:pt x="0" y="-34"/>
                      <a:pt x="386" y="22"/>
                      <a:pt x="1159" y="132"/>
                    </a:cubicBezTo>
                    <a:cubicBezTo>
                      <a:pt x="2207" y="298"/>
                      <a:pt x="3256" y="518"/>
                      <a:pt x="4415" y="739"/>
                    </a:cubicBezTo>
                    <a:cubicBezTo>
                      <a:pt x="7229" y="1291"/>
                      <a:pt x="11258" y="2174"/>
                      <a:pt x="16225" y="3443"/>
                    </a:cubicBezTo>
                    <a:cubicBezTo>
                      <a:pt x="26158" y="5927"/>
                      <a:pt x="39734" y="9955"/>
                      <a:pt x="54247" y="15750"/>
                    </a:cubicBezTo>
                    <a:cubicBezTo>
                      <a:pt x="68761" y="21544"/>
                      <a:pt x="81399" y="28166"/>
                      <a:pt x="89732" y="34071"/>
                    </a:cubicBezTo>
                    <a:cubicBezTo>
                      <a:pt x="98175" y="39976"/>
                      <a:pt x="102369" y="44888"/>
                      <a:pt x="102369" y="448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0" name="Freeform: Shape 819">
                <a:extLst>
                  <a:ext uri="{FF2B5EF4-FFF2-40B4-BE49-F238E27FC236}">
                    <a16:creationId xmlns:a16="http://schemas.microsoft.com/office/drawing/2014/main" id="{05C16A72-6D15-4749-B743-69DAB706C7F4}"/>
                  </a:ext>
                </a:extLst>
              </p:cNvPr>
              <p:cNvSpPr/>
              <p:nvPr/>
            </p:nvSpPr>
            <p:spPr>
              <a:xfrm>
                <a:off x="7607438" y="-1477639"/>
                <a:ext cx="20359" cy="47140"/>
              </a:xfrm>
              <a:custGeom>
                <a:avLst/>
                <a:gdLst>
                  <a:gd name="connsiteX0" fmla="*/ 20357 w 20359"/>
                  <a:gd name="connsiteY0" fmla="*/ 47132 h 47140"/>
                  <a:gd name="connsiteX1" fmla="*/ 18205 w 20359"/>
                  <a:gd name="connsiteY1" fmla="*/ 46415 h 47140"/>
                  <a:gd name="connsiteX2" fmla="*/ 12741 w 20359"/>
                  <a:gd name="connsiteY2" fmla="*/ 43490 h 47140"/>
                  <a:gd name="connsiteX3" fmla="*/ 766 w 20359"/>
                  <a:gd name="connsiteY3" fmla="*/ 27210 h 47140"/>
                  <a:gd name="connsiteX4" fmla="*/ 2918 w 20359"/>
                  <a:gd name="connsiteY4" fmla="*/ 7012 h 47140"/>
                  <a:gd name="connsiteX5" fmla="*/ 6119 w 20359"/>
                  <a:gd name="connsiteY5" fmla="*/ 1659 h 47140"/>
                  <a:gd name="connsiteX6" fmla="*/ 7664 w 20359"/>
                  <a:gd name="connsiteY6" fmla="*/ 4 h 47140"/>
                  <a:gd name="connsiteX7" fmla="*/ 3691 w 20359"/>
                  <a:gd name="connsiteY7" fmla="*/ 7343 h 47140"/>
                  <a:gd name="connsiteX8" fmla="*/ 1925 w 20359"/>
                  <a:gd name="connsiteY8" fmla="*/ 26934 h 47140"/>
                  <a:gd name="connsiteX9" fmla="*/ 13238 w 20359"/>
                  <a:gd name="connsiteY9" fmla="*/ 42773 h 47140"/>
                  <a:gd name="connsiteX10" fmla="*/ 20357 w 20359"/>
                  <a:gd name="connsiteY10" fmla="*/ 47132 h 47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359" h="47140">
                    <a:moveTo>
                      <a:pt x="20357" y="47132"/>
                    </a:moveTo>
                    <a:cubicBezTo>
                      <a:pt x="20302" y="47187"/>
                      <a:pt x="19529" y="46967"/>
                      <a:pt x="18205" y="46415"/>
                    </a:cubicBezTo>
                    <a:cubicBezTo>
                      <a:pt x="16880" y="45863"/>
                      <a:pt x="14949" y="44925"/>
                      <a:pt x="12741" y="43490"/>
                    </a:cubicBezTo>
                    <a:cubicBezTo>
                      <a:pt x="8382" y="40731"/>
                      <a:pt x="2532" y="35378"/>
                      <a:pt x="766" y="27210"/>
                    </a:cubicBezTo>
                    <a:cubicBezTo>
                      <a:pt x="-1055" y="19264"/>
                      <a:pt x="656" y="11703"/>
                      <a:pt x="2918" y="7012"/>
                    </a:cubicBezTo>
                    <a:cubicBezTo>
                      <a:pt x="4022" y="4639"/>
                      <a:pt x="5181" y="2818"/>
                      <a:pt x="6119" y="1659"/>
                    </a:cubicBezTo>
                    <a:cubicBezTo>
                      <a:pt x="7002" y="500"/>
                      <a:pt x="7609" y="-51"/>
                      <a:pt x="7664" y="4"/>
                    </a:cubicBezTo>
                    <a:cubicBezTo>
                      <a:pt x="7830" y="114"/>
                      <a:pt x="5678" y="2597"/>
                      <a:pt x="3691" y="7343"/>
                    </a:cubicBezTo>
                    <a:cubicBezTo>
                      <a:pt x="1704" y="12034"/>
                      <a:pt x="159" y="19319"/>
                      <a:pt x="1925" y="26934"/>
                    </a:cubicBezTo>
                    <a:cubicBezTo>
                      <a:pt x="3581" y="34660"/>
                      <a:pt x="9099" y="39903"/>
                      <a:pt x="13238" y="42773"/>
                    </a:cubicBezTo>
                    <a:cubicBezTo>
                      <a:pt x="17432" y="45753"/>
                      <a:pt x="20467" y="46912"/>
                      <a:pt x="20357" y="471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1" name="Freeform: Shape 820">
                <a:extLst>
                  <a:ext uri="{FF2B5EF4-FFF2-40B4-BE49-F238E27FC236}">
                    <a16:creationId xmlns:a16="http://schemas.microsoft.com/office/drawing/2014/main" id="{D4410E6F-837D-4347-8BE3-2B53854C4A99}"/>
                  </a:ext>
                </a:extLst>
              </p:cNvPr>
              <p:cNvSpPr/>
              <p:nvPr/>
            </p:nvSpPr>
            <p:spPr>
              <a:xfrm>
                <a:off x="7610161" y="-1490276"/>
                <a:ext cx="4341" cy="14188"/>
              </a:xfrm>
              <a:custGeom>
                <a:avLst/>
                <a:gdLst>
                  <a:gd name="connsiteX0" fmla="*/ 85 w 4341"/>
                  <a:gd name="connsiteY0" fmla="*/ 3 h 14188"/>
                  <a:gd name="connsiteX1" fmla="*/ 2734 w 4341"/>
                  <a:gd name="connsiteY1" fmla="*/ 6956 h 14188"/>
                  <a:gd name="connsiteX2" fmla="*/ 4279 w 4341"/>
                  <a:gd name="connsiteY2" fmla="*/ 14186 h 14188"/>
                  <a:gd name="connsiteX3" fmla="*/ 1630 w 4341"/>
                  <a:gd name="connsiteY3" fmla="*/ 7232 h 14188"/>
                  <a:gd name="connsiteX4" fmla="*/ 85 w 4341"/>
                  <a:gd name="connsiteY4" fmla="*/ 3 h 14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41" h="14188">
                    <a:moveTo>
                      <a:pt x="85" y="3"/>
                    </a:moveTo>
                    <a:cubicBezTo>
                      <a:pt x="416" y="-108"/>
                      <a:pt x="1575" y="3038"/>
                      <a:pt x="2734" y="6956"/>
                    </a:cubicBezTo>
                    <a:cubicBezTo>
                      <a:pt x="3893" y="10874"/>
                      <a:pt x="4555" y="14130"/>
                      <a:pt x="4279" y="14186"/>
                    </a:cubicBezTo>
                    <a:cubicBezTo>
                      <a:pt x="3948" y="14296"/>
                      <a:pt x="2789" y="11150"/>
                      <a:pt x="1630" y="7232"/>
                    </a:cubicBezTo>
                    <a:cubicBezTo>
                      <a:pt x="416" y="3369"/>
                      <a:pt x="-246" y="113"/>
                      <a:pt x="85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 w="5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822" name="Graphic 179">
                <a:extLst>
                  <a:ext uri="{FF2B5EF4-FFF2-40B4-BE49-F238E27FC236}">
                    <a16:creationId xmlns:a16="http://schemas.microsoft.com/office/drawing/2014/main" id="{0A5EC1AB-FFE4-4BF7-8759-D51E0BB5F989}"/>
                  </a:ext>
                </a:extLst>
              </p:cNvPr>
              <p:cNvGrpSpPr/>
              <p:nvPr/>
            </p:nvGrpSpPr>
            <p:grpSpPr>
              <a:xfrm>
                <a:off x="7547828" y="-1430562"/>
                <a:ext cx="547248" cy="1177605"/>
                <a:chOff x="7547828" y="-1430562"/>
                <a:chExt cx="547248" cy="1177605"/>
              </a:xfrm>
            </p:grpSpPr>
            <p:grpSp>
              <p:nvGrpSpPr>
                <p:cNvPr id="823" name="Graphic 179">
                  <a:extLst>
                    <a:ext uri="{FF2B5EF4-FFF2-40B4-BE49-F238E27FC236}">
                      <a16:creationId xmlns:a16="http://schemas.microsoft.com/office/drawing/2014/main" id="{ED03A035-C5C8-46B7-9FDD-ADA15960CE2E}"/>
                    </a:ext>
                  </a:extLst>
                </p:cNvPr>
                <p:cNvGrpSpPr/>
                <p:nvPr/>
              </p:nvGrpSpPr>
              <p:grpSpPr>
                <a:xfrm>
                  <a:off x="7547828" y="-1430562"/>
                  <a:ext cx="547248" cy="1177605"/>
                  <a:chOff x="7547828" y="-1430562"/>
                  <a:chExt cx="547248" cy="1177605"/>
                </a:xfrm>
                <a:solidFill>
                  <a:srgbClr val="263238"/>
                </a:solidFill>
              </p:grpSpPr>
              <p:sp>
                <p:nvSpPr>
                  <p:cNvPr id="876" name="Freeform: Shape 875">
                    <a:extLst>
                      <a:ext uri="{FF2B5EF4-FFF2-40B4-BE49-F238E27FC236}">
                        <a16:creationId xmlns:a16="http://schemas.microsoft.com/office/drawing/2014/main" id="{B26E0A14-B05C-4277-B90C-4C4BE6BA6776}"/>
                      </a:ext>
                    </a:extLst>
                  </p:cNvPr>
                  <p:cNvSpPr/>
                  <p:nvPr/>
                </p:nvSpPr>
                <p:spPr>
                  <a:xfrm>
                    <a:off x="7547828" y="-1430562"/>
                    <a:ext cx="305345" cy="1177605"/>
                  </a:xfrm>
                  <a:custGeom>
                    <a:avLst/>
                    <a:gdLst>
                      <a:gd name="connsiteX0" fmla="*/ 137029 w 305345"/>
                      <a:gd name="connsiteY0" fmla="*/ 1177605 h 1177605"/>
                      <a:gd name="connsiteX1" fmla="*/ 305345 w 305345"/>
                      <a:gd name="connsiteY1" fmla="*/ 1176777 h 1177605"/>
                      <a:gd name="connsiteX2" fmla="*/ 302310 w 305345"/>
                      <a:gd name="connsiteY2" fmla="*/ 594790 h 1177605"/>
                      <a:gd name="connsiteX3" fmla="*/ 300765 w 305345"/>
                      <a:gd name="connsiteY3" fmla="*/ 2814 h 1177605"/>
                      <a:gd name="connsiteX4" fmla="*/ 72793 w 305345"/>
                      <a:gd name="connsiteY4" fmla="*/ 0 h 1177605"/>
                      <a:gd name="connsiteX5" fmla="*/ 31790 w 305345"/>
                      <a:gd name="connsiteY5" fmla="*/ 77260 h 1177605"/>
                      <a:gd name="connsiteX6" fmla="*/ 279 w 305345"/>
                      <a:gd name="connsiteY6" fmla="*/ 177422 h 1177605"/>
                      <a:gd name="connsiteX7" fmla="*/ 24450 w 305345"/>
                      <a:gd name="connsiteY7" fmla="*/ 313564 h 1177605"/>
                      <a:gd name="connsiteX8" fmla="*/ 87197 w 305345"/>
                      <a:gd name="connsiteY8" fmla="*/ 512564 h 1177605"/>
                      <a:gd name="connsiteX9" fmla="*/ 137029 w 305345"/>
                      <a:gd name="connsiteY9" fmla="*/ 1177605 h 1177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05345" h="1177605">
                        <a:moveTo>
                          <a:pt x="137029" y="1177605"/>
                        </a:moveTo>
                        <a:lnTo>
                          <a:pt x="305345" y="1176777"/>
                        </a:lnTo>
                        <a:lnTo>
                          <a:pt x="302310" y="594790"/>
                        </a:lnTo>
                        <a:lnTo>
                          <a:pt x="300765" y="2814"/>
                        </a:lnTo>
                        <a:lnTo>
                          <a:pt x="72793" y="0"/>
                        </a:lnTo>
                        <a:lnTo>
                          <a:pt x="31790" y="77260"/>
                        </a:lnTo>
                        <a:cubicBezTo>
                          <a:pt x="15235" y="108440"/>
                          <a:pt x="4032" y="142324"/>
                          <a:pt x="279" y="177422"/>
                        </a:cubicBezTo>
                        <a:cubicBezTo>
                          <a:pt x="-2591" y="204187"/>
                          <a:pt x="17442" y="291380"/>
                          <a:pt x="24450" y="313564"/>
                        </a:cubicBezTo>
                        <a:lnTo>
                          <a:pt x="87197" y="512564"/>
                        </a:lnTo>
                        <a:lnTo>
                          <a:pt x="137029" y="1177605"/>
                        </a:ln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77" name="Freeform: Shape 876">
                    <a:extLst>
                      <a:ext uri="{FF2B5EF4-FFF2-40B4-BE49-F238E27FC236}">
                        <a16:creationId xmlns:a16="http://schemas.microsoft.com/office/drawing/2014/main" id="{81A58778-6392-43BC-BF70-AFE1AC33BA24}"/>
                      </a:ext>
                    </a:extLst>
                  </p:cNvPr>
                  <p:cNvSpPr/>
                  <p:nvPr/>
                </p:nvSpPr>
                <p:spPr>
                  <a:xfrm>
                    <a:off x="7724645" y="-1427637"/>
                    <a:ext cx="370430" cy="1121039"/>
                  </a:xfrm>
                  <a:custGeom>
                    <a:avLst/>
                    <a:gdLst>
                      <a:gd name="connsiteX0" fmla="*/ 173283 w 370430"/>
                      <a:gd name="connsiteY0" fmla="*/ 662 h 1121039"/>
                      <a:gd name="connsiteX1" fmla="*/ 358265 w 370430"/>
                      <a:gd name="connsiteY1" fmla="*/ 504893 h 1121039"/>
                      <a:gd name="connsiteX2" fmla="*/ 335473 w 370430"/>
                      <a:gd name="connsiteY2" fmla="*/ 701905 h 1121039"/>
                      <a:gd name="connsiteX3" fmla="*/ 120746 w 370430"/>
                      <a:gd name="connsiteY3" fmla="*/ 1121040 h 1121039"/>
                      <a:gd name="connsiteX4" fmla="*/ 0 w 370430"/>
                      <a:gd name="connsiteY4" fmla="*/ 969997 h 1121039"/>
                      <a:gd name="connsiteX5" fmla="*/ 179684 w 370430"/>
                      <a:gd name="connsiteY5" fmla="*/ 594514 h 1121039"/>
                      <a:gd name="connsiteX6" fmla="*/ 21302 w 370430"/>
                      <a:gd name="connsiteY6" fmla="*/ 337901 h 1121039"/>
                      <a:gd name="connsiteX7" fmla="*/ 47956 w 370430"/>
                      <a:gd name="connsiteY7" fmla="*/ 1214 h 1121039"/>
                      <a:gd name="connsiteX8" fmla="*/ 122567 w 370430"/>
                      <a:gd name="connsiteY8" fmla="*/ 0 h 1121039"/>
                      <a:gd name="connsiteX9" fmla="*/ 173283 w 370430"/>
                      <a:gd name="connsiteY9" fmla="*/ 662 h 11210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70430" h="1121039">
                        <a:moveTo>
                          <a:pt x="173283" y="662"/>
                        </a:moveTo>
                        <a:lnTo>
                          <a:pt x="358265" y="504893"/>
                        </a:lnTo>
                        <a:cubicBezTo>
                          <a:pt x="380008" y="572495"/>
                          <a:pt x="372723" y="639490"/>
                          <a:pt x="335473" y="701905"/>
                        </a:cubicBezTo>
                        <a:lnTo>
                          <a:pt x="120746" y="1121040"/>
                        </a:lnTo>
                        <a:lnTo>
                          <a:pt x="0" y="969997"/>
                        </a:lnTo>
                        <a:lnTo>
                          <a:pt x="179684" y="594514"/>
                        </a:lnTo>
                        <a:lnTo>
                          <a:pt x="21302" y="337901"/>
                        </a:lnTo>
                        <a:lnTo>
                          <a:pt x="47956" y="1214"/>
                        </a:lnTo>
                        <a:lnTo>
                          <a:pt x="122567" y="0"/>
                        </a:lnTo>
                        <a:lnTo>
                          <a:pt x="173283" y="662"/>
                        </a:lnTo>
                        <a:close/>
                      </a:path>
                    </a:pathLst>
                  </a:custGeom>
                  <a:solidFill>
                    <a:srgbClr val="263238"/>
                  </a:solidFill>
                  <a:ln w="550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824" name="Freeform: Shape 823">
                  <a:extLst>
                    <a:ext uri="{FF2B5EF4-FFF2-40B4-BE49-F238E27FC236}">
                      <a16:creationId xmlns:a16="http://schemas.microsoft.com/office/drawing/2014/main" id="{BE5B7C61-A5E2-4444-8D26-21939F15BF9E}"/>
                    </a:ext>
                  </a:extLst>
                </p:cNvPr>
                <p:cNvSpPr/>
                <p:nvPr/>
              </p:nvSpPr>
              <p:spPr>
                <a:xfrm>
                  <a:off x="7833140" y="-1258052"/>
                  <a:ext cx="20694" cy="1004267"/>
                </a:xfrm>
                <a:custGeom>
                  <a:avLst/>
                  <a:gdLst>
                    <a:gd name="connsiteX0" fmla="*/ 55 w 20694"/>
                    <a:gd name="connsiteY0" fmla="*/ 0 h 1004267"/>
                    <a:gd name="connsiteX1" fmla="*/ 331 w 20694"/>
                    <a:gd name="connsiteY1" fmla="*/ 2594 h 1004267"/>
                    <a:gd name="connsiteX2" fmla="*/ 828 w 20694"/>
                    <a:gd name="connsiteY2" fmla="*/ 10209 h 1004267"/>
                    <a:gd name="connsiteX3" fmla="*/ 2373 w 20694"/>
                    <a:gd name="connsiteY3" fmla="*/ 39458 h 1004267"/>
                    <a:gd name="connsiteX4" fmla="*/ 7560 w 20694"/>
                    <a:gd name="connsiteY4" fmla="*/ 147014 h 1004267"/>
                    <a:gd name="connsiteX5" fmla="*/ 14900 w 20694"/>
                    <a:gd name="connsiteY5" fmla="*/ 306501 h 1004267"/>
                    <a:gd name="connsiteX6" fmla="*/ 19149 w 20694"/>
                    <a:gd name="connsiteY6" fmla="*/ 400702 h 1004267"/>
                    <a:gd name="connsiteX7" fmla="*/ 19922 w 20694"/>
                    <a:gd name="connsiteY7" fmla="*/ 450535 h 1004267"/>
                    <a:gd name="connsiteX8" fmla="*/ 20087 w 20694"/>
                    <a:gd name="connsiteY8" fmla="*/ 501913 h 1004267"/>
                    <a:gd name="connsiteX9" fmla="*/ 20695 w 20694"/>
                    <a:gd name="connsiteY9" fmla="*/ 857143 h 1004267"/>
                    <a:gd name="connsiteX10" fmla="*/ 20529 w 20694"/>
                    <a:gd name="connsiteY10" fmla="*/ 964809 h 1004267"/>
                    <a:gd name="connsiteX11" fmla="*/ 20363 w 20694"/>
                    <a:gd name="connsiteY11" fmla="*/ 994058 h 1004267"/>
                    <a:gd name="connsiteX12" fmla="*/ 20253 w 20694"/>
                    <a:gd name="connsiteY12" fmla="*/ 1001674 h 1004267"/>
                    <a:gd name="connsiteX13" fmla="*/ 20087 w 20694"/>
                    <a:gd name="connsiteY13" fmla="*/ 1004267 h 1004267"/>
                    <a:gd name="connsiteX14" fmla="*/ 19922 w 20694"/>
                    <a:gd name="connsiteY14" fmla="*/ 1001674 h 1004267"/>
                    <a:gd name="connsiteX15" fmla="*/ 19756 w 20694"/>
                    <a:gd name="connsiteY15" fmla="*/ 994058 h 1004267"/>
                    <a:gd name="connsiteX16" fmla="*/ 19425 w 20694"/>
                    <a:gd name="connsiteY16" fmla="*/ 964809 h 1004267"/>
                    <a:gd name="connsiteX17" fmla="*/ 18653 w 20694"/>
                    <a:gd name="connsiteY17" fmla="*/ 857143 h 1004267"/>
                    <a:gd name="connsiteX18" fmla="*/ 17218 w 20694"/>
                    <a:gd name="connsiteY18" fmla="*/ 501913 h 1004267"/>
                    <a:gd name="connsiteX19" fmla="*/ 17052 w 20694"/>
                    <a:gd name="connsiteY19" fmla="*/ 450590 h 1004267"/>
                    <a:gd name="connsiteX20" fmla="*/ 16335 w 20694"/>
                    <a:gd name="connsiteY20" fmla="*/ 400758 h 1004267"/>
                    <a:gd name="connsiteX21" fmla="*/ 12251 w 20694"/>
                    <a:gd name="connsiteY21" fmla="*/ 306556 h 1004267"/>
                    <a:gd name="connsiteX22" fmla="*/ 5519 w 20694"/>
                    <a:gd name="connsiteY22" fmla="*/ 147070 h 1004267"/>
                    <a:gd name="connsiteX23" fmla="*/ 1214 w 20694"/>
                    <a:gd name="connsiteY23" fmla="*/ 39513 h 1004267"/>
                    <a:gd name="connsiteX24" fmla="*/ 221 w 20694"/>
                    <a:gd name="connsiteY24" fmla="*/ 10264 h 1004267"/>
                    <a:gd name="connsiteX25" fmla="*/ 0 w 20694"/>
                    <a:gd name="connsiteY25" fmla="*/ 2649 h 1004267"/>
                    <a:gd name="connsiteX26" fmla="*/ 55 w 20694"/>
                    <a:gd name="connsiteY26" fmla="*/ 0 h 1004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20694" h="1004267">
                      <a:moveTo>
                        <a:pt x="55" y="0"/>
                      </a:moveTo>
                      <a:cubicBezTo>
                        <a:pt x="55" y="0"/>
                        <a:pt x="166" y="883"/>
                        <a:pt x="331" y="2594"/>
                      </a:cubicBezTo>
                      <a:cubicBezTo>
                        <a:pt x="441" y="4415"/>
                        <a:pt x="607" y="6953"/>
                        <a:pt x="828" y="10209"/>
                      </a:cubicBezTo>
                      <a:cubicBezTo>
                        <a:pt x="1214" y="17052"/>
                        <a:pt x="1711" y="26875"/>
                        <a:pt x="2373" y="39458"/>
                      </a:cubicBezTo>
                      <a:cubicBezTo>
                        <a:pt x="3587" y="65009"/>
                        <a:pt x="5408" y="101707"/>
                        <a:pt x="7560" y="147014"/>
                      </a:cubicBezTo>
                      <a:cubicBezTo>
                        <a:pt x="9657" y="192487"/>
                        <a:pt x="12141" y="246514"/>
                        <a:pt x="14900" y="306501"/>
                      </a:cubicBezTo>
                      <a:cubicBezTo>
                        <a:pt x="16225" y="336522"/>
                        <a:pt x="17659" y="368033"/>
                        <a:pt x="19149" y="400702"/>
                      </a:cubicBezTo>
                      <a:cubicBezTo>
                        <a:pt x="20198" y="417037"/>
                        <a:pt x="19701" y="433703"/>
                        <a:pt x="19922" y="450535"/>
                      </a:cubicBezTo>
                      <a:cubicBezTo>
                        <a:pt x="19977" y="467422"/>
                        <a:pt x="20032" y="484529"/>
                        <a:pt x="20087" y="501913"/>
                      </a:cubicBezTo>
                      <a:cubicBezTo>
                        <a:pt x="20308" y="640594"/>
                        <a:pt x="20529" y="766141"/>
                        <a:pt x="20695" y="857143"/>
                      </a:cubicBezTo>
                      <a:cubicBezTo>
                        <a:pt x="20639" y="902505"/>
                        <a:pt x="20584" y="939259"/>
                        <a:pt x="20529" y="964809"/>
                      </a:cubicBezTo>
                      <a:cubicBezTo>
                        <a:pt x="20474" y="977392"/>
                        <a:pt x="20363" y="987270"/>
                        <a:pt x="20363" y="994058"/>
                      </a:cubicBezTo>
                      <a:cubicBezTo>
                        <a:pt x="20308" y="997314"/>
                        <a:pt x="20253" y="999852"/>
                        <a:pt x="20253" y="1001674"/>
                      </a:cubicBezTo>
                      <a:cubicBezTo>
                        <a:pt x="20198" y="1003384"/>
                        <a:pt x="20087" y="1004267"/>
                        <a:pt x="20087" y="1004267"/>
                      </a:cubicBezTo>
                      <a:cubicBezTo>
                        <a:pt x="20087" y="1004267"/>
                        <a:pt x="19977" y="1003384"/>
                        <a:pt x="19922" y="1001674"/>
                      </a:cubicBezTo>
                      <a:cubicBezTo>
                        <a:pt x="19867" y="999852"/>
                        <a:pt x="19812" y="997314"/>
                        <a:pt x="19756" y="994058"/>
                      </a:cubicBezTo>
                      <a:cubicBezTo>
                        <a:pt x="19701" y="987215"/>
                        <a:pt x="19536" y="977392"/>
                        <a:pt x="19425" y="964809"/>
                      </a:cubicBezTo>
                      <a:cubicBezTo>
                        <a:pt x="19260" y="939259"/>
                        <a:pt x="18984" y="902505"/>
                        <a:pt x="18653" y="857143"/>
                      </a:cubicBezTo>
                      <a:cubicBezTo>
                        <a:pt x="18266" y="766141"/>
                        <a:pt x="17770" y="640594"/>
                        <a:pt x="17218" y="501913"/>
                      </a:cubicBezTo>
                      <a:cubicBezTo>
                        <a:pt x="17163" y="484585"/>
                        <a:pt x="17108" y="467422"/>
                        <a:pt x="17052" y="450590"/>
                      </a:cubicBezTo>
                      <a:cubicBezTo>
                        <a:pt x="16887" y="433703"/>
                        <a:pt x="17383" y="417037"/>
                        <a:pt x="16335" y="400758"/>
                      </a:cubicBezTo>
                      <a:cubicBezTo>
                        <a:pt x="14900" y="368088"/>
                        <a:pt x="13576" y="336577"/>
                        <a:pt x="12251" y="306556"/>
                      </a:cubicBezTo>
                      <a:cubicBezTo>
                        <a:pt x="9713" y="246569"/>
                        <a:pt x="7450" y="192487"/>
                        <a:pt x="5519" y="147070"/>
                      </a:cubicBezTo>
                      <a:cubicBezTo>
                        <a:pt x="3697" y="101762"/>
                        <a:pt x="2263" y="65064"/>
                        <a:pt x="1214" y="39513"/>
                      </a:cubicBezTo>
                      <a:cubicBezTo>
                        <a:pt x="773" y="26931"/>
                        <a:pt x="441" y="17108"/>
                        <a:pt x="221" y="10264"/>
                      </a:cubicBezTo>
                      <a:cubicBezTo>
                        <a:pt x="166" y="7009"/>
                        <a:pt x="55" y="4470"/>
                        <a:pt x="0" y="2649"/>
                      </a:cubicBezTo>
                      <a:cubicBezTo>
                        <a:pt x="0" y="883"/>
                        <a:pt x="55" y="0"/>
                        <a:pt x="55" y="0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5" name="Freeform: Shape 824">
                  <a:extLst>
                    <a:ext uri="{FF2B5EF4-FFF2-40B4-BE49-F238E27FC236}">
                      <a16:creationId xmlns:a16="http://schemas.microsoft.com/office/drawing/2014/main" id="{0386D78B-9C11-4DEC-8109-C5C27479D0F5}"/>
                    </a:ext>
                  </a:extLst>
                </p:cNvPr>
                <p:cNvSpPr/>
                <p:nvPr/>
              </p:nvSpPr>
              <p:spPr>
                <a:xfrm>
                  <a:off x="7828828" y="-1417042"/>
                  <a:ext cx="7975" cy="141606"/>
                </a:xfrm>
                <a:custGeom>
                  <a:avLst/>
                  <a:gdLst>
                    <a:gd name="connsiteX0" fmla="*/ 118 w 7975"/>
                    <a:gd name="connsiteY0" fmla="*/ 0 h 141606"/>
                    <a:gd name="connsiteX1" fmla="*/ 1277 w 7975"/>
                    <a:gd name="connsiteY1" fmla="*/ 5463 h 141606"/>
                    <a:gd name="connsiteX2" fmla="*/ 3264 w 7975"/>
                    <a:gd name="connsiteY2" fmla="*/ 20529 h 141606"/>
                    <a:gd name="connsiteX3" fmla="*/ 7182 w 7975"/>
                    <a:gd name="connsiteY3" fmla="*/ 70582 h 141606"/>
                    <a:gd name="connsiteX4" fmla="*/ 7789 w 7975"/>
                    <a:gd name="connsiteY4" fmla="*/ 120801 h 141606"/>
                    <a:gd name="connsiteX5" fmla="*/ 7182 w 7975"/>
                    <a:gd name="connsiteY5" fmla="*/ 136032 h 141606"/>
                    <a:gd name="connsiteX6" fmla="*/ 6520 w 7975"/>
                    <a:gd name="connsiteY6" fmla="*/ 141606 h 141606"/>
                    <a:gd name="connsiteX7" fmla="*/ 5802 w 7975"/>
                    <a:gd name="connsiteY7" fmla="*/ 120856 h 141606"/>
                    <a:gd name="connsiteX8" fmla="*/ 4367 w 7975"/>
                    <a:gd name="connsiteY8" fmla="*/ 70803 h 141606"/>
                    <a:gd name="connsiteX9" fmla="*/ 1277 w 7975"/>
                    <a:gd name="connsiteY9" fmla="*/ 20805 h 141606"/>
                    <a:gd name="connsiteX10" fmla="*/ 118 w 7975"/>
                    <a:gd name="connsiteY10" fmla="*/ 0 h 141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975" h="141606">
                      <a:moveTo>
                        <a:pt x="118" y="0"/>
                      </a:moveTo>
                      <a:cubicBezTo>
                        <a:pt x="339" y="0"/>
                        <a:pt x="725" y="1931"/>
                        <a:pt x="1277" y="5463"/>
                      </a:cubicBezTo>
                      <a:cubicBezTo>
                        <a:pt x="1829" y="8995"/>
                        <a:pt x="2546" y="14183"/>
                        <a:pt x="3264" y="20529"/>
                      </a:cubicBezTo>
                      <a:cubicBezTo>
                        <a:pt x="4754" y="33277"/>
                        <a:pt x="6299" y="50991"/>
                        <a:pt x="7182" y="70582"/>
                      </a:cubicBezTo>
                      <a:cubicBezTo>
                        <a:pt x="8065" y="90173"/>
                        <a:pt x="8120" y="107943"/>
                        <a:pt x="7789" y="120801"/>
                      </a:cubicBezTo>
                      <a:cubicBezTo>
                        <a:pt x="7623" y="127203"/>
                        <a:pt x="7403" y="132445"/>
                        <a:pt x="7182" y="136032"/>
                      </a:cubicBezTo>
                      <a:cubicBezTo>
                        <a:pt x="6961" y="139620"/>
                        <a:pt x="6685" y="141606"/>
                        <a:pt x="6520" y="141606"/>
                      </a:cubicBezTo>
                      <a:cubicBezTo>
                        <a:pt x="6078" y="141606"/>
                        <a:pt x="5968" y="133659"/>
                        <a:pt x="5802" y="120856"/>
                      </a:cubicBezTo>
                      <a:cubicBezTo>
                        <a:pt x="5581" y="108053"/>
                        <a:pt x="5250" y="90339"/>
                        <a:pt x="4367" y="70803"/>
                      </a:cubicBezTo>
                      <a:cubicBezTo>
                        <a:pt x="3485" y="51267"/>
                        <a:pt x="2270" y="33608"/>
                        <a:pt x="1277" y="20805"/>
                      </a:cubicBezTo>
                      <a:cubicBezTo>
                        <a:pt x="339" y="8002"/>
                        <a:pt x="-268" y="55"/>
                        <a:pt x="118" y="0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6" name="Freeform: Shape 825">
                  <a:extLst>
                    <a:ext uri="{FF2B5EF4-FFF2-40B4-BE49-F238E27FC236}">
                      <a16:creationId xmlns:a16="http://schemas.microsoft.com/office/drawing/2014/main" id="{95C4D78E-FE1F-444B-BF2A-DCACB6A630F1}"/>
                    </a:ext>
                  </a:extLst>
                </p:cNvPr>
                <p:cNvSpPr/>
                <p:nvPr/>
              </p:nvSpPr>
              <p:spPr>
                <a:xfrm>
                  <a:off x="7785713" y="-1407104"/>
                  <a:ext cx="19750" cy="19355"/>
                </a:xfrm>
                <a:custGeom>
                  <a:avLst/>
                  <a:gdLst>
                    <a:gd name="connsiteX0" fmla="*/ 6148 w 19750"/>
                    <a:gd name="connsiteY0" fmla="*/ 1430 h 19355"/>
                    <a:gd name="connsiteX1" fmla="*/ 2396 w 19750"/>
                    <a:gd name="connsiteY1" fmla="*/ 7721 h 19355"/>
                    <a:gd name="connsiteX2" fmla="*/ 4548 w 19750"/>
                    <a:gd name="connsiteY2" fmla="*/ 14454 h 19355"/>
                    <a:gd name="connsiteX3" fmla="*/ 12826 w 19750"/>
                    <a:gd name="connsiteY3" fmla="*/ 15944 h 19355"/>
                    <a:gd name="connsiteX4" fmla="*/ 17075 w 19750"/>
                    <a:gd name="connsiteY4" fmla="*/ 8715 h 19355"/>
                    <a:gd name="connsiteX5" fmla="*/ 13378 w 19750"/>
                    <a:gd name="connsiteY5" fmla="*/ 2699 h 19355"/>
                    <a:gd name="connsiteX6" fmla="*/ 6203 w 19750"/>
                    <a:gd name="connsiteY6" fmla="*/ 1430 h 19355"/>
                    <a:gd name="connsiteX7" fmla="*/ 8135 w 19750"/>
                    <a:gd name="connsiteY7" fmla="*/ 271 h 19355"/>
                    <a:gd name="connsiteX8" fmla="*/ 14316 w 19750"/>
                    <a:gd name="connsiteY8" fmla="*/ 878 h 19355"/>
                    <a:gd name="connsiteX9" fmla="*/ 19724 w 19750"/>
                    <a:gd name="connsiteY9" fmla="*/ 8549 h 19355"/>
                    <a:gd name="connsiteX10" fmla="*/ 13985 w 19750"/>
                    <a:gd name="connsiteY10" fmla="*/ 18538 h 19355"/>
                    <a:gd name="connsiteX11" fmla="*/ 2671 w 19750"/>
                    <a:gd name="connsiteY11" fmla="*/ 16330 h 19355"/>
                    <a:gd name="connsiteX12" fmla="*/ 409 w 19750"/>
                    <a:gd name="connsiteY12" fmla="*/ 7225 h 19355"/>
                    <a:gd name="connsiteX13" fmla="*/ 3996 w 19750"/>
                    <a:gd name="connsiteY13" fmla="*/ 2148 h 19355"/>
                    <a:gd name="connsiteX14" fmla="*/ 6148 w 19750"/>
                    <a:gd name="connsiteY14" fmla="*/ 1430 h 1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9750" h="19355">
                      <a:moveTo>
                        <a:pt x="6148" y="1430"/>
                      </a:moveTo>
                      <a:cubicBezTo>
                        <a:pt x="6424" y="1817"/>
                        <a:pt x="3279" y="3251"/>
                        <a:pt x="2396" y="7721"/>
                      </a:cubicBezTo>
                      <a:cubicBezTo>
                        <a:pt x="2009" y="9874"/>
                        <a:pt x="2451" y="12633"/>
                        <a:pt x="4548" y="14454"/>
                      </a:cubicBezTo>
                      <a:cubicBezTo>
                        <a:pt x="6535" y="16330"/>
                        <a:pt x="10011" y="17213"/>
                        <a:pt x="12826" y="15944"/>
                      </a:cubicBezTo>
                      <a:cubicBezTo>
                        <a:pt x="15640" y="14675"/>
                        <a:pt x="17185" y="11419"/>
                        <a:pt x="17075" y="8715"/>
                      </a:cubicBezTo>
                      <a:cubicBezTo>
                        <a:pt x="17075" y="5900"/>
                        <a:pt x="15254" y="3803"/>
                        <a:pt x="13378" y="2699"/>
                      </a:cubicBezTo>
                      <a:cubicBezTo>
                        <a:pt x="9404" y="437"/>
                        <a:pt x="6259" y="1872"/>
                        <a:pt x="6203" y="1430"/>
                      </a:cubicBezTo>
                      <a:cubicBezTo>
                        <a:pt x="6148" y="1265"/>
                        <a:pt x="6755" y="713"/>
                        <a:pt x="8135" y="271"/>
                      </a:cubicBezTo>
                      <a:cubicBezTo>
                        <a:pt x="9515" y="-115"/>
                        <a:pt x="11832" y="-225"/>
                        <a:pt x="14316" y="878"/>
                      </a:cubicBezTo>
                      <a:cubicBezTo>
                        <a:pt x="16744" y="1927"/>
                        <a:pt x="19503" y="4686"/>
                        <a:pt x="19724" y="8549"/>
                      </a:cubicBezTo>
                      <a:cubicBezTo>
                        <a:pt x="20000" y="12247"/>
                        <a:pt x="18124" y="16606"/>
                        <a:pt x="13985" y="18538"/>
                      </a:cubicBezTo>
                      <a:cubicBezTo>
                        <a:pt x="9790" y="20359"/>
                        <a:pt x="5265" y="18924"/>
                        <a:pt x="2671" y="16330"/>
                      </a:cubicBezTo>
                      <a:cubicBezTo>
                        <a:pt x="-143" y="13626"/>
                        <a:pt x="-419" y="9763"/>
                        <a:pt x="409" y="7225"/>
                      </a:cubicBezTo>
                      <a:cubicBezTo>
                        <a:pt x="1182" y="4576"/>
                        <a:pt x="2727" y="2920"/>
                        <a:pt x="3996" y="2148"/>
                      </a:cubicBezTo>
                      <a:cubicBezTo>
                        <a:pt x="5265" y="1375"/>
                        <a:pt x="6093" y="1265"/>
                        <a:pt x="6148" y="1430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7" name="Freeform: Shape 826">
                  <a:extLst>
                    <a:ext uri="{FF2B5EF4-FFF2-40B4-BE49-F238E27FC236}">
                      <a16:creationId xmlns:a16="http://schemas.microsoft.com/office/drawing/2014/main" id="{C8D6D096-42D3-4D1D-A8E5-D2AD7ECD0889}"/>
                    </a:ext>
                  </a:extLst>
                </p:cNvPr>
                <p:cNvSpPr/>
                <p:nvPr/>
              </p:nvSpPr>
              <p:spPr>
                <a:xfrm>
                  <a:off x="7615156" y="-1415663"/>
                  <a:ext cx="90683" cy="73289"/>
                </a:xfrm>
                <a:custGeom>
                  <a:avLst/>
                  <a:gdLst>
                    <a:gd name="connsiteX0" fmla="*/ 88409 w 90683"/>
                    <a:gd name="connsiteY0" fmla="*/ 1 h 73289"/>
                    <a:gd name="connsiteX1" fmla="*/ 89899 w 90683"/>
                    <a:gd name="connsiteY1" fmla="*/ 5299 h 73289"/>
                    <a:gd name="connsiteX2" fmla="*/ 90395 w 90683"/>
                    <a:gd name="connsiteY2" fmla="*/ 20309 h 73289"/>
                    <a:gd name="connsiteX3" fmla="*/ 84049 w 90683"/>
                    <a:gd name="connsiteY3" fmla="*/ 41666 h 73289"/>
                    <a:gd name="connsiteX4" fmla="*/ 66334 w 90683"/>
                    <a:gd name="connsiteY4" fmla="*/ 62526 h 73289"/>
                    <a:gd name="connsiteX5" fmla="*/ 40894 w 90683"/>
                    <a:gd name="connsiteY5" fmla="*/ 72625 h 73289"/>
                    <a:gd name="connsiteX6" fmla="*/ 18599 w 90683"/>
                    <a:gd name="connsiteY6" fmla="*/ 71798 h 73289"/>
                    <a:gd name="connsiteX7" fmla="*/ 4527 w 90683"/>
                    <a:gd name="connsiteY7" fmla="*/ 66555 h 73289"/>
                    <a:gd name="connsiteX8" fmla="*/ 1 w 90683"/>
                    <a:gd name="connsiteY8" fmla="*/ 63409 h 73289"/>
                    <a:gd name="connsiteX9" fmla="*/ 18985 w 90683"/>
                    <a:gd name="connsiteY9" fmla="*/ 69811 h 73289"/>
                    <a:gd name="connsiteX10" fmla="*/ 64624 w 90683"/>
                    <a:gd name="connsiteY10" fmla="*/ 60153 h 73289"/>
                    <a:gd name="connsiteX11" fmla="*/ 88353 w 90683"/>
                    <a:gd name="connsiteY11" fmla="*/ 20033 h 73289"/>
                    <a:gd name="connsiteX12" fmla="*/ 88409 w 90683"/>
                    <a:gd name="connsiteY12" fmla="*/ 1 h 7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0683" h="73289">
                      <a:moveTo>
                        <a:pt x="88409" y="1"/>
                      </a:moveTo>
                      <a:cubicBezTo>
                        <a:pt x="88574" y="-54"/>
                        <a:pt x="89236" y="1822"/>
                        <a:pt x="89899" y="5299"/>
                      </a:cubicBezTo>
                      <a:cubicBezTo>
                        <a:pt x="90561" y="8776"/>
                        <a:pt x="91002" y="13963"/>
                        <a:pt x="90395" y="20309"/>
                      </a:cubicBezTo>
                      <a:cubicBezTo>
                        <a:pt x="89788" y="26656"/>
                        <a:pt x="87857" y="34161"/>
                        <a:pt x="84049" y="41666"/>
                      </a:cubicBezTo>
                      <a:cubicBezTo>
                        <a:pt x="80241" y="49227"/>
                        <a:pt x="74281" y="56732"/>
                        <a:pt x="66334" y="62526"/>
                      </a:cubicBezTo>
                      <a:cubicBezTo>
                        <a:pt x="58277" y="68211"/>
                        <a:pt x="49282" y="71411"/>
                        <a:pt x="40894" y="72625"/>
                      </a:cubicBezTo>
                      <a:cubicBezTo>
                        <a:pt x="32506" y="73839"/>
                        <a:pt x="24780" y="73288"/>
                        <a:pt x="18599" y="71798"/>
                      </a:cubicBezTo>
                      <a:cubicBezTo>
                        <a:pt x="12363" y="70363"/>
                        <a:pt x="7617" y="68321"/>
                        <a:pt x="4527" y="66555"/>
                      </a:cubicBezTo>
                      <a:cubicBezTo>
                        <a:pt x="1436" y="64789"/>
                        <a:pt x="-54" y="63575"/>
                        <a:pt x="1" y="63409"/>
                      </a:cubicBezTo>
                      <a:cubicBezTo>
                        <a:pt x="277" y="62858"/>
                        <a:pt x="6789" y="67493"/>
                        <a:pt x="18985" y="69811"/>
                      </a:cubicBezTo>
                      <a:cubicBezTo>
                        <a:pt x="30850" y="72184"/>
                        <a:pt x="49227" y="71080"/>
                        <a:pt x="64624" y="60153"/>
                      </a:cubicBezTo>
                      <a:cubicBezTo>
                        <a:pt x="79910" y="49061"/>
                        <a:pt x="86808" y="32009"/>
                        <a:pt x="88353" y="20033"/>
                      </a:cubicBezTo>
                      <a:cubicBezTo>
                        <a:pt x="90119" y="7727"/>
                        <a:pt x="87802" y="56"/>
                        <a:pt x="88409" y="1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8" name="Freeform: Shape 827">
                  <a:extLst>
                    <a:ext uri="{FF2B5EF4-FFF2-40B4-BE49-F238E27FC236}">
                      <a16:creationId xmlns:a16="http://schemas.microsoft.com/office/drawing/2014/main" id="{802E25CE-225A-400F-B40A-49AB83C189B5}"/>
                    </a:ext>
                  </a:extLst>
                </p:cNvPr>
                <p:cNvSpPr/>
                <p:nvPr/>
              </p:nvSpPr>
              <p:spPr>
                <a:xfrm>
                  <a:off x="7875336" y="-1416104"/>
                  <a:ext cx="44777" cy="48998"/>
                </a:xfrm>
                <a:custGeom>
                  <a:avLst/>
                  <a:gdLst>
                    <a:gd name="connsiteX0" fmla="*/ 44777 w 44777"/>
                    <a:gd name="connsiteY0" fmla="*/ 48785 h 48998"/>
                    <a:gd name="connsiteX1" fmla="*/ 34181 w 44777"/>
                    <a:gd name="connsiteY1" fmla="*/ 47515 h 48998"/>
                    <a:gd name="connsiteX2" fmla="*/ 12438 w 44777"/>
                    <a:gd name="connsiteY2" fmla="*/ 33609 h 48998"/>
                    <a:gd name="connsiteX3" fmla="*/ 683 w 44777"/>
                    <a:gd name="connsiteY3" fmla="*/ 10651 h 48998"/>
                    <a:gd name="connsiteX4" fmla="*/ 463 w 44777"/>
                    <a:gd name="connsiteY4" fmla="*/ 1 h 48998"/>
                    <a:gd name="connsiteX5" fmla="*/ 2670 w 44777"/>
                    <a:gd name="connsiteY5" fmla="*/ 10210 h 48998"/>
                    <a:gd name="connsiteX6" fmla="*/ 14535 w 44777"/>
                    <a:gd name="connsiteY6" fmla="*/ 31732 h 48998"/>
                    <a:gd name="connsiteX7" fmla="*/ 34788 w 44777"/>
                    <a:gd name="connsiteY7" fmla="*/ 45639 h 48998"/>
                    <a:gd name="connsiteX8" fmla="*/ 44777 w 44777"/>
                    <a:gd name="connsiteY8" fmla="*/ 48785 h 4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4777" h="48998">
                      <a:moveTo>
                        <a:pt x="44777" y="48785"/>
                      </a:moveTo>
                      <a:cubicBezTo>
                        <a:pt x="44777" y="49061"/>
                        <a:pt x="40583" y="49392"/>
                        <a:pt x="34181" y="47515"/>
                      </a:cubicBezTo>
                      <a:cubicBezTo>
                        <a:pt x="27780" y="45694"/>
                        <a:pt x="19391" y="41224"/>
                        <a:pt x="12438" y="33609"/>
                      </a:cubicBezTo>
                      <a:cubicBezTo>
                        <a:pt x="5540" y="25993"/>
                        <a:pt x="1898" y="17163"/>
                        <a:pt x="683" y="10651"/>
                      </a:cubicBezTo>
                      <a:cubicBezTo>
                        <a:pt x="-531" y="4084"/>
                        <a:pt x="187" y="-55"/>
                        <a:pt x="463" y="1"/>
                      </a:cubicBezTo>
                      <a:cubicBezTo>
                        <a:pt x="959" y="1"/>
                        <a:pt x="1015" y="4029"/>
                        <a:pt x="2670" y="10210"/>
                      </a:cubicBezTo>
                      <a:cubicBezTo>
                        <a:pt x="4271" y="16335"/>
                        <a:pt x="8023" y="24503"/>
                        <a:pt x="14535" y="31732"/>
                      </a:cubicBezTo>
                      <a:cubicBezTo>
                        <a:pt x="21102" y="38906"/>
                        <a:pt x="28828" y="43432"/>
                        <a:pt x="34788" y="45639"/>
                      </a:cubicBezTo>
                      <a:cubicBezTo>
                        <a:pt x="40748" y="47846"/>
                        <a:pt x="44832" y="48233"/>
                        <a:pt x="44777" y="48785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9" name="Freeform: Shape 828">
                  <a:extLst>
                    <a:ext uri="{FF2B5EF4-FFF2-40B4-BE49-F238E27FC236}">
                      <a16:creationId xmlns:a16="http://schemas.microsoft.com/office/drawing/2014/main" id="{56C2AC48-480D-44D6-9B56-16E678B40283}"/>
                    </a:ext>
                  </a:extLst>
                </p:cNvPr>
                <p:cNvSpPr/>
                <p:nvPr/>
              </p:nvSpPr>
              <p:spPr>
                <a:xfrm>
                  <a:off x="7916503" y="-840311"/>
                  <a:ext cx="69345" cy="30816"/>
                </a:xfrm>
                <a:custGeom>
                  <a:avLst/>
                  <a:gdLst>
                    <a:gd name="connsiteX0" fmla="*/ 69336 w 69345"/>
                    <a:gd name="connsiteY0" fmla="*/ 16570 h 30816"/>
                    <a:gd name="connsiteX1" fmla="*/ 59568 w 69345"/>
                    <a:gd name="connsiteY1" fmla="*/ 24351 h 30816"/>
                    <a:gd name="connsiteX2" fmla="*/ 46986 w 69345"/>
                    <a:gd name="connsiteY2" fmla="*/ 29814 h 30816"/>
                    <a:gd name="connsiteX3" fmla="*/ 30044 w 69345"/>
                    <a:gd name="connsiteY3" fmla="*/ 29373 h 30816"/>
                    <a:gd name="connsiteX4" fmla="*/ 6479 w 69345"/>
                    <a:gd name="connsiteY4" fmla="*/ 10610 h 30816"/>
                    <a:gd name="connsiteX5" fmla="*/ 23 w 69345"/>
                    <a:gd name="connsiteY5" fmla="*/ 14 h 30816"/>
                    <a:gd name="connsiteX6" fmla="*/ 8080 w 69345"/>
                    <a:gd name="connsiteY6" fmla="*/ 9396 h 30816"/>
                    <a:gd name="connsiteX7" fmla="*/ 30926 w 69345"/>
                    <a:gd name="connsiteY7" fmla="*/ 26669 h 30816"/>
                    <a:gd name="connsiteX8" fmla="*/ 58519 w 69345"/>
                    <a:gd name="connsiteY8" fmla="*/ 22585 h 30816"/>
                    <a:gd name="connsiteX9" fmla="*/ 69336 w 69345"/>
                    <a:gd name="connsiteY9" fmla="*/ 16570 h 30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9345" h="30816">
                      <a:moveTo>
                        <a:pt x="69336" y="16570"/>
                      </a:moveTo>
                      <a:cubicBezTo>
                        <a:pt x="69556" y="16846"/>
                        <a:pt x="66135" y="20212"/>
                        <a:pt x="59568" y="24351"/>
                      </a:cubicBezTo>
                      <a:cubicBezTo>
                        <a:pt x="56257" y="26338"/>
                        <a:pt x="52118" y="28545"/>
                        <a:pt x="46986" y="29814"/>
                      </a:cubicBezTo>
                      <a:cubicBezTo>
                        <a:pt x="41964" y="31139"/>
                        <a:pt x="35838" y="31304"/>
                        <a:pt x="30044" y="29373"/>
                      </a:cubicBezTo>
                      <a:cubicBezTo>
                        <a:pt x="18289" y="25510"/>
                        <a:pt x="10949" y="16680"/>
                        <a:pt x="6479" y="10610"/>
                      </a:cubicBezTo>
                      <a:cubicBezTo>
                        <a:pt x="2009" y="4374"/>
                        <a:pt x="-253" y="180"/>
                        <a:pt x="23" y="14"/>
                      </a:cubicBezTo>
                      <a:cubicBezTo>
                        <a:pt x="354" y="-262"/>
                        <a:pt x="3278" y="3546"/>
                        <a:pt x="8080" y="9396"/>
                      </a:cubicBezTo>
                      <a:cubicBezTo>
                        <a:pt x="12881" y="15080"/>
                        <a:pt x="20165" y="23137"/>
                        <a:pt x="30926" y="26669"/>
                      </a:cubicBezTo>
                      <a:cubicBezTo>
                        <a:pt x="41743" y="30256"/>
                        <a:pt x="52063" y="26062"/>
                        <a:pt x="58519" y="22585"/>
                      </a:cubicBezTo>
                      <a:cubicBezTo>
                        <a:pt x="65197" y="18998"/>
                        <a:pt x="69060" y="16183"/>
                        <a:pt x="69336" y="16570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0" name="Freeform: Shape 829">
                  <a:extLst>
                    <a:ext uri="{FF2B5EF4-FFF2-40B4-BE49-F238E27FC236}">
                      <a16:creationId xmlns:a16="http://schemas.microsoft.com/office/drawing/2014/main" id="{C531AA5C-D261-415B-98C5-67FD2BBB866A}"/>
                    </a:ext>
                  </a:extLst>
                </p:cNvPr>
                <p:cNvSpPr/>
                <p:nvPr/>
              </p:nvSpPr>
              <p:spPr>
                <a:xfrm>
                  <a:off x="7911128" y="-837221"/>
                  <a:ext cx="32594" cy="45722"/>
                </a:xfrm>
                <a:custGeom>
                  <a:avLst/>
                  <a:gdLst>
                    <a:gd name="connsiteX0" fmla="*/ 32549 w 32594"/>
                    <a:gd name="connsiteY0" fmla="*/ 45708 h 45722"/>
                    <a:gd name="connsiteX1" fmla="*/ 15111 w 32594"/>
                    <a:gd name="connsiteY1" fmla="*/ 23689 h 45722"/>
                    <a:gd name="connsiteX2" fmla="*/ 45 w 32594"/>
                    <a:gd name="connsiteY2" fmla="*/ 14 h 45722"/>
                    <a:gd name="connsiteX3" fmla="*/ 17484 w 32594"/>
                    <a:gd name="connsiteY3" fmla="*/ 22033 h 45722"/>
                    <a:gd name="connsiteX4" fmla="*/ 32549 w 32594"/>
                    <a:gd name="connsiteY4" fmla="*/ 45708 h 45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594" h="45722">
                      <a:moveTo>
                        <a:pt x="32549" y="45708"/>
                      </a:moveTo>
                      <a:cubicBezTo>
                        <a:pt x="31887" y="46149"/>
                        <a:pt x="24106" y="36326"/>
                        <a:pt x="15111" y="23689"/>
                      </a:cubicBezTo>
                      <a:cubicBezTo>
                        <a:pt x="6115" y="11051"/>
                        <a:pt x="-617" y="456"/>
                        <a:pt x="45" y="14"/>
                      </a:cubicBezTo>
                      <a:cubicBezTo>
                        <a:pt x="707" y="-427"/>
                        <a:pt x="8488" y="9396"/>
                        <a:pt x="17484" y="22033"/>
                      </a:cubicBezTo>
                      <a:cubicBezTo>
                        <a:pt x="26479" y="34616"/>
                        <a:pt x="33212" y="45211"/>
                        <a:pt x="32549" y="45708"/>
                      </a:cubicBezTo>
                      <a:close/>
                    </a:path>
                  </a:pathLst>
                </a:custGeom>
                <a:solidFill>
                  <a:srgbClr val="455A64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1" name="Freeform: Shape 830">
                  <a:extLst>
                    <a:ext uri="{FF2B5EF4-FFF2-40B4-BE49-F238E27FC236}">
                      <a16:creationId xmlns:a16="http://schemas.microsoft.com/office/drawing/2014/main" id="{3B9E61E5-3708-4763-B09E-8C6FF63A52F6}"/>
                    </a:ext>
                  </a:extLst>
                </p:cNvPr>
                <p:cNvSpPr/>
                <p:nvPr/>
              </p:nvSpPr>
              <p:spPr>
                <a:xfrm>
                  <a:off x="7654504" y="-1253764"/>
                  <a:ext cx="6669" cy="15320"/>
                </a:xfrm>
                <a:custGeom>
                  <a:avLst/>
                  <a:gdLst>
                    <a:gd name="connsiteX0" fmla="*/ 6402 w 6669"/>
                    <a:gd name="connsiteY0" fmla="*/ 15303 h 15320"/>
                    <a:gd name="connsiteX1" fmla="*/ 1987 w 6669"/>
                    <a:gd name="connsiteY1" fmla="*/ 8184 h 15320"/>
                    <a:gd name="connsiteX2" fmla="*/ 276 w 6669"/>
                    <a:gd name="connsiteY2" fmla="*/ 17 h 15320"/>
                    <a:gd name="connsiteX3" fmla="*/ 4636 w 6669"/>
                    <a:gd name="connsiteY3" fmla="*/ 7136 h 15320"/>
                    <a:gd name="connsiteX4" fmla="*/ 6402 w 6669"/>
                    <a:gd name="connsiteY4" fmla="*/ 15303 h 15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69" h="15320">
                      <a:moveTo>
                        <a:pt x="6402" y="15303"/>
                      </a:moveTo>
                      <a:cubicBezTo>
                        <a:pt x="5685" y="15579"/>
                        <a:pt x="3698" y="12434"/>
                        <a:pt x="1987" y="8184"/>
                      </a:cubicBezTo>
                      <a:cubicBezTo>
                        <a:pt x="276" y="3990"/>
                        <a:pt x="-441" y="293"/>
                        <a:pt x="276" y="17"/>
                      </a:cubicBezTo>
                      <a:cubicBezTo>
                        <a:pt x="994" y="-259"/>
                        <a:pt x="2980" y="2887"/>
                        <a:pt x="4636" y="7136"/>
                      </a:cubicBezTo>
                      <a:cubicBezTo>
                        <a:pt x="6347" y="11330"/>
                        <a:pt x="7119" y="14972"/>
                        <a:pt x="6402" y="15303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2" name="Freeform: Shape 831">
                  <a:extLst>
                    <a:ext uri="{FF2B5EF4-FFF2-40B4-BE49-F238E27FC236}">
                      <a16:creationId xmlns:a16="http://schemas.microsoft.com/office/drawing/2014/main" id="{FC1BF9A5-BF50-4098-8BA9-7C1A5C291D78}"/>
                    </a:ext>
                  </a:extLst>
                </p:cNvPr>
                <p:cNvSpPr/>
                <p:nvPr/>
              </p:nvSpPr>
              <p:spPr>
                <a:xfrm>
                  <a:off x="7766310" y="-1235481"/>
                  <a:ext cx="2869" cy="12251"/>
                </a:xfrm>
                <a:custGeom>
                  <a:avLst/>
                  <a:gdLst>
                    <a:gd name="connsiteX0" fmla="*/ 1435 w 2869"/>
                    <a:gd name="connsiteY0" fmla="*/ 12251 h 12251"/>
                    <a:gd name="connsiteX1" fmla="*/ 0 w 2869"/>
                    <a:gd name="connsiteY1" fmla="*/ 6126 h 12251"/>
                    <a:gd name="connsiteX2" fmla="*/ 1435 w 2869"/>
                    <a:gd name="connsiteY2" fmla="*/ 0 h 12251"/>
                    <a:gd name="connsiteX3" fmla="*/ 2870 w 2869"/>
                    <a:gd name="connsiteY3" fmla="*/ 6126 h 12251"/>
                    <a:gd name="connsiteX4" fmla="*/ 1435 w 2869"/>
                    <a:gd name="connsiteY4" fmla="*/ 12251 h 12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69" h="12251">
                      <a:moveTo>
                        <a:pt x="1435" y="12251"/>
                      </a:moveTo>
                      <a:cubicBezTo>
                        <a:pt x="662" y="12251"/>
                        <a:pt x="0" y="9492"/>
                        <a:pt x="0" y="6126"/>
                      </a:cubicBezTo>
                      <a:cubicBezTo>
                        <a:pt x="0" y="2759"/>
                        <a:pt x="662" y="0"/>
                        <a:pt x="1435" y="0"/>
                      </a:cubicBezTo>
                      <a:cubicBezTo>
                        <a:pt x="2207" y="0"/>
                        <a:pt x="2870" y="2759"/>
                        <a:pt x="2870" y="6126"/>
                      </a:cubicBezTo>
                      <a:cubicBezTo>
                        <a:pt x="2870" y="9547"/>
                        <a:pt x="2207" y="12251"/>
                        <a:pt x="1435" y="1225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3" name="Freeform: Shape 832">
                  <a:extLst>
                    <a:ext uri="{FF2B5EF4-FFF2-40B4-BE49-F238E27FC236}">
                      <a16:creationId xmlns:a16="http://schemas.microsoft.com/office/drawing/2014/main" id="{681D28D6-3BBF-4C07-9829-5B25A9CE2848}"/>
                    </a:ext>
                  </a:extLst>
                </p:cNvPr>
                <p:cNvSpPr/>
                <p:nvPr/>
              </p:nvSpPr>
              <p:spPr>
                <a:xfrm>
                  <a:off x="7721798" y="-1180462"/>
                  <a:ext cx="3040" cy="15287"/>
                </a:xfrm>
                <a:custGeom>
                  <a:avLst/>
                  <a:gdLst>
                    <a:gd name="connsiteX0" fmla="*/ 2020 w 3040"/>
                    <a:gd name="connsiteY0" fmla="*/ 15287 h 15287"/>
                    <a:gd name="connsiteX1" fmla="*/ 88 w 3040"/>
                    <a:gd name="connsiteY1" fmla="*/ 7727 h 15287"/>
                    <a:gd name="connsiteX2" fmla="*/ 1026 w 3040"/>
                    <a:gd name="connsiteY2" fmla="*/ 1 h 15287"/>
                    <a:gd name="connsiteX3" fmla="*/ 2958 w 3040"/>
                    <a:gd name="connsiteY3" fmla="*/ 7561 h 15287"/>
                    <a:gd name="connsiteX4" fmla="*/ 2020 w 3040"/>
                    <a:gd name="connsiteY4" fmla="*/ 15287 h 1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40" h="15287">
                      <a:moveTo>
                        <a:pt x="2020" y="15287"/>
                      </a:moveTo>
                      <a:cubicBezTo>
                        <a:pt x="1247" y="15342"/>
                        <a:pt x="364" y="11976"/>
                        <a:pt x="88" y="7727"/>
                      </a:cubicBezTo>
                      <a:cubicBezTo>
                        <a:pt x="-188" y="3533"/>
                        <a:pt x="199" y="56"/>
                        <a:pt x="1026" y="1"/>
                      </a:cubicBezTo>
                      <a:cubicBezTo>
                        <a:pt x="1799" y="-55"/>
                        <a:pt x="2682" y="3312"/>
                        <a:pt x="2958" y="7561"/>
                      </a:cubicBezTo>
                      <a:cubicBezTo>
                        <a:pt x="3234" y="11755"/>
                        <a:pt x="2792" y="15232"/>
                        <a:pt x="2020" y="15287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4" name="Freeform: Shape 833">
                  <a:extLst>
                    <a:ext uri="{FF2B5EF4-FFF2-40B4-BE49-F238E27FC236}">
                      <a16:creationId xmlns:a16="http://schemas.microsoft.com/office/drawing/2014/main" id="{A160131E-BF1D-4E77-A228-41FE3BC9A45C}"/>
                    </a:ext>
                  </a:extLst>
                </p:cNvPr>
                <p:cNvSpPr/>
                <p:nvPr/>
              </p:nvSpPr>
              <p:spPr>
                <a:xfrm>
                  <a:off x="7632355" y="-1130940"/>
                  <a:ext cx="11376" cy="8554"/>
                </a:xfrm>
                <a:custGeom>
                  <a:avLst/>
                  <a:gdLst>
                    <a:gd name="connsiteX0" fmla="*/ 11222 w 11376"/>
                    <a:gd name="connsiteY0" fmla="*/ 8479 h 8554"/>
                    <a:gd name="connsiteX1" fmla="*/ 5318 w 11376"/>
                    <a:gd name="connsiteY1" fmla="*/ 4782 h 8554"/>
                    <a:gd name="connsiteX2" fmla="*/ 20 w 11376"/>
                    <a:gd name="connsiteY2" fmla="*/ 312 h 8554"/>
                    <a:gd name="connsiteX3" fmla="*/ 7028 w 11376"/>
                    <a:gd name="connsiteY3" fmla="*/ 2464 h 8554"/>
                    <a:gd name="connsiteX4" fmla="*/ 11222 w 11376"/>
                    <a:gd name="connsiteY4" fmla="*/ 8479 h 8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76" h="8554">
                      <a:moveTo>
                        <a:pt x="11222" y="8479"/>
                      </a:moveTo>
                      <a:cubicBezTo>
                        <a:pt x="10560" y="8976"/>
                        <a:pt x="8298" y="6934"/>
                        <a:pt x="5318" y="4782"/>
                      </a:cubicBezTo>
                      <a:cubicBezTo>
                        <a:pt x="2393" y="2630"/>
                        <a:pt x="-256" y="1085"/>
                        <a:pt x="20" y="312"/>
                      </a:cubicBezTo>
                      <a:cubicBezTo>
                        <a:pt x="241" y="-406"/>
                        <a:pt x="3662" y="36"/>
                        <a:pt x="7028" y="2464"/>
                      </a:cubicBezTo>
                      <a:cubicBezTo>
                        <a:pt x="10395" y="4892"/>
                        <a:pt x="11885" y="8038"/>
                        <a:pt x="11222" y="8479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5" name="Freeform: Shape 834">
                  <a:extLst>
                    <a:ext uri="{FF2B5EF4-FFF2-40B4-BE49-F238E27FC236}">
                      <a16:creationId xmlns:a16="http://schemas.microsoft.com/office/drawing/2014/main" id="{5C0DD233-107F-4DCD-ACF9-F2E923270BB0}"/>
                    </a:ext>
                  </a:extLst>
                </p:cNvPr>
                <p:cNvSpPr/>
                <p:nvPr/>
              </p:nvSpPr>
              <p:spPr>
                <a:xfrm>
                  <a:off x="7784791" y="-1077775"/>
                  <a:ext cx="6581" cy="9301"/>
                </a:xfrm>
                <a:custGeom>
                  <a:avLst/>
                  <a:gdLst>
                    <a:gd name="connsiteX0" fmla="*/ 228 w 6581"/>
                    <a:gd name="connsiteY0" fmla="*/ 9230 h 9301"/>
                    <a:gd name="connsiteX1" fmla="*/ 2104 w 6581"/>
                    <a:gd name="connsiteY1" fmla="*/ 3877 h 9301"/>
                    <a:gd name="connsiteX2" fmla="*/ 6353 w 6581"/>
                    <a:gd name="connsiteY2" fmla="*/ 69 h 9301"/>
                    <a:gd name="connsiteX3" fmla="*/ 4477 w 6581"/>
                    <a:gd name="connsiteY3" fmla="*/ 5422 h 9301"/>
                    <a:gd name="connsiteX4" fmla="*/ 228 w 6581"/>
                    <a:gd name="connsiteY4" fmla="*/ 9230 h 9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581" h="9301">
                      <a:moveTo>
                        <a:pt x="228" y="9230"/>
                      </a:moveTo>
                      <a:cubicBezTo>
                        <a:pt x="-434" y="8789"/>
                        <a:pt x="393" y="6361"/>
                        <a:pt x="2104" y="3877"/>
                      </a:cubicBezTo>
                      <a:cubicBezTo>
                        <a:pt x="3815" y="1339"/>
                        <a:pt x="5691" y="-372"/>
                        <a:pt x="6353" y="69"/>
                      </a:cubicBezTo>
                      <a:cubicBezTo>
                        <a:pt x="7016" y="511"/>
                        <a:pt x="6188" y="2939"/>
                        <a:pt x="4477" y="5422"/>
                      </a:cubicBezTo>
                      <a:cubicBezTo>
                        <a:pt x="2822" y="8016"/>
                        <a:pt x="890" y="9672"/>
                        <a:pt x="228" y="9230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6" name="Freeform: Shape 835">
                  <a:extLst>
                    <a:ext uri="{FF2B5EF4-FFF2-40B4-BE49-F238E27FC236}">
                      <a16:creationId xmlns:a16="http://schemas.microsoft.com/office/drawing/2014/main" id="{0FC8D004-138A-4F7B-8774-8A9494F3DE92}"/>
                    </a:ext>
                  </a:extLst>
                </p:cNvPr>
                <p:cNvSpPr/>
                <p:nvPr/>
              </p:nvSpPr>
              <p:spPr>
                <a:xfrm>
                  <a:off x="7696059" y="-1073567"/>
                  <a:ext cx="2869" cy="20308"/>
                </a:xfrm>
                <a:custGeom>
                  <a:avLst/>
                  <a:gdLst>
                    <a:gd name="connsiteX0" fmla="*/ 1435 w 2869"/>
                    <a:gd name="connsiteY0" fmla="*/ 20308 h 20308"/>
                    <a:gd name="connsiteX1" fmla="*/ 0 w 2869"/>
                    <a:gd name="connsiteY1" fmla="*/ 10154 h 20308"/>
                    <a:gd name="connsiteX2" fmla="*/ 1435 w 2869"/>
                    <a:gd name="connsiteY2" fmla="*/ 0 h 20308"/>
                    <a:gd name="connsiteX3" fmla="*/ 2870 w 2869"/>
                    <a:gd name="connsiteY3" fmla="*/ 10154 h 20308"/>
                    <a:gd name="connsiteX4" fmla="*/ 1435 w 2869"/>
                    <a:gd name="connsiteY4" fmla="*/ 20308 h 20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69" h="20308">
                      <a:moveTo>
                        <a:pt x="1435" y="20308"/>
                      </a:moveTo>
                      <a:cubicBezTo>
                        <a:pt x="662" y="20308"/>
                        <a:pt x="0" y="15728"/>
                        <a:pt x="0" y="10154"/>
                      </a:cubicBezTo>
                      <a:cubicBezTo>
                        <a:pt x="0" y="4525"/>
                        <a:pt x="662" y="0"/>
                        <a:pt x="1435" y="0"/>
                      </a:cubicBezTo>
                      <a:cubicBezTo>
                        <a:pt x="2207" y="0"/>
                        <a:pt x="2870" y="4580"/>
                        <a:pt x="2870" y="10154"/>
                      </a:cubicBezTo>
                      <a:cubicBezTo>
                        <a:pt x="2870" y="15728"/>
                        <a:pt x="2262" y="20308"/>
                        <a:pt x="1435" y="2030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7" name="Freeform: Shape 836">
                  <a:extLst>
                    <a:ext uri="{FF2B5EF4-FFF2-40B4-BE49-F238E27FC236}">
                      <a16:creationId xmlns:a16="http://schemas.microsoft.com/office/drawing/2014/main" id="{CC7BAD8E-BED6-43C5-B92D-928618890D79}"/>
                    </a:ext>
                  </a:extLst>
                </p:cNvPr>
                <p:cNvSpPr/>
                <p:nvPr/>
              </p:nvSpPr>
              <p:spPr>
                <a:xfrm>
                  <a:off x="7657855" y="-999678"/>
                  <a:ext cx="11345" cy="8508"/>
                </a:xfrm>
                <a:custGeom>
                  <a:avLst/>
                  <a:gdLst>
                    <a:gd name="connsiteX0" fmla="*/ 11274 w 11345"/>
                    <a:gd name="connsiteY0" fmla="*/ 8338 h 8508"/>
                    <a:gd name="connsiteX1" fmla="*/ 4817 w 11345"/>
                    <a:gd name="connsiteY1" fmla="*/ 5413 h 8508"/>
                    <a:gd name="connsiteX2" fmla="*/ 71 w 11345"/>
                    <a:gd name="connsiteY2" fmla="*/ 171 h 8508"/>
                    <a:gd name="connsiteX3" fmla="*/ 6528 w 11345"/>
                    <a:gd name="connsiteY3" fmla="*/ 3096 h 8508"/>
                    <a:gd name="connsiteX4" fmla="*/ 11274 w 11345"/>
                    <a:gd name="connsiteY4" fmla="*/ 8338 h 8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45" h="8508">
                      <a:moveTo>
                        <a:pt x="11274" y="8338"/>
                      </a:moveTo>
                      <a:cubicBezTo>
                        <a:pt x="10832" y="9000"/>
                        <a:pt x="7908" y="7676"/>
                        <a:pt x="4817" y="5413"/>
                      </a:cubicBezTo>
                      <a:cubicBezTo>
                        <a:pt x="1727" y="3151"/>
                        <a:pt x="-425" y="833"/>
                        <a:pt x="71" y="171"/>
                      </a:cubicBezTo>
                      <a:cubicBezTo>
                        <a:pt x="513" y="-491"/>
                        <a:pt x="3438" y="833"/>
                        <a:pt x="6528" y="3096"/>
                      </a:cubicBezTo>
                      <a:cubicBezTo>
                        <a:pt x="9618" y="5358"/>
                        <a:pt x="11771" y="7676"/>
                        <a:pt x="11274" y="833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8" name="Freeform: Shape 837">
                  <a:extLst>
                    <a:ext uri="{FF2B5EF4-FFF2-40B4-BE49-F238E27FC236}">
                      <a16:creationId xmlns:a16="http://schemas.microsoft.com/office/drawing/2014/main" id="{B88691F6-433B-4AB5-9DE9-BA21C5C66F68}"/>
                    </a:ext>
                  </a:extLst>
                </p:cNvPr>
                <p:cNvSpPr/>
                <p:nvPr/>
              </p:nvSpPr>
              <p:spPr>
                <a:xfrm>
                  <a:off x="7748336" y="-970198"/>
                  <a:ext cx="9238" cy="4843"/>
                </a:xfrm>
                <a:custGeom>
                  <a:avLst/>
                  <a:gdLst>
                    <a:gd name="connsiteX0" fmla="*/ 9200 w 9238"/>
                    <a:gd name="connsiteY0" fmla="*/ 380 h 4843"/>
                    <a:gd name="connsiteX1" fmla="*/ 5226 w 9238"/>
                    <a:gd name="connsiteY1" fmla="*/ 3746 h 4843"/>
                    <a:gd name="connsiteX2" fmla="*/ 39 w 9238"/>
                    <a:gd name="connsiteY2" fmla="*/ 4464 h 4843"/>
                    <a:gd name="connsiteX3" fmla="*/ 4012 w 9238"/>
                    <a:gd name="connsiteY3" fmla="*/ 1097 h 4843"/>
                    <a:gd name="connsiteX4" fmla="*/ 9200 w 9238"/>
                    <a:gd name="connsiteY4" fmla="*/ 380 h 48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38" h="4843">
                      <a:moveTo>
                        <a:pt x="9200" y="380"/>
                      </a:moveTo>
                      <a:cubicBezTo>
                        <a:pt x="9531" y="1097"/>
                        <a:pt x="7710" y="2587"/>
                        <a:pt x="5226" y="3746"/>
                      </a:cubicBezTo>
                      <a:cubicBezTo>
                        <a:pt x="2688" y="4850"/>
                        <a:pt x="370" y="5181"/>
                        <a:pt x="39" y="4464"/>
                      </a:cubicBezTo>
                      <a:cubicBezTo>
                        <a:pt x="-292" y="3746"/>
                        <a:pt x="1529" y="2256"/>
                        <a:pt x="4012" y="1097"/>
                      </a:cubicBezTo>
                      <a:cubicBezTo>
                        <a:pt x="6606" y="-6"/>
                        <a:pt x="8924" y="-337"/>
                        <a:pt x="9200" y="380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9" name="Freeform: Shape 838">
                  <a:extLst>
                    <a:ext uri="{FF2B5EF4-FFF2-40B4-BE49-F238E27FC236}">
                      <a16:creationId xmlns:a16="http://schemas.microsoft.com/office/drawing/2014/main" id="{14763927-17E5-47E4-8C63-2A420793BB86}"/>
                    </a:ext>
                  </a:extLst>
                </p:cNvPr>
                <p:cNvSpPr/>
                <p:nvPr/>
              </p:nvSpPr>
              <p:spPr>
                <a:xfrm>
                  <a:off x="7687176" y="-889431"/>
                  <a:ext cx="10481" cy="20399"/>
                </a:xfrm>
                <a:custGeom>
                  <a:avLst/>
                  <a:gdLst>
                    <a:gd name="connsiteX0" fmla="*/ 10318 w 10481"/>
                    <a:gd name="connsiteY0" fmla="*/ 20382 h 20399"/>
                    <a:gd name="connsiteX1" fmla="*/ 3971 w 10481"/>
                    <a:gd name="connsiteY1" fmla="*/ 10835 h 20399"/>
                    <a:gd name="connsiteX2" fmla="*/ 164 w 10481"/>
                    <a:gd name="connsiteY2" fmla="*/ 18 h 20399"/>
                    <a:gd name="connsiteX3" fmla="*/ 6510 w 10481"/>
                    <a:gd name="connsiteY3" fmla="*/ 9565 h 20399"/>
                    <a:gd name="connsiteX4" fmla="*/ 10318 w 10481"/>
                    <a:gd name="connsiteY4" fmla="*/ 20382 h 20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81" h="20399">
                      <a:moveTo>
                        <a:pt x="10318" y="20382"/>
                      </a:moveTo>
                      <a:cubicBezTo>
                        <a:pt x="9600" y="20713"/>
                        <a:pt x="6731" y="16463"/>
                        <a:pt x="3971" y="10835"/>
                      </a:cubicBezTo>
                      <a:cubicBezTo>
                        <a:pt x="1157" y="5206"/>
                        <a:pt x="-554" y="349"/>
                        <a:pt x="164" y="18"/>
                      </a:cubicBezTo>
                      <a:cubicBezTo>
                        <a:pt x="881" y="-313"/>
                        <a:pt x="3751" y="3936"/>
                        <a:pt x="6510" y="9565"/>
                      </a:cubicBezTo>
                      <a:cubicBezTo>
                        <a:pt x="9324" y="15194"/>
                        <a:pt x="11035" y="19995"/>
                        <a:pt x="10318" y="20382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0" name="Freeform: Shape 839">
                  <a:extLst>
                    <a:ext uri="{FF2B5EF4-FFF2-40B4-BE49-F238E27FC236}">
                      <a16:creationId xmlns:a16="http://schemas.microsoft.com/office/drawing/2014/main" id="{DC14E9F5-65D1-4AC3-A435-6C5F85824E70}"/>
                    </a:ext>
                  </a:extLst>
                </p:cNvPr>
                <p:cNvSpPr/>
                <p:nvPr/>
              </p:nvSpPr>
              <p:spPr>
                <a:xfrm>
                  <a:off x="7795027" y="-893528"/>
                  <a:ext cx="8568" cy="15350"/>
                </a:xfrm>
                <a:custGeom>
                  <a:avLst/>
                  <a:gdLst>
                    <a:gd name="connsiteX0" fmla="*/ 201 w 8568"/>
                    <a:gd name="connsiteY0" fmla="*/ 15318 h 15350"/>
                    <a:gd name="connsiteX1" fmla="*/ 3015 w 8568"/>
                    <a:gd name="connsiteY1" fmla="*/ 6986 h 15350"/>
                    <a:gd name="connsiteX2" fmla="*/ 8368 w 8568"/>
                    <a:gd name="connsiteY2" fmla="*/ 32 h 15350"/>
                    <a:gd name="connsiteX3" fmla="*/ 5554 w 8568"/>
                    <a:gd name="connsiteY3" fmla="*/ 8365 h 15350"/>
                    <a:gd name="connsiteX4" fmla="*/ 201 w 8568"/>
                    <a:gd name="connsiteY4" fmla="*/ 15318 h 1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68" h="15350">
                      <a:moveTo>
                        <a:pt x="201" y="15318"/>
                      </a:moveTo>
                      <a:cubicBezTo>
                        <a:pt x="-517" y="14932"/>
                        <a:pt x="752" y="11235"/>
                        <a:pt x="3015" y="6986"/>
                      </a:cubicBezTo>
                      <a:cubicBezTo>
                        <a:pt x="5278" y="2791"/>
                        <a:pt x="7651" y="-354"/>
                        <a:pt x="8368" y="32"/>
                      </a:cubicBezTo>
                      <a:cubicBezTo>
                        <a:pt x="9085" y="418"/>
                        <a:pt x="7816" y="4116"/>
                        <a:pt x="5554" y="8365"/>
                      </a:cubicBezTo>
                      <a:cubicBezTo>
                        <a:pt x="3291" y="12559"/>
                        <a:pt x="863" y="15705"/>
                        <a:pt x="201" y="1531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1" name="Freeform: Shape 840">
                  <a:extLst>
                    <a:ext uri="{FF2B5EF4-FFF2-40B4-BE49-F238E27FC236}">
                      <a16:creationId xmlns:a16="http://schemas.microsoft.com/office/drawing/2014/main" id="{79A5214F-B274-4424-9D50-E5B69490B132}"/>
                    </a:ext>
                  </a:extLst>
                </p:cNvPr>
                <p:cNvSpPr/>
                <p:nvPr/>
              </p:nvSpPr>
              <p:spPr>
                <a:xfrm>
                  <a:off x="7749202" y="-812068"/>
                  <a:ext cx="4811" cy="19345"/>
                </a:xfrm>
                <a:custGeom>
                  <a:avLst/>
                  <a:gdLst>
                    <a:gd name="connsiteX0" fmla="*/ 3257 w 4811"/>
                    <a:gd name="connsiteY0" fmla="*/ 19341 h 19345"/>
                    <a:gd name="connsiteX1" fmla="*/ 1656 w 4811"/>
                    <a:gd name="connsiteY1" fmla="*/ 9684 h 19345"/>
                    <a:gd name="connsiteX2" fmla="*/ 222 w 4811"/>
                    <a:gd name="connsiteY2" fmla="*/ 26 h 19345"/>
                    <a:gd name="connsiteX3" fmla="*/ 4526 w 4811"/>
                    <a:gd name="connsiteY3" fmla="*/ 9242 h 19345"/>
                    <a:gd name="connsiteX4" fmla="*/ 3257 w 4811"/>
                    <a:gd name="connsiteY4" fmla="*/ 19341 h 1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11" h="19345">
                      <a:moveTo>
                        <a:pt x="3257" y="19341"/>
                      </a:moveTo>
                      <a:cubicBezTo>
                        <a:pt x="2429" y="19231"/>
                        <a:pt x="2484" y="14871"/>
                        <a:pt x="1656" y="9684"/>
                      </a:cubicBezTo>
                      <a:cubicBezTo>
                        <a:pt x="884" y="4496"/>
                        <a:pt x="-551" y="357"/>
                        <a:pt x="222" y="26"/>
                      </a:cubicBezTo>
                      <a:cubicBezTo>
                        <a:pt x="884" y="-360"/>
                        <a:pt x="3643" y="3558"/>
                        <a:pt x="4526" y="9242"/>
                      </a:cubicBezTo>
                      <a:cubicBezTo>
                        <a:pt x="5409" y="14926"/>
                        <a:pt x="4029" y="19507"/>
                        <a:pt x="3257" y="1934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2" name="Freeform: Shape 841">
                  <a:extLst>
                    <a:ext uri="{FF2B5EF4-FFF2-40B4-BE49-F238E27FC236}">
                      <a16:creationId xmlns:a16="http://schemas.microsoft.com/office/drawing/2014/main" id="{CB8A7CF4-4FA6-4160-BEEB-E92C0AE60762}"/>
                    </a:ext>
                  </a:extLst>
                </p:cNvPr>
                <p:cNvSpPr/>
                <p:nvPr/>
              </p:nvSpPr>
              <p:spPr>
                <a:xfrm>
                  <a:off x="7696384" y="-755179"/>
                  <a:ext cx="10387" cy="11379"/>
                </a:xfrm>
                <a:custGeom>
                  <a:avLst/>
                  <a:gdLst>
                    <a:gd name="connsiteX0" fmla="*/ 10271 w 10387"/>
                    <a:gd name="connsiteY0" fmla="*/ 11291 h 11379"/>
                    <a:gd name="connsiteX1" fmla="*/ 4145 w 10387"/>
                    <a:gd name="connsiteY1" fmla="*/ 6655 h 11379"/>
                    <a:gd name="connsiteX2" fmla="*/ 117 w 10387"/>
                    <a:gd name="connsiteY2" fmla="*/ 88 h 11379"/>
                    <a:gd name="connsiteX3" fmla="*/ 6242 w 10387"/>
                    <a:gd name="connsiteY3" fmla="*/ 4724 h 11379"/>
                    <a:gd name="connsiteX4" fmla="*/ 10271 w 10387"/>
                    <a:gd name="connsiteY4" fmla="*/ 11291 h 11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87" h="11379">
                      <a:moveTo>
                        <a:pt x="10271" y="11291"/>
                      </a:moveTo>
                      <a:cubicBezTo>
                        <a:pt x="9664" y="11843"/>
                        <a:pt x="6905" y="9746"/>
                        <a:pt x="4145" y="6655"/>
                      </a:cubicBezTo>
                      <a:cubicBezTo>
                        <a:pt x="1331" y="3565"/>
                        <a:pt x="-490" y="640"/>
                        <a:pt x="117" y="88"/>
                      </a:cubicBezTo>
                      <a:cubicBezTo>
                        <a:pt x="724" y="-464"/>
                        <a:pt x="3483" y="1634"/>
                        <a:pt x="6242" y="4724"/>
                      </a:cubicBezTo>
                      <a:cubicBezTo>
                        <a:pt x="9057" y="7814"/>
                        <a:pt x="10878" y="10739"/>
                        <a:pt x="10271" y="1129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3" name="Freeform: Shape 842">
                  <a:extLst>
                    <a:ext uri="{FF2B5EF4-FFF2-40B4-BE49-F238E27FC236}">
                      <a16:creationId xmlns:a16="http://schemas.microsoft.com/office/drawing/2014/main" id="{73D9C010-3FBC-4A1C-B5E7-9F2B3BBDD9A8}"/>
                    </a:ext>
                  </a:extLst>
                </p:cNvPr>
                <p:cNvSpPr/>
                <p:nvPr/>
              </p:nvSpPr>
              <p:spPr>
                <a:xfrm>
                  <a:off x="7817709" y="-736692"/>
                  <a:ext cx="11272" cy="11434"/>
                </a:xfrm>
                <a:custGeom>
                  <a:avLst/>
                  <a:gdLst>
                    <a:gd name="connsiteX0" fmla="*/ 90 w 11272"/>
                    <a:gd name="connsiteY0" fmla="*/ 11346 h 11434"/>
                    <a:gd name="connsiteX1" fmla="*/ 4615 w 11272"/>
                    <a:gd name="connsiteY1" fmla="*/ 4724 h 11434"/>
                    <a:gd name="connsiteX2" fmla="*/ 11182 w 11272"/>
                    <a:gd name="connsiteY2" fmla="*/ 88 h 11434"/>
                    <a:gd name="connsiteX3" fmla="*/ 6657 w 11272"/>
                    <a:gd name="connsiteY3" fmla="*/ 6711 h 11434"/>
                    <a:gd name="connsiteX4" fmla="*/ 90 w 11272"/>
                    <a:gd name="connsiteY4" fmla="*/ 11346 h 11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72" h="11434">
                      <a:moveTo>
                        <a:pt x="90" y="11346"/>
                      </a:moveTo>
                      <a:cubicBezTo>
                        <a:pt x="-462" y="10794"/>
                        <a:pt x="1580" y="7814"/>
                        <a:pt x="4615" y="4724"/>
                      </a:cubicBezTo>
                      <a:cubicBezTo>
                        <a:pt x="7706" y="1633"/>
                        <a:pt x="10631" y="-464"/>
                        <a:pt x="11182" y="88"/>
                      </a:cubicBezTo>
                      <a:cubicBezTo>
                        <a:pt x="11734" y="640"/>
                        <a:pt x="9692" y="3620"/>
                        <a:pt x="6657" y="6711"/>
                      </a:cubicBezTo>
                      <a:cubicBezTo>
                        <a:pt x="3622" y="9801"/>
                        <a:pt x="697" y="11898"/>
                        <a:pt x="90" y="11346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4" name="Freeform: Shape 843">
                  <a:extLst>
                    <a:ext uri="{FF2B5EF4-FFF2-40B4-BE49-F238E27FC236}">
                      <a16:creationId xmlns:a16="http://schemas.microsoft.com/office/drawing/2014/main" id="{DC31C397-0B01-4469-8B1E-75053A1CE931}"/>
                    </a:ext>
                  </a:extLst>
                </p:cNvPr>
                <p:cNvSpPr/>
                <p:nvPr/>
              </p:nvSpPr>
              <p:spPr>
                <a:xfrm>
                  <a:off x="7753307" y="-670551"/>
                  <a:ext cx="3925" cy="18328"/>
                </a:xfrm>
                <a:custGeom>
                  <a:avLst/>
                  <a:gdLst>
                    <a:gd name="connsiteX0" fmla="*/ 586 w 3925"/>
                    <a:gd name="connsiteY0" fmla="*/ 18327 h 18328"/>
                    <a:gd name="connsiteX1" fmla="*/ 531 w 3925"/>
                    <a:gd name="connsiteY1" fmla="*/ 8945 h 18328"/>
                    <a:gd name="connsiteX2" fmla="*/ 3346 w 3925"/>
                    <a:gd name="connsiteY2" fmla="*/ 5 h 18328"/>
                    <a:gd name="connsiteX3" fmla="*/ 3346 w 3925"/>
                    <a:gd name="connsiteY3" fmla="*/ 9387 h 18328"/>
                    <a:gd name="connsiteX4" fmla="*/ 586 w 3925"/>
                    <a:gd name="connsiteY4" fmla="*/ 18327 h 183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25" h="18328">
                      <a:moveTo>
                        <a:pt x="586" y="18327"/>
                      </a:moveTo>
                      <a:cubicBezTo>
                        <a:pt x="-186" y="18216"/>
                        <a:pt x="-186" y="14022"/>
                        <a:pt x="531" y="8945"/>
                      </a:cubicBezTo>
                      <a:cubicBezTo>
                        <a:pt x="1304" y="3868"/>
                        <a:pt x="2573" y="-161"/>
                        <a:pt x="3346" y="5"/>
                      </a:cubicBezTo>
                      <a:cubicBezTo>
                        <a:pt x="4118" y="115"/>
                        <a:pt x="4118" y="4309"/>
                        <a:pt x="3346" y="9387"/>
                      </a:cubicBezTo>
                      <a:cubicBezTo>
                        <a:pt x="2628" y="14408"/>
                        <a:pt x="1359" y="18437"/>
                        <a:pt x="586" y="18327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5" name="Freeform: Shape 844">
                  <a:extLst>
                    <a:ext uri="{FF2B5EF4-FFF2-40B4-BE49-F238E27FC236}">
                      <a16:creationId xmlns:a16="http://schemas.microsoft.com/office/drawing/2014/main" id="{38F336C1-E2D8-41B1-96C5-50840763603C}"/>
                    </a:ext>
                  </a:extLst>
                </p:cNvPr>
                <p:cNvSpPr/>
                <p:nvPr/>
              </p:nvSpPr>
              <p:spPr>
                <a:xfrm>
                  <a:off x="7702400" y="-630903"/>
                  <a:ext cx="8674" cy="14198"/>
                </a:xfrm>
                <a:custGeom>
                  <a:avLst/>
                  <a:gdLst>
                    <a:gd name="connsiteX0" fmla="*/ 8504 w 8674"/>
                    <a:gd name="connsiteY0" fmla="*/ 14163 h 14198"/>
                    <a:gd name="connsiteX1" fmla="*/ 3096 w 8674"/>
                    <a:gd name="connsiteY1" fmla="*/ 7817 h 14198"/>
                    <a:gd name="connsiteX2" fmla="*/ 171 w 8674"/>
                    <a:gd name="connsiteY2" fmla="*/ 35 h 14198"/>
                    <a:gd name="connsiteX3" fmla="*/ 5579 w 8674"/>
                    <a:gd name="connsiteY3" fmla="*/ 6382 h 14198"/>
                    <a:gd name="connsiteX4" fmla="*/ 8504 w 8674"/>
                    <a:gd name="connsiteY4" fmla="*/ 14163 h 14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74" h="14198">
                      <a:moveTo>
                        <a:pt x="8504" y="14163"/>
                      </a:moveTo>
                      <a:cubicBezTo>
                        <a:pt x="7841" y="14549"/>
                        <a:pt x="5413" y="11735"/>
                        <a:pt x="3096" y="7817"/>
                      </a:cubicBezTo>
                      <a:cubicBezTo>
                        <a:pt x="833" y="3899"/>
                        <a:pt x="-491" y="422"/>
                        <a:pt x="171" y="35"/>
                      </a:cubicBezTo>
                      <a:cubicBezTo>
                        <a:pt x="833" y="-351"/>
                        <a:pt x="3261" y="2464"/>
                        <a:pt x="5579" y="6382"/>
                      </a:cubicBezTo>
                      <a:cubicBezTo>
                        <a:pt x="7841" y="10245"/>
                        <a:pt x="9166" y="13722"/>
                        <a:pt x="8504" y="14163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6" name="Freeform: Shape 845">
                  <a:extLst>
                    <a:ext uri="{FF2B5EF4-FFF2-40B4-BE49-F238E27FC236}">
                      <a16:creationId xmlns:a16="http://schemas.microsoft.com/office/drawing/2014/main" id="{5F54BF0B-8C09-4556-812E-ACF2B1874441}"/>
                    </a:ext>
                  </a:extLst>
                </p:cNvPr>
                <p:cNvSpPr/>
                <p:nvPr/>
              </p:nvSpPr>
              <p:spPr>
                <a:xfrm>
                  <a:off x="7800204" y="-572107"/>
                  <a:ext cx="14329" cy="10470"/>
                </a:xfrm>
                <a:custGeom>
                  <a:avLst/>
                  <a:gdLst>
                    <a:gd name="connsiteX0" fmla="*/ 14284 w 14329"/>
                    <a:gd name="connsiteY0" fmla="*/ 122 h 10470"/>
                    <a:gd name="connsiteX1" fmla="*/ 7992 w 14329"/>
                    <a:gd name="connsiteY1" fmla="*/ 6413 h 10470"/>
                    <a:gd name="connsiteX2" fmla="*/ 46 w 14329"/>
                    <a:gd name="connsiteY2" fmla="*/ 10332 h 10470"/>
                    <a:gd name="connsiteX3" fmla="*/ 6337 w 14329"/>
                    <a:gd name="connsiteY3" fmla="*/ 4040 h 10470"/>
                    <a:gd name="connsiteX4" fmla="*/ 14284 w 14329"/>
                    <a:gd name="connsiteY4" fmla="*/ 122 h 10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329" h="10470">
                      <a:moveTo>
                        <a:pt x="14284" y="122"/>
                      </a:moveTo>
                      <a:cubicBezTo>
                        <a:pt x="14725" y="784"/>
                        <a:pt x="11911" y="3599"/>
                        <a:pt x="7992" y="6413"/>
                      </a:cubicBezTo>
                      <a:cubicBezTo>
                        <a:pt x="4074" y="9228"/>
                        <a:pt x="487" y="10994"/>
                        <a:pt x="46" y="10332"/>
                      </a:cubicBezTo>
                      <a:cubicBezTo>
                        <a:pt x="-396" y="9669"/>
                        <a:pt x="2419" y="6855"/>
                        <a:pt x="6337" y="4040"/>
                      </a:cubicBezTo>
                      <a:cubicBezTo>
                        <a:pt x="10255" y="1226"/>
                        <a:pt x="13842" y="-485"/>
                        <a:pt x="14284" y="122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7" name="Freeform: Shape 846">
                  <a:extLst>
                    <a:ext uri="{FF2B5EF4-FFF2-40B4-BE49-F238E27FC236}">
                      <a16:creationId xmlns:a16="http://schemas.microsoft.com/office/drawing/2014/main" id="{7B99C26A-4F6A-4DAE-85C9-799EA3A839E1}"/>
                    </a:ext>
                  </a:extLst>
                </p:cNvPr>
                <p:cNvSpPr/>
                <p:nvPr/>
              </p:nvSpPr>
              <p:spPr>
                <a:xfrm>
                  <a:off x="7727892" y="-534242"/>
                  <a:ext cx="3881" cy="20385"/>
                </a:xfrm>
                <a:custGeom>
                  <a:avLst/>
                  <a:gdLst>
                    <a:gd name="connsiteX0" fmla="*/ 285 w 3881"/>
                    <a:gd name="connsiteY0" fmla="*/ 20368 h 20385"/>
                    <a:gd name="connsiteX1" fmla="*/ 948 w 3881"/>
                    <a:gd name="connsiteY1" fmla="*/ 10158 h 20385"/>
                    <a:gd name="connsiteX2" fmla="*/ 2051 w 3881"/>
                    <a:gd name="connsiteY2" fmla="*/ 4 h 20385"/>
                    <a:gd name="connsiteX3" fmla="*/ 3762 w 3881"/>
                    <a:gd name="connsiteY3" fmla="*/ 10434 h 20385"/>
                    <a:gd name="connsiteX4" fmla="*/ 285 w 3881"/>
                    <a:gd name="connsiteY4" fmla="*/ 20368 h 20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81" h="20385">
                      <a:moveTo>
                        <a:pt x="285" y="20368"/>
                      </a:moveTo>
                      <a:cubicBezTo>
                        <a:pt x="-487" y="20092"/>
                        <a:pt x="506" y="15622"/>
                        <a:pt x="948" y="10158"/>
                      </a:cubicBezTo>
                      <a:cubicBezTo>
                        <a:pt x="1444" y="4695"/>
                        <a:pt x="1279" y="115"/>
                        <a:pt x="2051" y="4"/>
                      </a:cubicBezTo>
                      <a:cubicBezTo>
                        <a:pt x="2824" y="-161"/>
                        <a:pt x="4314" y="4530"/>
                        <a:pt x="3762" y="10434"/>
                      </a:cubicBezTo>
                      <a:cubicBezTo>
                        <a:pt x="3321" y="16339"/>
                        <a:pt x="1003" y="20699"/>
                        <a:pt x="285" y="2036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8" name="Freeform: Shape 847">
                  <a:extLst>
                    <a:ext uri="{FF2B5EF4-FFF2-40B4-BE49-F238E27FC236}">
                      <a16:creationId xmlns:a16="http://schemas.microsoft.com/office/drawing/2014/main" id="{D5ED298E-9209-45B0-B527-7DF4CA84D79D}"/>
                    </a:ext>
                  </a:extLst>
                </p:cNvPr>
                <p:cNvSpPr/>
                <p:nvPr/>
              </p:nvSpPr>
              <p:spPr>
                <a:xfrm>
                  <a:off x="7754385" y="-440668"/>
                  <a:ext cx="8430" cy="10313"/>
                </a:xfrm>
                <a:custGeom>
                  <a:avLst/>
                  <a:gdLst>
                    <a:gd name="connsiteX0" fmla="*/ 8283 w 8430"/>
                    <a:gd name="connsiteY0" fmla="*/ 10234 h 10313"/>
                    <a:gd name="connsiteX1" fmla="*/ 3096 w 8430"/>
                    <a:gd name="connsiteY1" fmla="*/ 6040 h 10313"/>
                    <a:gd name="connsiteX2" fmla="*/ 171 w 8430"/>
                    <a:gd name="connsiteY2" fmla="*/ 80 h 10313"/>
                    <a:gd name="connsiteX3" fmla="*/ 5358 w 8430"/>
                    <a:gd name="connsiteY3" fmla="*/ 4274 h 10313"/>
                    <a:gd name="connsiteX4" fmla="*/ 8283 w 8430"/>
                    <a:gd name="connsiteY4" fmla="*/ 10234 h 10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30" h="10313">
                      <a:moveTo>
                        <a:pt x="8283" y="10234"/>
                      </a:moveTo>
                      <a:cubicBezTo>
                        <a:pt x="7676" y="10730"/>
                        <a:pt x="5358" y="8854"/>
                        <a:pt x="3096" y="6040"/>
                      </a:cubicBezTo>
                      <a:cubicBezTo>
                        <a:pt x="833" y="3225"/>
                        <a:pt x="-491" y="576"/>
                        <a:pt x="171" y="80"/>
                      </a:cubicBezTo>
                      <a:cubicBezTo>
                        <a:pt x="778" y="-417"/>
                        <a:pt x="3096" y="1459"/>
                        <a:pt x="5358" y="4274"/>
                      </a:cubicBezTo>
                      <a:cubicBezTo>
                        <a:pt x="7566" y="7033"/>
                        <a:pt x="8890" y="9737"/>
                        <a:pt x="8283" y="10234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9" name="Freeform: Shape 848">
                  <a:extLst>
                    <a:ext uri="{FF2B5EF4-FFF2-40B4-BE49-F238E27FC236}">
                      <a16:creationId xmlns:a16="http://schemas.microsoft.com/office/drawing/2014/main" id="{0B25F01F-7FC4-4FA6-AEC5-B11A5957732D}"/>
                    </a:ext>
                  </a:extLst>
                </p:cNvPr>
                <p:cNvSpPr/>
                <p:nvPr/>
              </p:nvSpPr>
              <p:spPr>
                <a:xfrm>
                  <a:off x="7713646" y="-390796"/>
                  <a:ext cx="11457" cy="16359"/>
                </a:xfrm>
                <a:custGeom>
                  <a:avLst/>
                  <a:gdLst>
                    <a:gd name="connsiteX0" fmla="*/ 11330 w 11457"/>
                    <a:gd name="connsiteY0" fmla="*/ 16320 h 16359"/>
                    <a:gd name="connsiteX1" fmla="*/ 4542 w 11457"/>
                    <a:gd name="connsiteY1" fmla="*/ 8980 h 16359"/>
                    <a:gd name="connsiteX2" fmla="*/ 127 w 11457"/>
                    <a:gd name="connsiteY2" fmla="*/ 40 h 16359"/>
                    <a:gd name="connsiteX3" fmla="*/ 6915 w 11457"/>
                    <a:gd name="connsiteY3" fmla="*/ 7380 h 16359"/>
                    <a:gd name="connsiteX4" fmla="*/ 11330 w 11457"/>
                    <a:gd name="connsiteY4" fmla="*/ 16320 h 16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57" h="16359">
                      <a:moveTo>
                        <a:pt x="11330" y="16320"/>
                      </a:moveTo>
                      <a:cubicBezTo>
                        <a:pt x="10668" y="16761"/>
                        <a:pt x="7633" y="13505"/>
                        <a:pt x="4542" y="8980"/>
                      </a:cubicBezTo>
                      <a:cubicBezTo>
                        <a:pt x="1452" y="4455"/>
                        <a:pt x="-535" y="481"/>
                        <a:pt x="127" y="40"/>
                      </a:cubicBezTo>
                      <a:cubicBezTo>
                        <a:pt x="790" y="-401"/>
                        <a:pt x="3825" y="2855"/>
                        <a:pt x="6915" y="7380"/>
                      </a:cubicBezTo>
                      <a:cubicBezTo>
                        <a:pt x="10006" y="11850"/>
                        <a:pt x="11992" y="15878"/>
                        <a:pt x="11330" y="16320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0" name="Freeform: Shape 849">
                  <a:extLst>
                    <a:ext uri="{FF2B5EF4-FFF2-40B4-BE49-F238E27FC236}">
                      <a16:creationId xmlns:a16="http://schemas.microsoft.com/office/drawing/2014/main" id="{AA353CDC-4F60-477C-B60B-3BB3F3CB7211}"/>
                    </a:ext>
                  </a:extLst>
                </p:cNvPr>
                <p:cNvSpPr/>
                <p:nvPr/>
              </p:nvSpPr>
              <p:spPr>
                <a:xfrm>
                  <a:off x="7828281" y="-452925"/>
                  <a:ext cx="4034" cy="8241"/>
                </a:xfrm>
                <a:custGeom>
                  <a:avLst/>
                  <a:gdLst>
                    <a:gd name="connsiteX0" fmla="*/ 500 w 4034"/>
                    <a:gd name="connsiteY0" fmla="*/ 8198 h 8241"/>
                    <a:gd name="connsiteX1" fmla="*/ 665 w 4034"/>
                    <a:gd name="connsiteY1" fmla="*/ 3618 h 8241"/>
                    <a:gd name="connsiteX2" fmla="*/ 3535 w 4034"/>
                    <a:gd name="connsiteY2" fmla="*/ 31 h 8241"/>
                    <a:gd name="connsiteX3" fmla="*/ 3369 w 4034"/>
                    <a:gd name="connsiteY3" fmla="*/ 4611 h 8241"/>
                    <a:gd name="connsiteX4" fmla="*/ 500 w 4034"/>
                    <a:gd name="connsiteY4" fmla="*/ 8198 h 8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34" h="8241">
                      <a:moveTo>
                        <a:pt x="500" y="8198"/>
                      </a:moveTo>
                      <a:cubicBezTo>
                        <a:pt x="-218" y="7922"/>
                        <a:pt x="-163" y="5881"/>
                        <a:pt x="665" y="3618"/>
                      </a:cubicBezTo>
                      <a:cubicBezTo>
                        <a:pt x="1493" y="1355"/>
                        <a:pt x="2817" y="-245"/>
                        <a:pt x="3535" y="31"/>
                      </a:cubicBezTo>
                      <a:cubicBezTo>
                        <a:pt x="4252" y="307"/>
                        <a:pt x="4197" y="2349"/>
                        <a:pt x="3369" y="4611"/>
                      </a:cubicBezTo>
                      <a:cubicBezTo>
                        <a:pt x="2541" y="6929"/>
                        <a:pt x="1272" y="8530"/>
                        <a:pt x="500" y="819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1" name="Freeform: Shape 850">
                  <a:extLst>
                    <a:ext uri="{FF2B5EF4-FFF2-40B4-BE49-F238E27FC236}">
                      <a16:creationId xmlns:a16="http://schemas.microsoft.com/office/drawing/2014/main" id="{B39822F8-6D30-4EE2-9852-CFF5E2A62CE2}"/>
                    </a:ext>
                  </a:extLst>
                </p:cNvPr>
                <p:cNvSpPr/>
                <p:nvPr/>
              </p:nvSpPr>
              <p:spPr>
                <a:xfrm>
                  <a:off x="7782778" y="-329721"/>
                  <a:ext cx="5267" cy="18350"/>
                </a:xfrm>
                <a:custGeom>
                  <a:avLst/>
                  <a:gdLst>
                    <a:gd name="connsiteX0" fmla="*/ 199 w 5267"/>
                    <a:gd name="connsiteY0" fmla="*/ 18322 h 18350"/>
                    <a:gd name="connsiteX1" fmla="*/ 1909 w 5267"/>
                    <a:gd name="connsiteY1" fmla="*/ 9106 h 18350"/>
                    <a:gd name="connsiteX2" fmla="*/ 4227 w 5267"/>
                    <a:gd name="connsiteY2" fmla="*/ 1 h 18350"/>
                    <a:gd name="connsiteX3" fmla="*/ 4669 w 5267"/>
                    <a:gd name="connsiteY3" fmla="*/ 9713 h 18350"/>
                    <a:gd name="connsiteX4" fmla="*/ 199 w 5267"/>
                    <a:gd name="connsiteY4" fmla="*/ 18322 h 18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67" h="18350">
                      <a:moveTo>
                        <a:pt x="199" y="18322"/>
                      </a:moveTo>
                      <a:cubicBezTo>
                        <a:pt x="-519" y="17936"/>
                        <a:pt x="861" y="14018"/>
                        <a:pt x="1909" y="9106"/>
                      </a:cubicBezTo>
                      <a:cubicBezTo>
                        <a:pt x="3013" y="4195"/>
                        <a:pt x="3454" y="56"/>
                        <a:pt x="4227" y="1"/>
                      </a:cubicBezTo>
                      <a:cubicBezTo>
                        <a:pt x="5000" y="-55"/>
                        <a:pt x="5883" y="4360"/>
                        <a:pt x="4669" y="9713"/>
                      </a:cubicBezTo>
                      <a:cubicBezTo>
                        <a:pt x="3565" y="15066"/>
                        <a:pt x="861" y="18708"/>
                        <a:pt x="199" y="18322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2" name="Freeform: Shape 851">
                  <a:extLst>
                    <a:ext uri="{FF2B5EF4-FFF2-40B4-BE49-F238E27FC236}">
                      <a16:creationId xmlns:a16="http://schemas.microsoft.com/office/drawing/2014/main" id="{0460AB1C-0F15-4661-A2DC-862EFE9DBDA9}"/>
                    </a:ext>
                  </a:extLst>
                </p:cNvPr>
                <p:cNvSpPr/>
                <p:nvPr/>
              </p:nvSpPr>
              <p:spPr>
                <a:xfrm>
                  <a:off x="7807232" y="-1175472"/>
                  <a:ext cx="5847" cy="11213"/>
                </a:xfrm>
                <a:custGeom>
                  <a:avLst/>
                  <a:gdLst>
                    <a:gd name="connsiteX0" fmla="*/ 5545 w 5847"/>
                    <a:gd name="connsiteY0" fmla="*/ 11180 h 11213"/>
                    <a:gd name="connsiteX1" fmla="*/ 1627 w 5847"/>
                    <a:gd name="connsiteY1" fmla="*/ 6214 h 11213"/>
                    <a:gd name="connsiteX2" fmla="*/ 302 w 5847"/>
                    <a:gd name="connsiteY2" fmla="*/ 33 h 11213"/>
                    <a:gd name="connsiteX3" fmla="*/ 4220 w 5847"/>
                    <a:gd name="connsiteY3" fmla="*/ 5000 h 11213"/>
                    <a:gd name="connsiteX4" fmla="*/ 5545 w 5847"/>
                    <a:gd name="connsiteY4" fmla="*/ 11180 h 11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7" h="11213">
                      <a:moveTo>
                        <a:pt x="5545" y="11180"/>
                      </a:moveTo>
                      <a:cubicBezTo>
                        <a:pt x="4827" y="11511"/>
                        <a:pt x="3061" y="9304"/>
                        <a:pt x="1627" y="6214"/>
                      </a:cubicBezTo>
                      <a:cubicBezTo>
                        <a:pt x="192" y="3123"/>
                        <a:pt x="-415" y="364"/>
                        <a:pt x="302" y="33"/>
                      </a:cubicBezTo>
                      <a:cubicBezTo>
                        <a:pt x="1020" y="-298"/>
                        <a:pt x="2786" y="1909"/>
                        <a:pt x="4220" y="5000"/>
                      </a:cubicBezTo>
                      <a:cubicBezTo>
                        <a:pt x="5655" y="8090"/>
                        <a:pt x="6262" y="10849"/>
                        <a:pt x="5545" y="11180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3" name="Freeform: Shape 852">
                  <a:extLst>
                    <a:ext uri="{FF2B5EF4-FFF2-40B4-BE49-F238E27FC236}">
                      <a16:creationId xmlns:a16="http://schemas.microsoft.com/office/drawing/2014/main" id="{3B529E20-2401-48FC-AEE8-9526BA9D5D4E}"/>
                    </a:ext>
                  </a:extLst>
                </p:cNvPr>
                <p:cNvSpPr/>
                <p:nvPr/>
              </p:nvSpPr>
              <p:spPr>
                <a:xfrm>
                  <a:off x="7720761" y="-1336272"/>
                  <a:ext cx="15452" cy="16437"/>
                </a:xfrm>
                <a:custGeom>
                  <a:avLst/>
                  <a:gdLst>
                    <a:gd name="connsiteX0" fmla="*/ 15418 w 15452"/>
                    <a:gd name="connsiteY0" fmla="*/ 133 h 16437"/>
                    <a:gd name="connsiteX1" fmla="*/ 7858 w 15452"/>
                    <a:gd name="connsiteY1" fmla="*/ 8355 h 16437"/>
                    <a:gd name="connsiteX2" fmla="*/ 132 w 15452"/>
                    <a:gd name="connsiteY2" fmla="*/ 16412 h 16437"/>
                    <a:gd name="connsiteX3" fmla="*/ 5761 w 15452"/>
                    <a:gd name="connsiteY3" fmla="*/ 6369 h 16437"/>
                    <a:gd name="connsiteX4" fmla="*/ 15418 w 15452"/>
                    <a:gd name="connsiteY4" fmla="*/ 133 h 16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452" h="16437">
                      <a:moveTo>
                        <a:pt x="15418" y="133"/>
                      </a:moveTo>
                      <a:cubicBezTo>
                        <a:pt x="15860" y="850"/>
                        <a:pt x="11997" y="3940"/>
                        <a:pt x="7858" y="8355"/>
                      </a:cubicBezTo>
                      <a:cubicBezTo>
                        <a:pt x="3719" y="12715"/>
                        <a:pt x="849" y="16799"/>
                        <a:pt x="132" y="16412"/>
                      </a:cubicBezTo>
                      <a:cubicBezTo>
                        <a:pt x="-530" y="16081"/>
                        <a:pt x="1291" y="11115"/>
                        <a:pt x="5761" y="6369"/>
                      </a:cubicBezTo>
                      <a:cubicBezTo>
                        <a:pt x="10176" y="1623"/>
                        <a:pt x="15032" y="-585"/>
                        <a:pt x="15418" y="133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4" name="Freeform: Shape 853">
                  <a:extLst>
                    <a:ext uri="{FF2B5EF4-FFF2-40B4-BE49-F238E27FC236}">
                      <a16:creationId xmlns:a16="http://schemas.microsoft.com/office/drawing/2014/main" id="{42AAAFD1-BF0B-44E2-8B6D-E18CD6A68F6F}"/>
                    </a:ext>
                  </a:extLst>
                </p:cNvPr>
                <p:cNvSpPr/>
                <p:nvPr/>
              </p:nvSpPr>
              <p:spPr>
                <a:xfrm>
                  <a:off x="7797151" y="-1352497"/>
                  <a:ext cx="7653" cy="14321"/>
                </a:xfrm>
                <a:custGeom>
                  <a:avLst/>
                  <a:gdLst>
                    <a:gd name="connsiteX0" fmla="*/ 7238 w 7653"/>
                    <a:gd name="connsiteY0" fmla="*/ 14316 h 14321"/>
                    <a:gd name="connsiteX1" fmla="*/ 3209 w 7653"/>
                    <a:gd name="connsiteY1" fmla="*/ 7417 h 14321"/>
                    <a:gd name="connsiteX2" fmla="*/ 119 w 7653"/>
                    <a:gd name="connsiteY2" fmla="*/ 78 h 14321"/>
                    <a:gd name="connsiteX3" fmla="*/ 5803 w 7653"/>
                    <a:gd name="connsiteY3" fmla="*/ 6148 h 14321"/>
                    <a:gd name="connsiteX4" fmla="*/ 7238 w 7653"/>
                    <a:gd name="connsiteY4" fmla="*/ 14316 h 14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53" h="14321">
                      <a:moveTo>
                        <a:pt x="7238" y="14316"/>
                      </a:moveTo>
                      <a:cubicBezTo>
                        <a:pt x="6465" y="14481"/>
                        <a:pt x="5141" y="11225"/>
                        <a:pt x="3209" y="7417"/>
                      </a:cubicBezTo>
                      <a:cubicBezTo>
                        <a:pt x="1333" y="3609"/>
                        <a:pt x="-488" y="630"/>
                        <a:pt x="119" y="78"/>
                      </a:cubicBezTo>
                      <a:cubicBezTo>
                        <a:pt x="671" y="-474"/>
                        <a:pt x="3706" y="1954"/>
                        <a:pt x="5803" y="6148"/>
                      </a:cubicBezTo>
                      <a:cubicBezTo>
                        <a:pt x="7900" y="10287"/>
                        <a:pt x="7955" y="14150"/>
                        <a:pt x="7238" y="14316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5" name="Freeform: Shape 854">
                  <a:extLst>
                    <a:ext uri="{FF2B5EF4-FFF2-40B4-BE49-F238E27FC236}">
                      <a16:creationId xmlns:a16="http://schemas.microsoft.com/office/drawing/2014/main" id="{EEB3CC7E-24B4-4CD5-A2F4-C44BDBF86FF4}"/>
                    </a:ext>
                  </a:extLst>
                </p:cNvPr>
                <p:cNvSpPr/>
                <p:nvPr/>
              </p:nvSpPr>
              <p:spPr>
                <a:xfrm>
                  <a:off x="7591648" y="-1297416"/>
                  <a:ext cx="6623" cy="15319"/>
                </a:xfrm>
                <a:custGeom>
                  <a:avLst/>
                  <a:gdLst>
                    <a:gd name="connsiteX0" fmla="*/ 276 w 6623"/>
                    <a:gd name="connsiteY0" fmla="*/ 15303 h 15319"/>
                    <a:gd name="connsiteX1" fmla="*/ 1987 w 6623"/>
                    <a:gd name="connsiteY1" fmla="*/ 7136 h 15319"/>
                    <a:gd name="connsiteX2" fmla="*/ 6347 w 6623"/>
                    <a:gd name="connsiteY2" fmla="*/ 17 h 15319"/>
                    <a:gd name="connsiteX3" fmla="*/ 4636 w 6623"/>
                    <a:gd name="connsiteY3" fmla="*/ 8184 h 15319"/>
                    <a:gd name="connsiteX4" fmla="*/ 276 w 6623"/>
                    <a:gd name="connsiteY4" fmla="*/ 15303 h 15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23" h="15319">
                      <a:moveTo>
                        <a:pt x="276" y="15303"/>
                      </a:moveTo>
                      <a:cubicBezTo>
                        <a:pt x="-441" y="15027"/>
                        <a:pt x="276" y="11330"/>
                        <a:pt x="1987" y="7136"/>
                      </a:cubicBezTo>
                      <a:cubicBezTo>
                        <a:pt x="3643" y="2887"/>
                        <a:pt x="5629" y="-259"/>
                        <a:pt x="6347" y="17"/>
                      </a:cubicBezTo>
                      <a:cubicBezTo>
                        <a:pt x="7064" y="293"/>
                        <a:pt x="6347" y="3990"/>
                        <a:pt x="4636" y="8184"/>
                      </a:cubicBezTo>
                      <a:cubicBezTo>
                        <a:pt x="2981" y="12378"/>
                        <a:pt x="1049" y="15579"/>
                        <a:pt x="276" y="15303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6" name="Freeform: Shape 855">
                  <a:extLst>
                    <a:ext uri="{FF2B5EF4-FFF2-40B4-BE49-F238E27FC236}">
                      <a16:creationId xmlns:a16="http://schemas.microsoft.com/office/drawing/2014/main" id="{892451A8-C358-4CC0-8F89-EC6193E273E5}"/>
                    </a:ext>
                  </a:extLst>
                </p:cNvPr>
                <p:cNvSpPr/>
                <p:nvPr/>
              </p:nvSpPr>
              <p:spPr>
                <a:xfrm>
                  <a:off x="7586559" y="-1209056"/>
                  <a:ext cx="12329" cy="10392"/>
                </a:xfrm>
                <a:custGeom>
                  <a:avLst/>
                  <a:gdLst>
                    <a:gd name="connsiteX0" fmla="*/ 12263 w 12329"/>
                    <a:gd name="connsiteY0" fmla="*/ 10274 h 10392"/>
                    <a:gd name="connsiteX1" fmla="*/ 5254 w 12329"/>
                    <a:gd name="connsiteY1" fmla="*/ 6300 h 10392"/>
                    <a:gd name="connsiteX2" fmla="*/ 67 w 12329"/>
                    <a:gd name="connsiteY2" fmla="*/ 119 h 10392"/>
                    <a:gd name="connsiteX3" fmla="*/ 7076 w 12329"/>
                    <a:gd name="connsiteY3" fmla="*/ 4093 h 10392"/>
                    <a:gd name="connsiteX4" fmla="*/ 12263 w 12329"/>
                    <a:gd name="connsiteY4" fmla="*/ 10274 h 10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29" h="10392">
                      <a:moveTo>
                        <a:pt x="12263" y="10274"/>
                      </a:moveTo>
                      <a:cubicBezTo>
                        <a:pt x="11766" y="10881"/>
                        <a:pt x="8621" y="9115"/>
                        <a:pt x="5254" y="6300"/>
                      </a:cubicBezTo>
                      <a:cubicBezTo>
                        <a:pt x="1888" y="3486"/>
                        <a:pt x="-430" y="727"/>
                        <a:pt x="67" y="119"/>
                      </a:cubicBezTo>
                      <a:cubicBezTo>
                        <a:pt x="564" y="-488"/>
                        <a:pt x="3709" y="1278"/>
                        <a:pt x="7076" y="4093"/>
                      </a:cubicBezTo>
                      <a:cubicBezTo>
                        <a:pt x="10442" y="6907"/>
                        <a:pt x="12760" y="9667"/>
                        <a:pt x="12263" y="10274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7" name="Freeform: Shape 856">
                  <a:extLst>
                    <a:ext uri="{FF2B5EF4-FFF2-40B4-BE49-F238E27FC236}">
                      <a16:creationId xmlns:a16="http://schemas.microsoft.com/office/drawing/2014/main" id="{604AA4F3-57DC-4E73-A918-5A7E2FD7F633}"/>
                    </a:ext>
                  </a:extLst>
                </p:cNvPr>
                <p:cNvSpPr/>
                <p:nvPr/>
              </p:nvSpPr>
              <p:spPr>
                <a:xfrm>
                  <a:off x="7733757" y="-1412541"/>
                  <a:ext cx="4857" cy="10259"/>
                </a:xfrm>
                <a:custGeom>
                  <a:avLst/>
                  <a:gdLst>
                    <a:gd name="connsiteX0" fmla="*/ 4464 w 4857"/>
                    <a:gd name="connsiteY0" fmla="*/ 10234 h 10259"/>
                    <a:gd name="connsiteX1" fmla="*/ 1097 w 4857"/>
                    <a:gd name="connsiteY1" fmla="*/ 5654 h 10259"/>
                    <a:gd name="connsiteX2" fmla="*/ 380 w 4857"/>
                    <a:gd name="connsiteY2" fmla="*/ 25 h 10259"/>
                    <a:gd name="connsiteX3" fmla="*/ 3746 w 4857"/>
                    <a:gd name="connsiteY3" fmla="*/ 4605 h 10259"/>
                    <a:gd name="connsiteX4" fmla="*/ 4464 w 4857"/>
                    <a:gd name="connsiteY4" fmla="*/ 10234 h 10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57" h="10259">
                      <a:moveTo>
                        <a:pt x="4464" y="10234"/>
                      </a:moveTo>
                      <a:cubicBezTo>
                        <a:pt x="3746" y="10510"/>
                        <a:pt x="2201" y="8468"/>
                        <a:pt x="1097" y="5654"/>
                      </a:cubicBezTo>
                      <a:cubicBezTo>
                        <a:pt x="-6" y="2839"/>
                        <a:pt x="-337" y="301"/>
                        <a:pt x="380" y="25"/>
                      </a:cubicBezTo>
                      <a:cubicBezTo>
                        <a:pt x="1097" y="-251"/>
                        <a:pt x="2643" y="1791"/>
                        <a:pt x="3746" y="4605"/>
                      </a:cubicBezTo>
                      <a:cubicBezTo>
                        <a:pt x="4905" y="7420"/>
                        <a:pt x="5181" y="9958"/>
                        <a:pt x="4464" y="10234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8" name="Freeform: Shape 857">
                  <a:extLst>
                    <a:ext uri="{FF2B5EF4-FFF2-40B4-BE49-F238E27FC236}">
                      <a16:creationId xmlns:a16="http://schemas.microsoft.com/office/drawing/2014/main" id="{F4E8134C-E8BD-4DE9-BA17-AF9610A5D550}"/>
                    </a:ext>
                  </a:extLst>
                </p:cNvPr>
                <p:cNvSpPr/>
                <p:nvPr/>
              </p:nvSpPr>
              <p:spPr>
                <a:xfrm>
                  <a:off x="7871174" y="-1375825"/>
                  <a:ext cx="4227" cy="14250"/>
                </a:xfrm>
                <a:custGeom>
                  <a:avLst/>
                  <a:gdLst>
                    <a:gd name="connsiteX0" fmla="*/ 541 w 4227"/>
                    <a:gd name="connsiteY0" fmla="*/ 14244 h 14250"/>
                    <a:gd name="connsiteX1" fmla="*/ 706 w 4227"/>
                    <a:gd name="connsiteY1" fmla="*/ 6794 h 14250"/>
                    <a:gd name="connsiteX2" fmla="*/ 3686 w 4227"/>
                    <a:gd name="connsiteY2" fmla="*/ 6 h 14250"/>
                    <a:gd name="connsiteX3" fmla="*/ 3521 w 4227"/>
                    <a:gd name="connsiteY3" fmla="*/ 7456 h 14250"/>
                    <a:gd name="connsiteX4" fmla="*/ 541 w 4227"/>
                    <a:gd name="connsiteY4" fmla="*/ 14244 h 14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27" h="14250">
                      <a:moveTo>
                        <a:pt x="541" y="14244"/>
                      </a:moveTo>
                      <a:cubicBezTo>
                        <a:pt x="-232" y="14079"/>
                        <a:pt x="-177" y="10768"/>
                        <a:pt x="706" y="6794"/>
                      </a:cubicBezTo>
                      <a:cubicBezTo>
                        <a:pt x="1589" y="2876"/>
                        <a:pt x="2914" y="-159"/>
                        <a:pt x="3686" y="6"/>
                      </a:cubicBezTo>
                      <a:cubicBezTo>
                        <a:pt x="4459" y="172"/>
                        <a:pt x="4404" y="3483"/>
                        <a:pt x="3521" y="7456"/>
                      </a:cubicBezTo>
                      <a:cubicBezTo>
                        <a:pt x="2638" y="11375"/>
                        <a:pt x="1313" y="14410"/>
                        <a:pt x="541" y="14244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9" name="Freeform: Shape 858">
                  <a:extLst>
                    <a:ext uri="{FF2B5EF4-FFF2-40B4-BE49-F238E27FC236}">
                      <a16:creationId xmlns:a16="http://schemas.microsoft.com/office/drawing/2014/main" id="{BFBFAA07-B5F9-4BA7-9E91-5BD068ADBB1D}"/>
                    </a:ext>
                  </a:extLst>
                </p:cNvPr>
                <p:cNvSpPr/>
                <p:nvPr/>
              </p:nvSpPr>
              <p:spPr>
                <a:xfrm>
                  <a:off x="7902827" y="-1315846"/>
                  <a:ext cx="7585" cy="17358"/>
                </a:xfrm>
                <a:custGeom>
                  <a:avLst/>
                  <a:gdLst>
                    <a:gd name="connsiteX0" fmla="*/ 233 w 7585"/>
                    <a:gd name="connsiteY0" fmla="*/ 17343 h 17358"/>
                    <a:gd name="connsiteX1" fmla="*/ 2441 w 7585"/>
                    <a:gd name="connsiteY1" fmla="*/ 8127 h 17358"/>
                    <a:gd name="connsiteX2" fmla="*/ 7352 w 7585"/>
                    <a:gd name="connsiteY2" fmla="*/ 15 h 17358"/>
                    <a:gd name="connsiteX3" fmla="*/ 5145 w 7585"/>
                    <a:gd name="connsiteY3" fmla="*/ 9231 h 17358"/>
                    <a:gd name="connsiteX4" fmla="*/ 233 w 7585"/>
                    <a:gd name="connsiteY4" fmla="*/ 17343 h 17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5" h="17358">
                      <a:moveTo>
                        <a:pt x="233" y="17343"/>
                      </a:moveTo>
                      <a:cubicBezTo>
                        <a:pt x="-484" y="17067"/>
                        <a:pt x="509" y="12928"/>
                        <a:pt x="2441" y="8127"/>
                      </a:cubicBezTo>
                      <a:cubicBezTo>
                        <a:pt x="4427" y="3326"/>
                        <a:pt x="6580" y="-261"/>
                        <a:pt x="7352" y="15"/>
                      </a:cubicBezTo>
                      <a:cubicBezTo>
                        <a:pt x="8070" y="291"/>
                        <a:pt x="7076" y="4430"/>
                        <a:pt x="5145" y="9231"/>
                      </a:cubicBezTo>
                      <a:cubicBezTo>
                        <a:pt x="3158" y="14032"/>
                        <a:pt x="1006" y="17619"/>
                        <a:pt x="233" y="17343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0" name="Freeform: Shape 859">
                  <a:extLst>
                    <a:ext uri="{FF2B5EF4-FFF2-40B4-BE49-F238E27FC236}">
                      <a16:creationId xmlns:a16="http://schemas.microsoft.com/office/drawing/2014/main" id="{BA3B1E29-5BE5-4701-942A-A51016569B18}"/>
                    </a:ext>
                  </a:extLst>
                </p:cNvPr>
                <p:cNvSpPr/>
                <p:nvPr/>
              </p:nvSpPr>
              <p:spPr>
                <a:xfrm>
                  <a:off x="7871369" y="-1265964"/>
                  <a:ext cx="9521" cy="18361"/>
                </a:xfrm>
                <a:custGeom>
                  <a:avLst/>
                  <a:gdLst>
                    <a:gd name="connsiteX0" fmla="*/ 9341 w 9521"/>
                    <a:gd name="connsiteY0" fmla="*/ 18342 h 18361"/>
                    <a:gd name="connsiteX1" fmla="*/ 3491 w 9521"/>
                    <a:gd name="connsiteY1" fmla="*/ 9843 h 18361"/>
                    <a:gd name="connsiteX2" fmla="*/ 180 w 9521"/>
                    <a:gd name="connsiteY2" fmla="*/ 20 h 18361"/>
                    <a:gd name="connsiteX3" fmla="*/ 6030 w 9521"/>
                    <a:gd name="connsiteY3" fmla="*/ 8519 h 18361"/>
                    <a:gd name="connsiteX4" fmla="*/ 9341 w 9521"/>
                    <a:gd name="connsiteY4" fmla="*/ 18342 h 18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21" h="18361">
                      <a:moveTo>
                        <a:pt x="9341" y="18342"/>
                      </a:moveTo>
                      <a:cubicBezTo>
                        <a:pt x="8624" y="18673"/>
                        <a:pt x="6030" y="14865"/>
                        <a:pt x="3491" y="9843"/>
                      </a:cubicBezTo>
                      <a:cubicBezTo>
                        <a:pt x="953" y="4766"/>
                        <a:pt x="-537" y="406"/>
                        <a:pt x="180" y="20"/>
                      </a:cubicBezTo>
                      <a:cubicBezTo>
                        <a:pt x="898" y="-311"/>
                        <a:pt x="3491" y="3497"/>
                        <a:pt x="6030" y="8519"/>
                      </a:cubicBezTo>
                      <a:cubicBezTo>
                        <a:pt x="8568" y="13596"/>
                        <a:pt x="10058" y="17955"/>
                        <a:pt x="9341" y="18342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1" name="Freeform: Shape 860">
                  <a:extLst>
                    <a:ext uri="{FF2B5EF4-FFF2-40B4-BE49-F238E27FC236}">
                      <a16:creationId xmlns:a16="http://schemas.microsoft.com/office/drawing/2014/main" id="{BB02D138-FE4D-40AB-ABA8-15F96B207DD6}"/>
                    </a:ext>
                  </a:extLst>
                </p:cNvPr>
                <p:cNvSpPr/>
                <p:nvPr/>
              </p:nvSpPr>
              <p:spPr>
                <a:xfrm>
                  <a:off x="7928175" y="-1210004"/>
                  <a:ext cx="5727" cy="13282"/>
                </a:xfrm>
                <a:custGeom>
                  <a:avLst/>
                  <a:gdLst>
                    <a:gd name="connsiteX0" fmla="*/ 325 w 5727"/>
                    <a:gd name="connsiteY0" fmla="*/ 13264 h 13282"/>
                    <a:gd name="connsiteX1" fmla="*/ 1540 w 5727"/>
                    <a:gd name="connsiteY1" fmla="*/ 6145 h 13282"/>
                    <a:gd name="connsiteX2" fmla="*/ 5402 w 5727"/>
                    <a:gd name="connsiteY2" fmla="*/ 19 h 13282"/>
                    <a:gd name="connsiteX3" fmla="*/ 4188 w 5727"/>
                    <a:gd name="connsiteY3" fmla="*/ 7138 h 13282"/>
                    <a:gd name="connsiteX4" fmla="*/ 325 w 5727"/>
                    <a:gd name="connsiteY4" fmla="*/ 13264 h 13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27" h="13282">
                      <a:moveTo>
                        <a:pt x="325" y="13264"/>
                      </a:moveTo>
                      <a:cubicBezTo>
                        <a:pt x="-392" y="12988"/>
                        <a:pt x="105" y="9787"/>
                        <a:pt x="1540" y="6145"/>
                      </a:cubicBezTo>
                      <a:cubicBezTo>
                        <a:pt x="2919" y="2502"/>
                        <a:pt x="4685" y="-257"/>
                        <a:pt x="5402" y="19"/>
                      </a:cubicBezTo>
                      <a:cubicBezTo>
                        <a:pt x="6120" y="295"/>
                        <a:pt x="5623" y="3496"/>
                        <a:pt x="4188" y="7138"/>
                      </a:cubicBezTo>
                      <a:cubicBezTo>
                        <a:pt x="2809" y="10836"/>
                        <a:pt x="1098" y="13540"/>
                        <a:pt x="325" y="13264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2" name="Freeform: Shape 861">
                  <a:extLst>
                    <a:ext uri="{FF2B5EF4-FFF2-40B4-BE49-F238E27FC236}">
                      <a16:creationId xmlns:a16="http://schemas.microsoft.com/office/drawing/2014/main" id="{4E258DC5-7183-4D53-B690-4202AAD410BE}"/>
                    </a:ext>
                  </a:extLst>
                </p:cNvPr>
                <p:cNvSpPr/>
                <p:nvPr/>
              </p:nvSpPr>
              <p:spPr>
                <a:xfrm>
                  <a:off x="7880442" y="-1155153"/>
                  <a:ext cx="5614" cy="8322"/>
                </a:xfrm>
                <a:custGeom>
                  <a:avLst/>
                  <a:gdLst>
                    <a:gd name="connsiteX0" fmla="*/ 5346 w 5614"/>
                    <a:gd name="connsiteY0" fmla="*/ 8245 h 8322"/>
                    <a:gd name="connsiteX1" fmla="*/ 1593 w 5614"/>
                    <a:gd name="connsiteY1" fmla="*/ 4934 h 8322"/>
                    <a:gd name="connsiteX2" fmla="*/ 269 w 5614"/>
                    <a:gd name="connsiteY2" fmla="*/ 78 h 8322"/>
                    <a:gd name="connsiteX3" fmla="*/ 4021 w 5614"/>
                    <a:gd name="connsiteY3" fmla="*/ 3389 h 8322"/>
                    <a:gd name="connsiteX4" fmla="*/ 5346 w 5614"/>
                    <a:gd name="connsiteY4" fmla="*/ 8245 h 8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14" h="8322">
                      <a:moveTo>
                        <a:pt x="5346" y="8245"/>
                      </a:moveTo>
                      <a:cubicBezTo>
                        <a:pt x="4683" y="8686"/>
                        <a:pt x="2973" y="7197"/>
                        <a:pt x="1593" y="4934"/>
                      </a:cubicBezTo>
                      <a:cubicBezTo>
                        <a:pt x="213" y="2671"/>
                        <a:pt x="-393" y="519"/>
                        <a:pt x="269" y="78"/>
                      </a:cubicBezTo>
                      <a:cubicBezTo>
                        <a:pt x="931" y="-364"/>
                        <a:pt x="2642" y="1126"/>
                        <a:pt x="4021" y="3389"/>
                      </a:cubicBezTo>
                      <a:cubicBezTo>
                        <a:pt x="5401" y="5706"/>
                        <a:pt x="6008" y="7859"/>
                        <a:pt x="5346" y="824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3" name="Freeform: Shape 862">
                  <a:extLst>
                    <a:ext uri="{FF2B5EF4-FFF2-40B4-BE49-F238E27FC236}">
                      <a16:creationId xmlns:a16="http://schemas.microsoft.com/office/drawing/2014/main" id="{0D132887-392E-4AAB-A9B5-647092F8F51F}"/>
                    </a:ext>
                  </a:extLst>
                </p:cNvPr>
                <p:cNvSpPr/>
                <p:nvPr/>
              </p:nvSpPr>
              <p:spPr>
                <a:xfrm>
                  <a:off x="7881572" y="-1058350"/>
                  <a:ext cx="13412" cy="14378"/>
                </a:xfrm>
                <a:custGeom>
                  <a:avLst/>
                  <a:gdLst>
                    <a:gd name="connsiteX0" fmla="*/ 13321 w 13412"/>
                    <a:gd name="connsiteY0" fmla="*/ 14308 h 14378"/>
                    <a:gd name="connsiteX1" fmla="*/ 5650 w 13412"/>
                    <a:gd name="connsiteY1" fmla="*/ 8183 h 14378"/>
                    <a:gd name="connsiteX2" fmla="*/ 77 w 13412"/>
                    <a:gd name="connsiteY2" fmla="*/ 70 h 14378"/>
                    <a:gd name="connsiteX3" fmla="*/ 7748 w 13412"/>
                    <a:gd name="connsiteY3" fmla="*/ 6196 h 14378"/>
                    <a:gd name="connsiteX4" fmla="*/ 13321 w 13412"/>
                    <a:gd name="connsiteY4" fmla="*/ 14308 h 14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12" h="14378">
                      <a:moveTo>
                        <a:pt x="13321" y="14308"/>
                      </a:moveTo>
                      <a:cubicBezTo>
                        <a:pt x="12714" y="14860"/>
                        <a:pt x="9293" y="12101"/>
                        <a:pt x="5650" y="8183"/>
                      </a:cubicBezTo>
                      <a:cubicBezTo>
                        <a:pt x="2008" y="4264"/>
                        <a:pt x="-475" y="622"/>
                        <a:pt x="77" y="70"/>
                      </a:cubicBezTo>
                      <a:cubicBezTo>
                        <a:pt x="684" y="-482"/>
                        <a:pt x="4105" y="2278"/>
                        <a:pt x="7748" y="6196"/>
                      </a:cubicBezTo>
                      <a:cubicBezTo>
                        <a:pt x="11445" y="10114"/>
                        <a:pt x="13928" y="13756"/>
                        <a:pt x="13321" y="14308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4" name="Freeform: Shape 863">
                  <a:extLst>
                    <a:ext uri="{FF2B5EF4-FFF2-40B4-BE49-F238E27FC236}">
                      <a16:creationId xmlns:a16="http://schemas.microsoft.com/office/drawing/2014/main" id="{55C05055-5609-4A37-AD94-1E1579ED5517}"/>
                    </a:ext>
                  </a:extLst>
                </p:cNvPr>
                <p:cNvSpPr/>
                <p:nvPr/>
              </p:nvSpPr>
              <p:spPr>
                <a:xfrm>
                  <a:off x="7939595" y="-1117441"/>
                  <a:ext cx="11420" cy="14351"/>
                </a:xfrm>
                <a:custGeom>
                  <a:avLst/>
                  <a:gdLst>
                    <a:gd name="connsiteX0" fmla="*/ 11312 w 11420"/>
                    <a:gd name="connsiteY0" fmla="*/ 14295 h 14351"/>
                    <a:gd name="connsiteX1" fmla="*/ 4579 w 11420"/>
                    <a:gd name="connsiteY1" fmla="*/ 8059 h 14351"/>
                    <a:gd name="connsiteX2" fmla="*/ 109 w 11420"/>
                    <a:gd name="connsiteY2" fmla="*/ 57 h 14351"/>
                    <a:gd name="connsiteX3" fmla="*/ 6842 w 11420"/>
                    <a:gd name="connsiteY3" fmla="*/ 6293 h 14351"/>
                    <a:gd name="connsiteX4" fmla="*/ 11312 w 11420"/>
                    <a:gd name="connsiteY4" fmla="*/ 14295 h 143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20" h="14351">
                      <a:moveTo>
                        <a:pt x="11312" y="14295"/>
                      </a:moveTo>
                      <a:cubicBezTo>
                        <a:pt x="10705" y="14791"/>
                        <a:pt x="7669" y="11977"/>
                        <a:pt x="4579" y="8059"/>
                      </a:cubicBezTo>
                      <a:cubicBezTo>
                        <a:pt x="1489" y="4141"/>
                        <a:pt x="-498" y="553"/>
                        <a:pt x="109" y="57"/>
                      </a:cubicBezTo>
                      <a:cubicBezTo>
                        <a:pt x="716" y="-440"/>
                        <a:pt x="3751" y="2375"/>
                        <a:pt x="6842" y="6293"/>
                      </a:cubicBezTo>
                      <a:cubicBezTo>
                        <a:pt x="9932" y="10266"/>
                        <a:pt x="11919" y="13853"/>
                        <a:pt x="11312" y="1429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5" name="Freeform: Shape 864">
                  <a:extLst>
                    <a:ext uri="{FF2B5EF4-FFF2-40B4-BE49-F238E27FC236}">
                      <a16:creationId xmlns:a16="http://schemas.microsoft.com/office/drawing/2014/main" id="{181BED71-5035-44CD-AB0E-88E220679270}"/>
                    </a:ext>
                  </a:extLst>
                </p:cNvPr>
                <p:cNvSpPr/>
                <p:nvPr/>
              </p:nvSpPr>
              <p:spPr>
                <a:xfrm>
                  <a:off x="7981444" y="-1038938"/>
                  <a:ext cx="8623" cy="17329"/>
                </a:xfrm>
                <a:custGeom>
                  <a:avLst/>
                  <a:gdLst>
                    <a:gd name="connsiteX0" fmla="*/ 201 w 8623"/>
                    <a:gd name="connsiteY0" fmla="*/ 17301 h 17329"/>
                    <a:gd name="connsiteX1" fmla="*/ 3015 w 8623"/>
                    <a:gd name="connsiteY1" fmla="*/ 8030 h 17329"/>
                    <a:gd name="connsiteX2" fmla="*/ 8423 w 8623"/>
                    <a:gd name="connsiteY2" fmla="*/ 28 h 17329"/>
                    <a:gd name="connsiteX3" fmla="*/ 5609 w 8623"/>
                    <a:gd name="connsiteY3" fmla="*/ 9299 h 17329"/>
                    <a:gd name="connsiteX4" fmla="*/ 201 w 8623"/>
                    <a:gd name="connsiteY4" fmla="*/ 17301 h 17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23" h="17329">
                      <a:moveTo>
                        <a:pt x="201" y="17301"/>
                      </a:moveTo>
                      <a:cubicBezTo>
                        <a:pt x="-517" y="16970"/>
                        <a:pt x="752" y="12831"/>
                        <a:pt x="3015" y="8030"/>
                      </a:cubicBezTo>
                      <a:cubicBezTo>
                        <a:pt x="5278" y="3284"/>
                        <a:pt x="7706" y="-358"/>
                        <a:pt x="8423" y="28"/>
                      </a:cubicBezTo>
                      <a:cubicBezTo>
                        <a:pt x="9141" y="359"/>
                        <a:pt x="7871" y="4498"/>
                        <a:pt x="5609" y="9299"/>
                      </a:cubicBezTo>
                      <a:cubicBezTo>
                        <a:pt x="3346" y="14045"/>
                        <a:pt x="918" y="17688"/>
                        <a:pt x="201" y="1730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6" name="Freeform: Shape 865">
                  <a:extLst>
                    <a:ext uri="{FF2B5EF4-FFF2-40B4-BE49-F238E27FC236}">
                      <a16:creationId xmlns:a16="http://schemas.microsoft.com/office/drawing/2014/main" id="{506B5568-ECCD-4A00-BA31-4DFF7905A626}"/>
                    </a:ext>
                  </a:extLst>
                </p:cNvPr>
                <p:cNvSpPr/>
                <p:nvPr/>
              </p:nvSpPr>
              <p:spPr>
                <a:xfrm>
                  <a:off x="7903029" y="-966970"/>
                  <a:ext cx="13418" cy="12481"/>
                </a:xfrm>
                <a:custGeom>
                  <a:avLst/>
                  <a:gdLst>
                    <a:gd name="connsiteX0" fmla="*/ 13276 w 13418"/>
                    <a:gd name="connsiteY0" fmla="*/ 12439 h 12481"/>
                    <a:gd name="connsiteX1" fmla="*/ 6433 w 13418"/>
                    <a:gd name="connsiteY1" fmla="*/ 6534 h 12481"/>
                    <a:gd name="connsiteX2" fmla="*/ 31 w 13418"/>
                    <a:gd name="connsiteY2" fmla="*/ 188 h 12481"/>
                    <a:gd name="connsiteX3" fmla="*/ 8420 w 13418"/>
                    <a:gd name="connsiteY3" fmla="*/ 4382 h 12481"/>
                    <a:gd name="connsiteX4" fmla="*/ 13276 w 13418"/>
                    <a:gd name="connsiteY4" fmla="*/ 12439 h 12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18" h="12481">
                      <a:moveTo>
                        <a:pt x="13276" y="12439"/>
                      </a:moveTo>
                      <a:cubicBezTo>
                        <a:pt x="12558" y="12880"/>
                        <a:pt x="10020" y="9790"/>
                        <a:pt x="6433" y="6534"/>
                      </a:cubicBezTo>
                      <a:cubicBezTo>
                        <a:pt x="2901" y="3278"/>
                        <a:pt x="-355" y="961"/>
                        <a:pt x="31" y="188"/>
                      </a:cubicBezTo>
                      <a:cubicBezTo>
                        <a:pt x="362" y="-530"/>
                        <a:pt x="4501" y="795"/>
                        <a:pt x="8420" y="4382"/>
                      </a:cubicBezTo>
                      <a:cubicBezTo>
                        <a:pt x="12282" y="8024"/>
                        <a:pt x="13938" y="12053"/>
                        <a:pt x="13276" y="12439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7" name="Freeform: Shape 866">
                  <a:extLst>
                    <a:ext uri="{FF2B5EF4-FFF2-40B4-BE49-F238E27FC236}">
                      <a16:creationId xmlns:a16="http://schemas.microsoft.com/office/drawing/2014/main" id="{3AD9FA3D-B0E5-4486-9245-2C8B6D222C16}"/>
                    </a:ext>
                  </a:extLst>
                </p:cNvPr>
                <p:cNvSpPr/>
                <p:nvPr/>
              </p:nvSpPr>
              <p:spPr>
                <a:xfrm>
                  <a:off x="7908137" y="-886763"/>
                  <a:ext cx="12251" cy="2869"/>
                </a:xfrm>
                <a:custGeom>
                  <a:avLst/>
                  <a:gdLst>
                    <a:gd name="connsiteX0" fmla="*/ 12251 w 12251"/>
                    <a:gd name="connsiteY0" fmla="*/ 1435 h 2869"/>
                    <a:gd name="connsiteX1" fmla="*/ 6126 w 12251"/>
                    <a:gd name="connsiteY1" fmla="*/ 2870 h 2869"/>
                    <a:gd name="connsiteX2" fmla="*/ 0 w 12251"/>
                    <a:gd name="connsiteY2" fmla="*/ 1435 h 2869"/>
                    <a:gd name="connsiteX3" fmla="*/ 6126 w 12251"/>
                    <a:gd name="connsiteY3" fmla="*/ 0 h 2869"/>
                    <a:gd name="connsiteX4" fmla="*/ 12251 w 12251"/>
                    <a:gd name="connsiteY4" fmla="*/ 1435 h 2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251" h="2869">
                      <a:moveTo>
                        <a:pt x="12251" y="1435"/>
                      </a:moveTo>
                      <a:cubicBezTo>
                        <a:pt x="12251" y="2207"/>
                        <a:pt x="9492" y="2870"/>
                        <a:pt x="6126" y="2870"/>
                      </a:cubicBezTo>
                      <a:cubicBezTo>
                        <a:pt x="2759" y="2870"/>
                        <a:pt x="0" y="2207"/>
                        <a:pt x="0" y="1435"/>
                      </a:cubicBezTo>
                      <a:cubicBezTo>
                        <a:pt x="0" y="662"/>
                        <a:pt x="2759" y="0"/>
                        <a:pt x="6126" y="0"/>
                      </a:cubicBezTo>
                      <a:cubicBezTo>
                        <a:pt x="9492" y="0"/>
                        <a:pt x="12251" y="607"/>
                        <a:pt x="12251" y="143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8" name="Freeform: Shape 867">
                  <a:extLst>
                    <a:ext uri="{FF2B5EF4-FFF2-40B4-BE49-F238E27FC236}">
                      <a16:creationId xmlns:a16="http://schemas.microsoft.com/office/drawing/2014/main" id="{3E8CA069-AAFA-4422-9D7E-5E25CBEE80A2}"/>
                    </a:ext>
                  </a:extLst>
                </p:cNvPr>
                <p:cNvSpPr/>
                <p:nvPr/>
              </p:nvSpPr>
              <p:spPr>
                <a:xfrm>
                  <a:off x="7987356" y="-920981"/>
                  <a:ext cx="5356" cy="16323"/>
                </a:xfrm>
                <a:custGeom>
                  <a:avLst/>
                  <a:gdLst>
                    <a:gd name="connsiteX0" fmla="*/ 193 w 5356"/>
                    <a:gd name="connsiteY0" fmla="*/ 16282 h 16323"/>
                    <a:gd name="connsiteX1" fmla="*/ 1959 w 5356"/>
                    <a:gd name="connsiteY1" fmla="*/ 8059 h 16323"/>
                    <a:gd name="connsiteX2" fmla="*/ 4277 w 5356"/>
                    <a:gd name="connsiteY2" fmla="*/ 2 h 16323"/>
                    <a:gd name="connsiteX3" fmla="*/ 4774 w 5356"/>
                    <a:gd name="connsiteY3" fmla="*/ 8777 h 16323"/>
                    <a:gd name="connsiteX4" fmla="*/ 193 w 5356"/>
                    <a:gd name="connsiteY4" fmla="*/ 16282 h 16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56" h="16323">
                      <a:moveTo>
                        <a:pt x="193" y="16282"/>
                      </a:moveTo>
                      <a:cubicBezTo>
                        <a:pt x="-524" y="15841"/>
                        <a:pt x="911" y="12419"/>
                        <a:pt x="1959" y="8059"/>
                      </a:cubicBezTo>
                      <a:cubicBezTo>
                        <a:pt x="3063" y="3755"/>
                        <a:pt x="3449" y="57"/>
                        <a:pt x="4277" y="2"/>
                      </a:cubicBezTo>
                      <a:cubicBezTo>
                        <a:pt x="5050" y="-108"/>
                        <a:pt x="5988" y="3976"/>
                        <a:pt x="4774" y="8777"/>
                      </a:cubicBezTo>
                      <a:cubicBezTo>
                        <a:pt x="3560" y="13633"/>
                        <a:pt x="800" y="16723"/>
                        <a:pt x="193" y="16282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9" name="Freeform: Shape 868">
                  <a:extLst>
                    <a:ext uri="{FF2B5EF4-FFF2-40B4-BE49-F238E27FC236}">
                      <a16:creationId xmlns:a16="http://schemas.microsoft.com/office/drawing/2014/main" id="{C4CB6E3C-2778-4422-8ED7-959198B1A339}"/>
                    </a:ext>
                  </a:extLst>
                </p:cNvPr>
                <p:cNvSpPr/>
                <p:nvPr/>
              </p:nvSpPr>
              <p:spPr>
                <a:xfrm>
                  <a:off x="8047633" y="-899691"/>
                  <a:ext cx="6925" cy="18239"/>
                </a:xfrm>
                <a:custGeom>
                  <a:avLst/>
                  <a:gdLst>
                    <a:gd name="connsiteX0" fmla="*/ 6636 w 6925"/>
                    <a:gd name="connsiteY0" fmla="*/ 18225 h 18239"/>
                    <a:gd name="connsiteX1" fmla="*/ 2111 w 6925"/>
                    <a:gd name="connsiteY1" fmla="*/ 9616 h 18239"/>
                    <a:gd name="connsiteX2" fmla="*/ 290 w 6925"/>
                    <a:gd name="connsiteY2" fmla="*/ 14 h 18239"/>
                    <a:gd name="connsiteX3" fmla="*/ 4815 w 6925"/>
                    <a:gd name="connsiteY3" fmla="*/ 8623 h 18239"/>
                    <a:gd name="connsiteX4" fmla="*/ 6636 w 6925"/>
                    <a:gd name="connsiteY4" fmla="*/ 18225 h 1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25" h="18239">
                      <a:moveTo>
                        <a:pt x="6636" y="18225"/>
                      </a:moveTo>
                      <a:cubicBezTo>
                        <a:pt x="5864" y="18501"/>
                        <a:pt x="3822" y="14638"/>
                        <a:pt x="2111" y="9616"/>
                      </a:cubicBezTo>
                      <a:cubicBezTo>
                        <a:pt x="345" y="4594"/>
                        <a:pt x="-483" y="290"/>
                        <a:pt x="290" y="14"/>
                      </a:cubicBezTo>
                      <a:cubicBezTo>
                        <a:pt x="1062" y="-262"/>
                        <a:pt x="3049" y="3601"/>
                        <a:pt x="4815" y="8623"/>
                      </a:cubicBezTo>
                      <a:cubicBezTo>
                        <a:pt x="6581" y="13645"/>
                        <a:pt x="7409" y="17949"/>
                        <a:pt x="6636" y="1822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0" name="Freeform: Shape 869">
                  <a:extLst>
                    <a:ext uri="{FF2B5EF4-FFF2-40B4-BE49-F238E27FC236}">
                      <a16:creationId xmlns:a16="http://schemas.microsoft.com/office/drawing/2014/main" id="{FF616BD0-B398-4340-B4A9-7C17ED2D738E}"/>
                    </a:ext>
                  </a:extLst>
                </p:cNvPr>
                <p:cNvSpPr/>
                <p:nvPr/>
              </p:nvSpPr>
              <p:spPr>
                <a:xfrm>
                  <a:off x="8043454" y="-805887"/>
                  <a:ext cx="10481" cy="19359"/>
                </a:xfrm>
                <a:custGeom>
                  <a:avLst/>
                  <a:gdLst>
                    <a:gd name="connsiteX0" fmla="*/ 164 w 10481"/>
                    <a:gd name="connsiteY0" fmla="*/ 19341 h 19359"/>
                    <a:gd name="connsiteX1" fmla="*/ 3971 w 10481"/>
                    <a:gd name="connsiteY1" fmla="*/ 9021 h 19359"/>
                    <a:gd name="connsiteX2" fmla="*/ 10318 w 10481"/>
                    <a:gd name="connsiteY2" fmla="*/ 26 h 19359"/>
                    <a:gd name="connsiteX3" fmla="*/ 6510 w 10481"/>
                    <a:gd name="connsiteY3" fmla="*/ 10345 h 19359"/>
                    <a:gd name="connsiteX4" fmla="*/ 164 w 10481"/>
                    <a:gd name="connsiteY4" fmla="*/ 19341 h 19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81" h="19359">
                      <a:moveTo>
                        <a:pt x="164" y="19341"/>
                      </a:moveTo>
                      <a:cubicBezTo>
                        <a:pt x="-554" y="18954"/>
                        <a:pt x="1157" y="14319"/>
                        <a:pt x="3971" y="9021"/>
                      </a:cubicBezTo>
                      <a:cubicBezTo>
                        <a:pt x="6786" y="3668"/>
                        <a:pt x="9600" y="-361"/>
                        <a:pt x="10318" y="26"/>
                      </a:cubicBezTo>
                      <a:cubicBezTo>
                        <a:pt x="11035" y="412"/>
                        <a:pt x="9324" y="5048"/>
                        <a:pt x="6510" y="10345"/>
                      </a:cubicBezTo>
                      <a:cubicBezTo>
                        <a:pt x="3751" y="15643"/>
                        <a:pt x="881" y="19672"/>
                        <a:pt x="164" y="1934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1" name="Freeform: Shape 870">
                  <a:extLst>
                    <a:ext uri="{FF2B5EF4-FFF2-40B4-BE49-F238E27FC236}">
                      <a16:creationId xmlns:a16="http://schemas.microsoft.com/office/drawing/2014/main" id="{2EA4E369-6831-4AE6-8B5E-B864C687AA04}"/>
                    </a:ext>
                  </a:extLst>
                </p:cNvPr>
                <p:cNvSpPr/>
                <p:nvPr/>
              </p:nvSpPr>
              <p:spPr>
                <a:xfrm>
                  <a:off x="7975024" y="-748979"/>
                  <a:ext cx="7949" cy="18239"/>
                </a:xfrm>
                <a:custGeom>
                  <a:avLst/>
                  <a:gdLst>
                    <a:gd name="connsiteX0" fmla="*/ 7724 w 7949"/>
                    <a:gd name="connsiteY0" fmla="*/ 18225 h 18239"/>
                    <a:gd name="connsiteX1" fmla="*/ 2647 w 7949"/>
                    <a:gd name="connsiteY1" fmla="*/ 9672 h 18239"/>
                    <a:gd name="connsiteX2" fmla="*/ 219 w 7949"/>
                    <a:gd name="connsiteY2" fmla="*/ 14 h 18239"/>
                    <a:gd name="connsiteX3" fmla="*/ 5296 w 7949"/>
                    <a:gd name="connsiteY3" fmla="*/ 8568 h 18239"/>
                    <a:gd name="connsiteX4" fmla="*/ 7724 w 7949"/>
                    <a:gd name="connsiteY4" fmla="*/ 18225 h 1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49" h="18239">
                      <a:moveTo>
                        <a:pt x="7724" y="18225"/>
                      </a:moveTo>
                      <a:cubicBezTo>
                        <a:pt x="7007" y="18501"/>
                        <a:pt x="4744" y="14693"/>
                        <a:pt x="2647" y="9672"/>
                      </a:cubicBezTo>
                      <a:cubicBezTo>
                        <a:pt x="605" y="4650"/>
                        <a:pt x="-498" y="345"/>
                        <a:pt x="219" y="14"/>
                      </a:cubicBezTo>
                      <a:cubicBezTo>
                        <a:pt x="937" y="-262"/>
                        <a:pt x="3199" y="3546"/>
                        <a:pt x="5296" y="8568"/>
                      </a:cubicBezTo>
                      <a:cubicBezTo>
                        <a:pt x="7393" y="13590"/>
                        <a:pt x="8442" y="17894"/>
                        <a:pt x="7724" y="1822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2" name="Freeform: Shape 871">
                  <a:extLst>
                    <a:ext uri="{FF2B5EF4-FFF2-40B4-BE49-F238E27FC236}">
                      <a16:creationId xmlns:a16="http://schemas.microsoft.com/office/drawing/2014/main" id="{8A0D8768-1538-4D35-83FA-34B4B20134CE}"/>
                    </a:ext>
                  </a:extLst>
                </p:cNvPr>
                <p:cNvSpPr/>
                <p:nvPr/>
              </p:nvSpPr>
              <p:spPr>
                <a:xfrm>
                  <a:off x="7905157" y="-710721"/>
                  <a:ext cx="10154" cy="2869"/>
                </a:xfrm>
                <a:custGeom>
                  <a:avLst/>
                  <a:gdLst>
                    <a:gd name="connsiteX0" fmla="*/ 10154 w 10154"/>
                    <a:gd name="connsiteY0" fmla="*/ 1435 h 2869"/>
                    <a:gd name="connsiteX1" fmla="*/ 5077 w 10154"/>
                    <a:gd name="connsiteY1" fmla="*/ 2870 h 2869"/>
                    <a:gd name="connsiteX2" fmla="*/ 0 w 10154"/>
                    <a:gd name="connsiteY2" fmla="*/ 1435 h 2869"/>
                    <a:gd name="connsiteX3" fmla="*/ 5077 w 10154"/>
                    <a:gd name="connsiteY3" fmla="*/ 0 h 2869"/>
                    <a:gd name="connsiteX4" fmla="*/ 10154 w 10154"/>
                    <a:gd name="connsiteY4" fmla="*/ 1435 h 2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54" h="2869">
                      <a:moveTo>
                        <a:pt x="10154" y="1435"/>
                      </a:moveTo>
                      <a:cubicBezTo>
                        <a:pt x="10154" y="2207"/>
                        <a:pt x="7891" y="2870"/>
                        <a:pt x="5077" y="2870"/>
                      </a:cubicBezTo>
                      <a:cubicBezTo>
                        <a:pt x="2263" y="2870"/>
                        <a:pt x="0" y="2207"/>
                        <a:pt x="0" y="1435"/>
                      </a:cubicBezTo>
                      <a:cubicBezTo>
                        <a:pt x="0" y="662"/>
                        <a:pt x="2263" y="0"/>
                        <a:pt x="5077" y="0"/>
                      </a:cubicBezTo>
                      <a:cubicBezTo>
                        <a:pt x="7836" y="0"/>
                        <a:pt x="10154" y="662"/>
                        <a:pt x="10154" y="1435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3" name="Freeform: Shape 872">
                  <a:extLst>
                    <a:ext uri="{FF2B5EF4-FFF2-40B4-BE49-F238E27FC236}">
                      <a16:creationId xmlns:a16="http://schemas.microsoft.com/office/drawing/2014/main" id="{503D70EC-33A9-489A-A4E0-56765262C982}"/>
                    </a:ext>
                  </a:extLst>
                </p:cNvPr>
                <p:cNvSpPr/>
                <p:nvPr/>
              </p:nvSpPr>
              <p:spPr>
                <a:xfrm>
                  <a:off x="7949437" y="-636066"/>
                  <a:ext cx="4940" cy="15307"/>
                </a:xfrm>
                <a:custGeom>
                  <a:avLst/>
                  <a:gdLst>
                    <a:gd name="connsiteX0" fmla="*/ 4505 w 4940"/>
                    <a:gd name="connsiteY0" fmla="*/ 15297 h 15307"/>
                    <a:gd name="connsiteX1" fmla="*/ 1083 w 4940"/>
                    <a:gd name="connsiteY1" fmla="*/ 8013 h 15307"/>
                    <a:gd name="connsiteX2" fmla="*/ 421 w 4940"/>
                    <a:gd name="connsiteY2" fmla="*/ 11 h 15307"/>
                    <a:gd name="connsiteX3" fmla="*/ 3843 w 4940"/>
                    <a:gd name="connsiteY3" fmla="*/ 7295 h 15307"/>
                    <a:gd name="connsiteX4" fmla="*/ 4505 w 4940"/>
                    <a:gd name="connsiteY4" fmla="*/ 15297 h 15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40" h="15307">
                      <a:moveTo>
                        <a:pt x="4505" y="15297"/>
                      </a:moveTo>
                      <a:cubicBezTo>
                        <a:pt x="3732" y="15518"/>
                        <a:pt x="2187" y="12262"/>
                        <a:pt x="1083" y="8013"/>
                      </a:cubicBezTo>
                      <a:cubicBezTo>
                        <a:pt x="-20" y="3818"/>
                        <a:pt x="-352" y="231"/>
                        <a:pt x="421" y="11"/>
                      </a:cubicBezTo>
                      <a:cubicBezTo>
                        <a:pt x="1194" y="-210"/>
                        <a:pt x="2739" y="3046"/>
                        <a:pt x="3843" y="7295"/>
                      </a:cubicBezTo>
                      <a:cubicBezTo>
                        <a:pt x="5001" y="11544"/>
                        <a:pt x="5277" y="15132"/>
                        <a:pt x="4505" y="15297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4" name="Freeform: Shape 873">
                  <a:extLst>
                    <a:ext uri="{FF2B5EF4-FFF2-40B4-BE49-F238E27FC236}">
                      <a16:creationId xmlns:a16="http://schemas.microsoft.com/office/drawing/2014/main" id="{E13DFCA7-F901-4556-9EB4-699F3CE56778}"/>
                    </a:ext>
                  </a:extLst>
                </p:cNvPr>
                <p:cNvSpPr/>
                <p:nvPr/>
              </p:nvSpPr>
              <p:spPr>
                <a:xfrm>
                  <a:off x="7904866" y="-660552"/>
                  <a:ext cx="6597" cy="10321"/>
                </a:xfrm>
                <a:custGeom>
                  <a:avLst/>
                  <a:gdLst>
                    <a:gd name="connsiteX0" fmla="*/ 236 w 6597"/>
                    <a:gd name="connsiteY0" fmla="*/ 10259 h 10321"/>
                    <a:gd name="connsiteX1" fmla="*/ 2057 w 6597"/>
                    <a:gd name="connsiteY1" fmla="*/ 4409 h 10321"/>
                    <a:gd name="connsiteX2" fmla="*/ 6361 w 6597"/>
                    <a:gd name="connsiteY2" fmla="*/ 49 h 10321"/>
                    <a:gd name="connsiteX3" fmla="*/ 4540 w 6597"/>
                    <a:gd name="connsiteY3" fmla="*/ 5899 h 10321"/>
                    <a:gd name="connsiteX4" fmla="*/ 236 w 6597"/>
                    <a:gd name="connsiteY4" fmla="*/ 10259 h 10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597" h="10321">
                      <a:moveTo>
                        <a:pt x="236" y="10259"/>
                      </a:moveTo>
                      <a:cubicBezTo>
                        <a:pt x="-426" y="9872"/>
                        <a:pt x="346" y="7223"/>
                        <a:pt x="2057" y="4409"/>
                      </a:cubicBezTo>
                      <a:cubicBezTo>
                        <a:pt x="3768" y="1594"/>
                        <a:pt x="5644" y="-337"/>
                        <a:pt x="6361" y="49"/>
                      </a:cubicBezTo>
                      <a:cubicBezTo>
                        <a:pt x="7024" y="435"/>
                        <a:pt x="6251" y="3084"/>
                        <a:pt x="4540" y="5899"/>
                      </a:cubicBezTo>
                      <a:cubicBezTo>
                        <a:pt x="2829" y="8768"/>
                        <a:pt x="953" y="10700"/>
                        <a:pt x="236" y="10259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5" name="Freeform: Shape 874">
                  <a:extLst>
                    <a:ext uri="{FF2B5EF4-FFF2-40B4-BE49-F238E27FC236}">
                      <a16:creationId xmlns:a16="http://schemas.microsoft.com/office/drawing/2014/main" id="{B5B8FE21-9C33-4A37-A9F9-953AC76756BE}"/>
                    </a:ext>
                  </a:extLst>
                </p:cNvPr>
                <p:cNvSpPr/>
                <p:nvPr/>
              </p:nvSpPr>
              <p:spPr>
                <a:xfrm>
                  <a:off x="7901356" y="-569890"/>
                  <a:ext cx="3464" cy="17332"/>
                </a:xfrm>
                <a:custGeom>
                  <a:avLst/>
                  <a:gdLst>
                    <a:gd name="connsiteX0" fmla="*/ 2753 w 3464"/>
                    <a:gd name="connsiteY0" fmla="*/ 17331 h 17332"/>
                    <a:gd name="connsiteX1" fmla="*/ 325 w 3464"/>
                    <a:gd name="connsiteY1" fmla="*/ 8832 h 17332"/>
                    <a:gd name="connsiteX2" fmla="*/ 711 w 3464"/>
                    <a:gd name="connsiteY2" fmla="*/ 2 h 17332"/>
                    <a:gd name="connsiteX3" fmla="*/ 3139 w 3464"/>
                    <a:gd name="connsiteY3" fmla="*/ 8501 h 17332"/>
                    <a:gd name="connsiteX4" fmla="*/ 2753 w 3464"/>
                    <a:gd name="connsiteY4" fmla="*/ 17331 h 17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64" h="17332">
                      <a:moveTo>
                        <a:pt x="2753" y="17331"/>
                      </a:moveTo>
                      <a:cubicBezTo>
                        <a:pt x="1981" y="17441"/>
                        <a:pt x="877" y="13633"/>
                        <a:pt x="325" y="8832"/>
                      </a:cubicBezTo>
                      <a:cubicBezTo>
                        <a:pt x="-227" y="4031"/>
                        <a:pt x="-61" y="113"/>
                        <a:pt x="711" y="2"/>
                      </a:cubicBezTo>
                      <a:cubicBezTo>
                        <a:pt x="1484" y="-108"/>
                        <a:pt x="2588" y="3700"/>
                        <a:pt x="3139" y="8501"/>
                      </a:cubicBezTo>
                      <a:cubicBezTo>
                        <a:pt x="3691" y="13302"/>
                        <a:pt x="3526" y="17220"/>
                        <a:pt x="2753" y="17331"/>
                      </a:cubicBezTo>
                      <a:close/>
                    </a:path>
                  </a:pathLst>
                </a:custGeom>
                <a:solidFill>
                  <a:srgbClr val="FAFAFA"/>
                </a:solidFill>
                <a:ln w="550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717C6E3E-80C8-4C72-A4CA-23DB602823A9}"/>
              </a:ext>
            </a:extLst>
          </p:cNvPr>
          <p:cNvGrpSpPr/>
          <p:nvPr/>
        </p:nvGrpSpPr>
        <p:grpSpPr>
          <a:xfrm>
            <a:off x="4797680" y="1565163"/>
            <a:ext cx="591776" cy="748173"/>
            <a:chOff x="527957" y="1335314"/>
            <a:chExt cx="1164365" cy="1472089"/>
          </a:xfrm>
        </p:grpSpPr>
        <p:sp>
          <p:nvSpPr>
            <p:cNvPr id="296" name="Rectangle: Top Corners Rounded 295">
              <a:extLst>
                <a:ext uri="{FF2B5EF4-FFF2-40B4-BE49-F238E27FC236}">
                  <a16:creationId xmlns:a16="http://schemas.microsoft.com/office/drawing/2014/main" id="{98CBEB46-CEF8-4C40-A7F7-DC415D114306}"/>
                </a:ext>
              </a:extLst>
            </p:cNvPr>
            <p:cNvSpPr/>
            <p:nvPr/>
          </p:nvSpPr>
          <p:spPr>
            <a:xfrm>
              <a:off x="527957" y="1517860"/>
              <a:ext cx="1164365" cy="1289543"/>
            </a:xfrm>
            <a:prstGeom prst="round2SameRect">
              <a:avLst>
                <a:gd name="adj1" fmla="val 11886"/>
                <a:gd name="adj2" fmla="val 11609"/>
              </a:avLst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F5B6F578-0DD8-49D2-B288-0A023C01D31C}"/>
                </a:ext>
              </a:extLst>
            </p:cNvPr>
            <p:cNvGrpSpPr/>
            <p:nvPr/>
          </p:nvGrpSpPr>
          <p:grpSpPr>
            <a:xfrm>
              <a:off x="685893" y="1335314"/>
              <a:ext cx="187970" cy="407551"/>
              <a:chOff x="685892" y="1335314"/>
              <a:chExt cx="225425" cy="48876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7AF125FD-CA70-449E-BC2A-7D9046F7200A}"/>
                  </a:ext>
                </a:extLst>
              </p:cNvPr>
              <p:cNvSpPr/>
              <p:nvPr/>
            </p:nvSpPr>
            <p:spPr>
              <a:xfrm>
                <a:off x="685892" y="1598649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06" name="Rectangle: Rounded Corners 305">
                <a:extLst>
                  <a:ext uri="{FF2B5EF4-FFF2-40B4-BE49-F238E27FC236}">
                    <a16:creationId xmlns:a16="http://schemas.microsoft.com/office/drawing/2014/main" id="{1B63FD3F-E5FC-4BA9-8B74-3D16A5EF08E8}"/>
                  </a:ext>
                </a:extLst>
              </p:cNvPr>
              <p:cNvSpPr/>
              <p:nvPr/>
            </p:nvSpPr>
            <p:spPr>
              <a:xfrm rot="5400000">
                <a:off x="585672" y="1476660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7F318A09-9069-44F6-AA43-2F2183C4CB70}"/>
                </a:ext>
              </a:extLst>
            </p:cNvPr>
            <p:cNvGrpSpPr/>
            <p:nvPr/>
          </p:nvGrpSpPr>
          <p:grpSpPr>
            <a:xfrm>
              <a:off x="1346416" y="1335314"/>
              <a:ext cx="187970" cy="407551"/>
              <a:chOff x="1554649" y="1324392"/>
              <a:chExt cx="225425" cy="488760"/>
            </a:xfrm>
          </p:grpSpPr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A8B2A256-B39C-46F8-B71D-F9ACC34763B8}"/>
                  </a:ext>
                </a:extLst>
              </p:cNvPr>
              <p:cNvSpPr/>
              <p:nvPr/>
            </p:nvSpPr>
            <p:spPr>
              <a:xfrm>
                <a:off x="1554649" y="1587727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04" name="Rectangle: Rounded Corners 303">
                <a:extLst>
                  <a:ext uri="{FF2B5EF4-FFF2-40B4-BE49-F238E27FC236}">
                    <a16:creationId xmlns:a16="http://schemas.microsoft.com/office/drawing/2014/main" id="{97FDDE14-5275-427D-B8F4-85E4C954A014}"/>
                  </a:ext>
                </a:extLst>
              </p:cNvPr>
              <p:cNvSpPr/>
              <p:nvPr/>
            </p:nvSpPr>
            <p:spPr>
              <a:xfrm rot="5400000">
                <a:off x="1460257" y="1465738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8F291B39-1145-4F4D-BA49-29CBA443B42D}"/>
              </a:ext>
            </a:extLst>
          </p:cNvPr>
          <p:cNvGrpSpPr/>
          <p:nvPr/>
        </p:nvGrpSpPr>
        <p:grpSpPr>
          <a:xfrm>
            <a:off x="4786383" y="2486956"/>
            <a:ext cx="591776" cy="748173"/>
            <a:chOff x="527957" y="1335314"/>
            <a:chExt cx="1164365" cy="1472089"/>
          </a:xfrm>
        </p:grpSpPr>
        <p:sp>
          <p:nvSpPr>
            <p:cNvPr id="308" name="Rectangle: Top Corners Rounded 307">
              <a:extLst>
                <a:ext uri="{FF2B5EF4-FFF2-40B4-BE49-F238E27FC236}">
                  <a16:creationId xmlns:a16="http://schemas.microsoft.com/office/drawing/2014/main" id="{10A6AE8E-E270-4D84-B5F2-9983052D1A34}"/>
                </a:ext>
              </a:extLst>
            </p:cNvPr>
            <p:cNvSpPr/>
            <p:nvPr/>
          </p:nvSpPr>
          <p:spPr>
            <a:xfrm>
              <a:off x="527957" y="1517860"/>
              <a:ext cx="1164365" cy="1289543"/>
            </a:xfrm>
            <a:prstGeom prst="round2SameRect">
              <a:avLst>
                <a:gd name="adj1" fmla="val 11886"/>
                <a:gd name="adj2" fmla="val 11609"/>
              </a:avLst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66895A21-2ABD-4AF3-9C66-D3917C6E1AEE}"/>
                </a:ext>
              </a:extLst>
            </p:cNvPr>
            <p:cNvGrpSpPr/>
            <p:nvPr/>
          </p:nvGrpSpPr>
          <p:grpSpPr>
            <a:xfrm>
              <a:off x="685893" y="1335314"/>
              <a:ext cx="187970" cy="407551"/>
              <a:chOff x="685892" y="1335314"/>
              <a:chExt cx="225425" cy="488760"/>
            </a:xfrm>
          </p:grpSpPr>
          <p:sp>
            <p:nvSpPr>
              <p:cNvPr id="323" name="Oval 322">
                <a:extLst>
                  <a:ext uri="{FF2B5EF4-FFF2-40B4-BE49-F238E27FC236}">
                    <a16:creationId xmlns:a16="http://schemas.microsoft.com/office/drawing/2014/main" id="{B49455D7-3B98-43FD-B059-E3467A59E781}"/>
                  </a:ext>
                </a:extLst>
              </p:cNvPr>
              <p:cNvSpPr/>
              <p:nvPr/>
            </p:nvSpPr>
            <p:spPr>
              <a:xfrm>
                <a:off x="685892" y="1598649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24" name="Rectangle: Rounded Corners 323">
                <a:extLst>
                  <a:ext uri="{FF2B5EF4-FFF2-40B4-BE49-F238E27FC236}">
                    <a16:creationId xmlns:a16="http://schemas.microsoft.com/office/drawing/2014/main" id="{5D58A050-1219-4837-AD45-8222F4D2DFB8}"/>
                  </a:ext>
                </a:extLst>
              </p:cNvPr>
              <p:cNvSpPr/>
              <p:nvPr/>
            </p:nvSpPr>
            <p:spPr>
              <a:xfrm rot="5400000">
                <a:off x="585672" y="1476660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27B6EBFC-8A79-41E2-999C-10A112F774C0}"/>
                </a:ext>
              </a:extLst>
            </p:cNvPr>
            <p:cNvGrpSpPr/>
            <p:nvPr/>
          </p:nvGrpSpPr>
          <p:grpSpPr>
            <a:xfrm>
              <a:off x="1346416" y="1335314"/>
              <a:ext cx="187970" cy="407551"/>
              <a:chOff x="1554649" y="1324392"/>
              <a:chExt cx="225425" cy="488760"/>
            </a:xfrm>
          </p:grpSpPr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7ED6139F-3D1A-4D39-BF4B-E5D9EE5C7926}"/>
                  </a:ext>
                </a:extLst>
              </p:cNvPr>
              <p:cNvSpPr/>
              <p:nvPr/>
            </p:nvSpPr>
            <p:spPr>
              <a:xfrm>
                <a:off x="1554649" y="1587727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22" name="Rectangle: Rounded Corners 321">
                <a:extLst>
                  <a:ext uri="{FF2B5EF4-FFF2-40B4-BE49-F238E27FC236}">
                    <a16:creationId xmlns:a16="http://schemas.microsoft.com/office/drawing/2014/main" id="{FB4ED0E8-5896-4B65-9C99-0AD1CB084239}"/>
                  </a:ext>
                </a:extLst>
              </p:cNvPr>
              <p:cNvSpPr/>
              <p:nvPr/>
            </p:nvSpPr>
            <p:spPr>
              <a:xfrm rot="5400000">
                <a:off x="1460257" y="1465738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CA19CEC6-4540-4AF6-82AA-AD507F88B0E4}"/>
              </a:ext>
            </a:extLst>
          </p:cNvPr>
          <p:cNvGrpSpPr/>
          <p:nvPr/>
        </p:nvGrpSpPr>
        <p:grpSpPr>
          <a:xfrm>
            <a:off x="4776265" y="3477532"/>
            <a:ext cx="591776" cy="748173"/>
            <a:chOff x="527957" y="1335314"/>
            <a:chExt cx="1164365" cy="1472089"/>
          </a:xfrm>
        </p:grpSpPr>
        <p:sp>
          <p:nvSpPr>
            <p:cNvPr id="333" name="Rectangle: Top Corners Rounded 332">
              <a:extLst>
                <a:ext uri="{FF2B5EF4-FFF2-40B4-BE49-F238E27FC236}">
                  <a16:creationId xmlns:a16="http://schemas.microsoft.com/office/drawing/2014/main" id="{F4E183CE-56D9-487E-B87D-D174F0224D55}"/>
                </a:ext>
              </a:extLst>
            </p:cNvPr>
            <p:cNvSpPr/>
            <p:nvPr/>
          </p:nvSpPr>
          <p:spPr>
            <a:xfrm>
              <a:off x="527957" y="1517860"/>
              <a:ext cx="1164365" cy="1289543"/>
            </a:xfrm>
            <a:prstGeom prst="round2SameRect">
              <a:avLst>
                <a:gd name="adj1" fmla="val 11886"/>
                <a:gd name="adj2" fmla="val 11609"/>
              </a:avLst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761018DD-062A-4FC4-A75F-6D77B8D4E2D4}"/>
                </a:ext>
              </a:extLst>
            </p:cNvPr>
            <p:cNvGrpSpPr/>
            <p:nvPr/>
          </p:nvGrpSpPr>
          <p:grpSpPr>
            <a:xfrm>
              <a:off x="685893" y="1335314"/>
              <a:ext cx="187970" cy="407551"/>
              <a:chOff x="685892" y="1335314"/>
              <a:chExt cx="225425" cy="488760"/>
            </a:xfrm>
          </p:grpSpPr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3BB2A29E-4A74-4E30-A6FC-6AD27095F84D}"/>
                  </a:ext>
                </a:extLst>
              </p:cNvPr>
              <p:cNvSpPr/>
              <p:nvPr/>
            </p:nvSpPr>
            <p:spPr>
              <a:xfrm>
                <a:off x="685892" y="1598649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E8F821B8-C3D6-4C47-9377-9B9D8EB5B51D}"/>
                  </a:ext>
                </a:extLst>
              </p:cNvPr>
              <p:cNvSpPr/>
              <p:nvPr/>
            </p:nvSpPr>
            <p:spPr>
              <a:xfrm rot="5400000">
                <a:off x="585672" y="1476660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  <p:grpSp>
          <p:nvGrpSpPr>
            <p:cNvPr id="335" name="Group 334">
              <a:extLst>
                <a:ext uri="{FF2B5EF4-FFF2-40B4-BE49-F238E27FC236}">
                  <a16:creationId xmlns:a16="http://schemas.microsoft.com/office/drawing/2014/main" id="{9E87029F-2A71-4B58-997A-D75B5E3C7AA1}"/>
                </a:ext>
              </a:extLst>
            </p:cNvPr>
            <p:cNvGrpSpPr/>
            <p:nvPr/>
          </p:nvGrpSpPr>
          <p:grpSpPr>
            <a:xfrm>
              <a:off x="1346416" y="1335314"/>
              <a:ext cx="187970" cy="407551"/>
              <a:chOff x="1554649" y="1324392"/>
              <a:chExt cx="225425" cy="488760"/>
            </a:xfrm>
          </p:grpSpPr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A305408C-8151-40C6-9812-9B9164AF8464}"/>
                  </a:ext>
                </a:extLst>
              </p:cNvPr>
              <p:cNvSpPr/>
              <p:nvPr/>
            </p:nvSpPr>
            <p:spPr>
              <a:xfrm>
                <a:off x="1554649" y="1587727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41" name="Rectangle: Rounded Corners 340">
                <a:extLst>
                  <a:ext uri="{FF2B5EF4-FFF2-40B4-BE49-F238E27FC236}">
                    <a16:creationId xmlns:a16="http://schemas.microsoft.com/office/drawing/2014/main" id="{0B349BD2-452E-4788-978B-3BBF92E95DF9}"/>
                  </a:ext>
                </a:extLst>
              </p:cNvPr>
              <p:cNvSpPr/>
              <p:nvPr/>
            </p:nvSpPr>
            <p:spPr>
              <a:xfrm rot="5400000">
                <a:off x="1460257" y="1465738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</p:grp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9B974C6F-74C5-422A-BD4E-DEE30C3E2592}"/>
              </a:ext>
            </a:extLst>
          </p:cNvPr>
          <p:cNvGrpSpPr/>
          <p:nvPr/>
        </p:nvGrpSpPr>
        <p:grpSpPr>
          <a:xfrm>
            <a:off x="4786234" y="4450907"/>
            <a:ext cx="577593" cy="749152"/>
            <a:chOff x="-883967" y="1335316"/>
            <a:chExt cx="1164365" cy="1474017"/>
          </a:xfrm>
        </p:grpSpPr>
        <p:sp>
          <p:nvSpPr>
            <p:cNvPr id="352" name="Rectangle: Top Corners Rounded 351">
              <a:extLst>
                <a:ext uri="{FF2B5EF4-FFF2-40B4-BE49-F238E27FC236}">
                  <a16:creationId xmlns:a16="http://schemas.microsoft.com/office/drawing/2014/main" id="{7FF16018-5096-4C0F-AEB9-4419E45593FE}"/>
                </a:ext>
              </a:extLst>
            </p:cNvPr>
            <p:cNvSpPr/>
            <p:nvPr/>
          </p:nvSpPr>
          <p:spPr>
            <a:xfrm>
              <a:off x="-883967" y="1519790"/>
              <a:ext cx="1164365" cy="1289543"/>
            </a:xfrm>
            <a:prstGeom prst="round2SameRect">
              <a:avLst>
                <a:gd name="adj1" fmla="val 11886"/>
                <a:gd name="adj2" fmla="val 11609"/>
              </a:avLst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  <p:grpSp>
          <p:nvGrpSpPr>
            <p:cNvPr id="357" name="Group 356">
              <a:extLst>
                <a:ext uri="{FF2B5EF4-FFF2-40B4-BE49-F238E27FC236}">
                  <a16:creationId xmlns:a16="http://schemas.microsoft.com/office/drawing/2014/main" id="{7766047C-8607-446E-9716-5832104DCFD8}"/>
                </a:ext>
              </a:extLst>
            </p:cNvPr>
            <p:cNvGrpSpPr/>
            <p:nvPr/>
          </p:nvGrpSpPr>
          <p:grpSpPr>
            <a:xfrm>
              <a:off x="-725788" y="1335316"/>
              <a:ext cx="187971" cy="397072"/>
              <a:chOff x="-1007081" y="1335314"/>
              <a:chExt cx="225426" cy="476192"/>
            </a:xfrm>
          </p:grpSpPr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4DACC78C-394F-4730-AF47-3266ADA3785F}"/>
                  </a:ext>
                </a:extLst>
              </p:cNvPr>
              <p:cNvSpPr/>
              <p:nvPr/>
            </p:nvSpPr>
            <p:spPr>
              <a:xfrm>
                <a:off x="-1007081" y="1586080"/>
                <a:ext cx="225426" cy="2254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69" name="Rectangle: Rounded Corners 368">
                <a:extLst>
                  <a:ext uri="{FF2B5EF4-FFF2-40B4-BE49-F238E27FC236}">
                    <a16:creationId xmlns:a16="http://schemas.microsoft.com/office/drawing/2014/main" id="{50653FB8-4F9F-4231-A84D-0CA31003266C}"/>
                  </a:ext>
                </a:extLst>
              </p:cNvPr>
              <p:cNvSpPr/>
              <p:nvPr/>
            </p:nvSpPr>
            <p:spPr>
              <a:xfrm rot="5400000">
                <a:off x="-1107227" y="1476659"/>
                <a:ext cx="423964" cy="141273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 dirty="0"/>
              </a:p>
            </p:txBody>
          </p:sp>
        </p:grpSp>
        <p:grpSp>
          <p:nvGrpSpPr>
            <p:cNvPr id="358" name="Group 357">
              <a:extLst>
                <a:ext uri="{FF2B5EF4-FFF2-40B4-BE49-F238E27FC236}">
                  <a16:creationId xmlns:a16="http://schemas.microsoft.com/office/drawing/2014/main" id="{8C22CC26-4B43-4E09-B5DA-EBCE5AA0AAF6}"/>
                </a:ext>
              </a:extLst>
            </p:cNvPr>
            <p:cNvGrpSpPr/>
            <p:nvPr/>
          </p:nvGrpSpPr>
          <p:grpSpPr>
            <a:xfrm>
              <a:off x="-65538" y="1353912"/>
              <a:ext cx="187970" cy="392672"/>
              <a:chOff x="-138652" y="1346696"/>
              <a:chExt cx="225425" cy="470916"/>
            </a:xfrm>
          </p:grpSpPr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F1CE819A-A838-4713-B3AF-ACB8DD858AC2}"/>
                  </a:ext>
                </a:extLst>
              </p:cNvPr>
              <p:cNvSpPr/>
              <p:nvPr/>
            </p:nvSpPr>
            <p:spPr>
              <a:xfrm>
                <a:off x="-138652" y="1592186"/>
                <a:ext cx="225425" cy="2254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 dirty="0"/>
              </a:p>
            </p:txBody>
          </p:sp>
          <p:sp>
            <p:nvSpPr>
              <p:cNvPr id="360" name="Rectangle: Rounded Corners 359">
                <a:extLst>
                  <a:ext uri="{FF2B5EF4-FFF2-40B4-BE49-F238E27FC236}">
                    <a16:creationId xmlns:a16="http://schemas.microsoft.com/office/drawing/2014/main" id="{D0460C78-05FB-4DDB-BA03-8014EA7BB356}"/>
                  </a:ext>
                </a:extLst>
              </p:cNvPr>
              <p:cNvSpPr/>
              <p:nvPr/>
            </p:nvSpPr>
            <p:spPr>
              <a:xfrm rot="5400000">
                <a:off x="-234094" y="1488041"/>
                <a:ext cx="423964" cy="141273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</p:grpSp>
      <p:grpSp>
        <p:nvGrpSpPr>
          <p:cNvPr id="370" name="Group 369">
            <a:extLst>
              <a:ext uri="{FF2B5EF4-FFF2-40B4-BE49-F238E27FC236}">
                <a16:creationId xmlns:a16="http://schemas.microsoft.com/office/drawing/2014/main" id="{0A788920-5588-44CC-9A7B-F479CFA0834B}"/>
              </a:ext>
            </a:extLst>
          </p:cNvPr>
          <p:cNvGrpSpPr/>
          <p:nvPr/>
        </p:nvGrpSpPr>
        <p:grpSpPr>
          <a:xfrm>
            <a:off x="4797257" y="5394888"/>
            <a:ext cx="591776" cy="686295"/>
            <a:chOff x="527957" y="1335314"/>
            <a:chExt cx="1164365" cy="1472089"/>
          </a:xfrm>
        </p:grpSpPr>
        <p:sp>
          <p:nvSpPr>
            <p:cNvPr id="371" name="Rectangle: Top Corners Rounded 370">
              <a:extLst>
                <a:ext uri="{FF2B5EF4-FFF2-40B4-BE49-F238E27FC236}">
                  <a16:creationId xmlns:a16="http://schemas.microsoft.com/office/drawing/2014/main" id="{260BCE42-1F93-497A-92E6-F34624E64991}"/>
                </a:ext>
              </a:extLst>
            </p:cNvPr>
            <p:cNvSpPr/>
            <p:nvPr/>
          </p:nvSpPr>
          <p:spPr>
            <a:xfrm>
              <a:off x="527957" y="1517860"/>
              <a:ext cx="1164365" cy="1289543"/>
            </a:xfrm>
            <a:prstGeom prst="round2SameRect">
              <a:avLst>
                <a:gd name="adj1" fmla="val 11886"/>
                <a:gd name="adj2" fmla="val 11609"/>
              </a:avLst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</a:t>
              </a: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2AF25CB0-BDBD-439C-858E-4DFCE5A5B73E}"/>
                </a:ext>
              </a:extLst>
            </p:cNvPr>
            <p:cNvGrpSpPr/>
            <p:nvPr/>
          </p:nvGrpSpPr>
          <p:grpSpPr>
            <a:xfrm>
              <a:off x="685893" y="1335314"/>
              <a:ext cx="187970" cy="407551"/>
              <a:chOff x="685892" y="1335314"/>
              <a:chExt cx="225425" cy="488760"/>
            </a:xfrm>
          </p:grpSpPr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8FCA4EC2-A7DD-42A6-9FC5-63FDF7EDE5D3}"/>
                  </a:ext>
                </a:extLst>
              </p:cNvPr>
              <p:cNvSpPr/>
              <p:nvPr/>
            </p:nvSpPr>
            <p:spPr>
              <a:xfrm>
                <a:off x="685892" y="1598649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77" name="Rectangle: Rounded Corners 376">
                <a:extLst>
                  <a:ext uri="{FF2B5EF4-FFF2-40B4-BE49-F238E27FC236}">
                    <a16:creationId xmlns:a16="http://schemas.microsoft.com/office/drawing/2014/main" id="{31D010D8-6010-4C1C-BDFF-4230ACA02F40}"/>
                  </a:ext>
                </a:extLst>
              </p:cNvPr>
              <p:cNvSpPr/>
              <p:nvPr/>
            </p:nvSpPr>
            <p:spPr>
              <a:xfrm rot="5400000">
                <a:off x="585672" y="1476660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F9B44FE2-0AE3-425C-8B9B-2E99695AD016}"/>
                </a:ext>
              </a:extLst>
            </p:cNvPr>
            <p:cNvGrpSpPr/>
            <p:nvPr/>
          </p:nvGrpSpPr>
          <p:grpSpPr>
            <a:xfrm>
              <a:off x="1346416" y="1335314"/>
              <a:ext cx="187970" cy="407551"/>
              <a:chOff x="1554649" y="1324392"/>
              <a:chExt cx="225425" cy="488760"/>
            </a:xfrm>
          </p:grpSpPr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864B1096-8862-42CF-A2DB-9EA35B16E1BC}"/>
                  </a:ext>
                </a:extLst>
              </p:cNvPr>
              <p:cNvSpPr/>
              <p:nvPr/>
            </p:nvSpPr>
            <p:spPr>
              <a:xfrm>
                <a:off x="1554649" y="1587727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  <p:sp>
            <p:nvSpPr>
              <p:cNvPr id="375" name="Rectangle: Rounded Corners 374">
                <a:extLst>
                  <a:ext uri="{FF2B5EF4-FFF2-40B4-BE49-F238E27FC236}">
                    <a16:creationId xmlns:a16="http://schemas.microsoft.com/office/drawing/2014/main" id="{AC3424FD-E9EF-46CA-AA9A-E154EFFA73C8}"/>
                  </a:ext>
                </a:extLst>
              </p:cNvPr>
              <p:cNvSpPr/>
              <p:nvPr/>
            </p:nvSpPr>
            <p:spPr>
              <a:xfrm rot="5400000">
                <a:off x="1460257" y="1465738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200"/>
              </a:p>
            </p:txBody>
          </p:sp>
        </p:grpSp>
      </p:grp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8E850C7B-EC17-4200-BE40-35314F88CC86}"/>
              </a:ext>
            </a:extLst>
          </p:cNvPr>
          <p:cNvCxnSpPr>
            <a:cxnSpLocks/>
          </p:cNvCxnSpPr>
          <p:nvPr/>
        </p:nvCxnSpPr>
        <p:spPr>
          <a:xfrm>
            <a:off x="10930607" y="5624339"/>
            <a:ext cx="0" cy="399922"/>
          </a:xfrm>
          <a:prstGeom prst="line">
            <a:avLst/>
          </a:prstGeom>
          <a:ln>
            <a:solidFill>
              <a:schemeClr val="bg1">
                <a:lumMod val="75000"/>
                <a:alpha val="3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00BA4CA3-1DED-45D3-9A56-793F9E835BB2}"/>
              </a:ext>
            </a:extLst>
          </p:cNvPr>
          <p:cNvCxnSpPr>
            <a:cxnSpLocks/>
          </p:cNvCxnSpPr>
          <p:nvPr/>
        </p:nvCxnSpPr>
        <p:spPr>
          <a:xfrm>
            <a:off x="10930607" y="4664696"/>
            <a:ext cx="0" cy="399922"/>
          </a:xfrm>
          <a:prstGeom prst="line">
            <a:avLst/>
          </a:prstGeom>
          <a:ln>
            <a:solidFill>
              <a:schemeClr val="bg1">
                <a:lumMod val="75000"/>
                <a:alpha val="3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EE876751-F917-4A11-9DDB-7E830506ED40}"/>
              </a:ext>
            </a:extLst>
          </p:cNvPr>
          <p:cNvCxnSpPr>
            <a:cxnSpLocks/>
          </p:cNvCxnSpPr>
          <p:nvPr/>
        </p:nvCxnSpPr>
        <p:spPr>
          <a:xfrm>
            <a:off x="10930607" y="3705052"/>
            <a:ext cx="0" cy="399922"/>
          </a:xfrm>
          <a:prstGeom prst="line">
            <a:avLst/>
          </a:prstGeom>
          <a:ln>
            <a:solidFill>
              <a:schemeClr val="bg1">
                <a:lumMod val="75000"/>
                <a:alpha val="3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84F4A5BF-87AA-4140-9962-37B944EF725E}"/>
              </a:ext>
            </a:extLst>
          </p:cNvPr>
          <p:cNvCxnSpPr>
            <a:cxnSpLocks/>
          </p:cNvCxnSpPr>
          <p:nvPr/>
        </p:nvCxnSpPr>
        <p:spPr>
          <a:xfrm>
            <a:off x="10930607" y="2745408"/>
            <a:ext cx="0" cy="399922"/>
          </a:xfrm>
          <a:prstGeom prst="line">
            <a:avLst/>
          </a:prstGeom>
          <a:ln>
            <a:solidFill>
              <a:schemeClr val="bg1">
                <a:lumMod val="75000"/>
                <a:alpha val="3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C4A2B5C2-B504-4884-A47F-D68F1AA8A31F}"/>
              </a:ext>
            </a:extLst>
          </p:cNvPr>
          <p:cNvSpPr txBox="1">
            <a:spLocks/>
          </p:cNvSpPr>
          <p:nvPr/>
        </p:nvSpPr>
        <p:spPr>
          <a:xfrm>
            <a:off x="5631860" y="2814045"/>
            <a:ext cx="2536082" cy="2386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>
                <a:solidFill>
                  <a:srgbClr val="2424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types of the website.</a:t>
            </a:r>
            <a:endParaRPr lang="en-US" sz="1600" b="0" i="0" dirty="0">
              <a:solidFill>
                <a:srgbClr val="242424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br>
              <a:rPr lang="en-US" sz="4000" dirty="0"/>
            </a:br>
            <a:endParaRPr lang="en-US" sz="2400" b="0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E53E0B50-2E46-47DC-917E-4D3468BF5BF0}"/>
              </a:ext>
            </a:extLst>
          </p:cNvPr>
          <p:cNvSpPr txBox="1">
            <a:spLocks/>
          </p:cNvSpPr>
          <p:nvPr/>
        </p:nvSpPr>
        <p:spPr>
          <a:xfrm>
            <a:off x="5568313" y="5689095"/>
            <a:ext cx="5563909" cy="3920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0" i="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lient Feedback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18645CBA-E3C0-40C7-8C97-0930D68E093F}"/>
              </a:ext>
            </a:extLst>
          </p:cNvPr>
          <p:cNvSpPr txBox="1">
            <a:spLocks/>
          </p:cNvSpPr>
          <p:nvPr/>
        </p:nvSpPr>
        <p:spPr>
          <a:xfrm>
            <a:off x="5527643" y="4772923"/>
            <a:ext cx="5595273" cy="3920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0" i="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acklog items/ Condition of satisfaction/ Priority level</a:t>
            </a:r>
            <a:endParaRPr lang="en-US" sz="105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40779C08-7F8A-47B6-B2B2-69FA38D133AF}"/>
              </a:ext>
            </a:extLst>
          </p:cNvPr>
          <p:cNvSpPr txBox="1">
            <a:spLocks/>
          </p:cNvSpPr>
          <p:nvPr/>
        </p:nvSpPr>
        <p:spPr>
          <a:xfrm>
            <a:off x="5583757" y="3794147"/>
            <a:ext cx="5720219" cy="3920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0" i="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udent engagement with the website.</a:t>
            </a:r>
            <a:endParaRPr lang="en-US" sz="105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83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47F05D48-E94C-49BE-86F9-341BC7E29233}"/>
              </a:ext>
            </a:extLst>
          </p:cNvPr>
          <p:cNvSpPr/>
          <p:nvPr/>
        </p:nvSpPr>
        <p:spPr>
          <a:xfrm>
            <a:off x="-1" y="0"/>
            <a:ext cx="5678148" cy="6858000"/>
          </a:xfrm>
          <a:custGeom>
            <a:avLst/>
            <a:gdLst>
              <a:gd name="connsiteX0" fmla="*/ 0 w 5678148"/>
              <a:gd name="connsiteY0" fmla="*/ 0 h 6858000"/>
              <a:gd name="connsiteX1" fmla="*/ 4939104 w 5678148"/>
              <a:gd name="connsiteY1" fmla="*/ 0 h 6858000"/>
              <a:gd name="connsiteX2" fmla="*/ 4949387 w 5678148"/>
              <a:gd name="connsiteY2" fmla="*/ 127373 h 6858000"/>
              <a:gd name="connsiteX3" fmla="*/ 5669282 w 5678148"/>
              <a:gd name="connsiteY3" fmla="*/ 3374967 h 6858000"/>
              <a:gd name="connsiteX4" fmla="*/ 4322620 w 5678148"/>
              <a:gd name="connsiteY4" fmla="*/ 5735782 h 6858000"/>
              <a:gd name="connsiteX5" fmla="*/ 2483819 w 5678148"/>
              <a:gd name="connsiteY5" fmla="*/ 6800721 h 6858000"/>
              <a:gd name="connsiteX6" fmla="*/ 2329864 w 5678148"/>
              <a:gd name="connsiteY6" fmla="*/ 6858000 h 6858000"/>
              <a:gd name="connsiteX7" fmla="*/ 0 w 567814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78148" h="6858000">
                <a:moveTo>
                  <a:pt x="0" y="0"/>
                </a:moveTo>
                <a:lnTo>
                  <a:pt x="4939104" y="0"/>
                </a:lnTo>
                <a:lnTo>
                  <a:pt x="4949387" y="127373"/>
                </a:lnTo>
                <a:cubicBezTo>
                  <a:pt x="5050536" y="902743"/>
                  <a:pt x="5765398" y="2476154"/>
                  <a:pt x="5669282" y="3374967"/>
                </a:cubicBezTo>
                <a:cubicBezTo>
                  <a:pt x="5566758" y="4333701"/>
                  <a:pt x="4954387" y="5128953"/>
                  <a:pt x="4322620" y="5735782"/>
                </a:cubicBezTo>
                <a:cubicBezTo>
                  <a:pt x="3848795" y="6190904"/>
                  <a:pt x="3127146" y="6549391"/>
                  <a:pt x="2483819" y="6800721"/>
                </a:cubicBezTo>
                <a:lnTo>
                  <a:pt x="232986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BF3E1-EBC5-4F0B-801E-3B7D1CBFB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u="sng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Demo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D4638-71B0-428D-B434-D1D6B2BC2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1</a:t>
            </a:fld>
            <a:endParaRPr lang="en-ID"/>
          </a:p>
        </p:txBody>
      </p:sp>
      <p:grpSp>
        <p:nvGrpSpPr>
          <p:cNvPr id="172" name="Group 4">
            <a:extLst>
              <a:ext uri="{FF2B5EF4-FFF2-40B4-BE49-F238E27FC236}">
                <a16:creationId xmlns:a16="http://schemas.microsoft.com/office/drawing/2014/main" id="{61507514-5D9A-4EF8-A9BF-9A5F667A47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0740" y="2914650"/>
            <a:ext cx="3852802" cy="3458481"/>
            <a:chOff x="1823" y="373"/>
            <a:chExt cx="4006" cy="3596"/>
          </a:xfrm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B790673C-8F4B-40D4-8182-49C95B378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" y="2392"/>
              <a:ext cx="1000" cy="1475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17B06721-5017-4E1E-9C0B-745BC96EC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" y="2420"/>
              <a:ext cx="404" cy="1283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AB10C946-5191-4839-8BEE-DBA187308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2743"/>
              <a:ext cx="150" cy="385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C7122798-AFC2-49C7-B7EA-6EC046809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8" y="2931"/>
              <a:ext cx="447" cy="197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1D17AD44-0638-40CD-B16F-493E61B48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3154"/>
              <a:ext cx="375" cy="539"/>
            </a:xfrm>
            <a:custGeom>
              <a:avLst/>
              <a:gdLst>
                <a:gd name="T0" fmla="*/ 158 w 158"/>
                <a:gd name="T1" fmla="*/ 227 h 227"/>
                <a:gd name="T2" fmla="*/ 156 w 158"/>
                <a:gd name="T3" fmla="*/ 225 h 227"/>
                <a:gd name="T4" fmla="*/ 151 w 158"/>
                <a:gd name="T5" fmla="*/ 218 h 227"/>
                <a:gd name="T6" fmla="*/ 133 w 158"/>
                <a:gd name="T7" fmla="*/ 195 h 227"/>
                <a:gd name="T8" fmla="*/ 78 w 158"/>
                <a:gd name="T9" fmla="*/ 114 h 227"/>
                <a:gd name="T10" fmla="*/ 23 w 158"/>
                <a:gd name="T11" fmla="*/ 33 h 227"/>
                <a:gd name="T12" fmla="*/ 6 w 158"/>
                <a:gd name="T13" fmla="*/ 9 h 227"/>
                <a:gd name="T14" fmla="*/ 1 w 158"/>
                <a:gd name="T15" fmla="*/ 3 h 227"/>
                <a:gd name="T16" fmla="*/ 0 w 158"/>
                <a:gd name="T17" fmla="*/ 0 h 227"/>
                <a:gd name="T18" fmla="*/ 2 w 158"/>
                <a:gd name="T19" fmla="*/ 2 h 227"/>
                <a:gd name="T20" fmla="*/ 7 w 158"/>
                <a:gd name="T21" fmla="*/ 8 h 227"/>
                <a:gd name="T22" fmla="*/ 24 w 158"/>
                <a:gd name="T23" fmla="*/ 32 h 227"/>
                <a:gd name="T24" fmla="*/ 80 w 158"/>
                <a:gd name="T25" fmla="*/ 113 h 227"/>
                <a:gd name="T26" fmla="*/ 135 w 158"/>
                <a:gd name="T27" fmla="*/ 194 h 227"/>
                <a:gd name="T28" fmla="*/ 152 w 158"/>
                <a:gd name="T29" fmla="*/ 218 h 227"/>
                <a:gd name="T30" fmla="*/ 156 w 158"/>
                <a:gd name="T31" fmla="*/ 224 h 227"/>
                <a:gd name="T32" fmla="*/ 158 w 158"/>
                <a:gd name="T3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27">
                  <a:moveTo>
                    <a:pt x="158" y="227"/>
                  </a:moveTo>
                  <a:cubicBezTo>
                    <a:pt x="158" y="227"/>
                    <a:pt x="157" y="226"/>
                    <a:pt x="156" y="225"/>
                  </a:cubicBezTo>
                  <a:cubicBezTo>
                    <a:pt x="154" y="223"/>
                    <a:pt x="153" y="221"/>
                    <a:pt x="151" y="218"/>
                  </a:cubicBezTo>
                  <a:cubicBezTo>
                    <a:pt x="146" y="213"/>
                    <a:pt x="140" y="205"/>
                    <a:pt x="133" y="195"/>
                  </a:cubicBezTo>
                  <a:cubicBezTo>
                    <a:pt x="118" y="175"/>
                    <a:pt x="99" y="146"/>
                    <a:pt x="78" y="114"/>
                  </a:cubicBezTo>
                  <a:cubicBezTo>
                    <a:pt x="56" y="83"/>
                    <a:pt x="37" y="54"/>
                    <a:pt x="23" y="33"/>
                  </a:cubicBezTo>
                  <a:cubicBezTo>
                    <a:pt x="16" y="23"/>
                    <a:pt x="10" y="15"/>
                    <a:pt x="6" y="9"/>
                  </a:cubicBezTo>
                  <a:cubicBezTo>
                    <a:pt x="4" y="7"/>
                    <a:pt x="2" y="4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2" y="2"/>
                  </a:cubicBezTo>
                  <a:cubicBezTo>
                    <a:pt x="3" y="4"/>
                    <a:pt x="5" y="6"/>
                    <a:pt x="7" y="8"/>
                  </a:cubicBezTo>
                  <a:cubicBezTo>
                    <a:pt x="11" y="14"/>
                    <a:pt x="17" y="22"/>
                    <a:pt x="24" y="32"/>
                  </a:cubicBezTo>
                  <a:cubicBezTo>
                    <a:pt x="39" y="52"/>
                    <a:pt x="59" y="81"/>
                    <a:pt x="80" y="113"/>
                  </a:cubicBezTo>
                  <a:cubicBezTo>
                    <a:pt x="101" y="144"/>
                    <a:pt x="120" y="173"/>
                    <a:pt x="135" y="194"/>
                  </a:cubicBezTo>
                  <a:cubicBezTo>
                    <a:pt x="142" y="204"/>
                    <a:pt x="147" y="212"/>
                    <a:pt x="152" y="218"/>
                  </a:cubicBezTo>
                  <a:cubicBezTo>
                    <a:pt x="153" y="220"/>
                    <a:pt x="155" y="223"/>
                    <a:pt x="156" y="224"/>
                  </a:cubicBezTo>
                  <a:cubicBezTo>
                    <a:pt x="157" y="226"/>
                    <a:pt x="158" y="227"/>
                    <a:pt x="158" y="22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08215D30-BD7D-4944-8213-8392844C1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" y="3346"/>
              <a:ext cx="570" cy="347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164EDCB8-D157-43ED-BAFE-169BC3C09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2446"/>
              <a:ext cx="790" cy="1257"/>
            </a:xfrm>
            <a:custGeom>
              <a:avLst/>
              <a:gdLst>
                <a:gd name="T0" fmla="*/ 30 w 333"/>
                <a:gd name="T1" fmla="*/ 16 h 529"/>
                <a:gd name="T2" fmla="*/ 85 w 333"/>
                <a:gd name="T3" fmla="*/ 64 h 529"/>
                <a:gd name="T4" fmla="*/ 123 w 333"/>
                <a:gd name="T5" fmla="*/ 165 h 529"/>
                <a:gd name="T6" fmla="*/ 140 w 333"/>
                <a:gd name="T7" fmla="*/ 171 h 529"/>
                <a:gd name="T8" fmla="*/ 178 w 333"/>
                <a:gd name="T9" fmla="*/ 145 h 529"/>
                <a:gd name="T10" fmla="*/ 193 w 333"/>
                <a:gd name="T11" fmla="*/ 194 h 529"/>
                <a:gd name="T12" fmla="*/ 180 w 333"/>
                <a:gd name="T13" fmla="*/ 282 h 529"/>
                <a:gd name="T14" fmla="*/ 189 w 333"/>
                <a:gd name="T15" fmla="*/ 290 h 529"/>
                <a:gd name="T16" fmla="*/ 259 w 333"/>
                <a:gd name="T17" fmla="*/ 265 h 529"/>
                <a:gd name="T18" fmla="*/ 251 w 333"/>
                <a:gd name="T19" fmla="*/ 364 h 529"/>
                <a:gd name="T20" fmla="*/ 253 w 333"/>
                <a:gd name="T21" fmla="*/ 377 h 529"/>
                <a:gd name="T22" fmla="*/ 283 w 333"/>
                <a:gd name="T23" fmla="*/ 352 h 529"/>
                <a:gd name="T24" fmla="*/ 322 w 333"/>
                <a:gd name="T25" fmla="*/ 342 h 529"/>
                <a:gd name="T26" fmla="*/ 277 w 333"/>
                <a:gd name="T27" fmla="*/ 493 h 529"/>
                <a:gd name="T28" fmla="*/ 248 w 333"/>
                <a:gd name="T29" fmla="*/ 529 h 529"/>
                <a:gd name="T30" fmla="*/ 202 w 333"/>
                <a:gd name="T31" fmla="*/ 524 h 529"/>
                <a:gd name="T32" fmla="*/ 62 w 333"/>
                <a:gd name="T33" fmla="*/ 453 h 529"/>
                <a:gd name="T34" fmla="*/ 96 w 333"/>
                <a:gd name="T35" fmla="*/ 431 h 529"/>
                <a:gd name="T36" fmla="*/ 135 w 333"/>
                <a:gd name="T37" fmla="*/ 427 h 529"/>
                <a:gd name="T38" fmla="*/ 127 w 333"/>
                <a:gd name="T39" fmla="*/ 416 h 529"/>
                <a:gd name="T40" fmla="*/ 50 w 333"/>
                <a:gd name="T41" fmla="*/ 353 h 529"/>
                <a:gd name="T42" fmla="*/ 117 w 333"/>
                <a:gd name="T43" fmla="*/ 321 h 529"/>
                <a:gd name="T44" fmla="*/ 117 w 333"/>
                <a:gd name="T45" fmla="*/ 308 h 529"/>
                <a:gd name="T46" fmla="*/ 45 w 333"/>
                <a:gd name="T47" fmla="*/ 257 h 529"/>
                <a:gd name="T48" fmla="*/ 20 w 333"/>
                <a:gd name="T49" fmla="*/ 212 h 529"/>
                <a:gd name="T50" fmla="*/ 53 w 333"/>
                <a:gd name="T51" fmla="*/ 203 h 529"/>
                <a:gd name="T52" fmla="*/ 65 w 333"/>
                <a:gd name="T53" fmla="*/ 203 h 529"/>
                <a:gd name="T54" fmla="*/ 73 w 333"/>
                <a:gd name="T55" fmla="*/ 186 h 529"/>
                <a:gd name="T56" fmla="*/ 26 w 333"/>
                <a:gd name="T57" fmla="*/ 89 h 529"/>
                <a:gd name="T58" fmla="*/ 30 w 333"/>
                <a:gd name="T59" fmla="*/ 16 h 529"/>
                <a:gd name="T60" fmla="*/ 30 w 333"/>
                <a:gd name="T61" fmla="*/ 16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3" h="529">
                  <a:moveTo>
                    <a:pt x="30" y="16"/>
                  </a:moveTo>
                  <a:cubicBezTo>
                    <a:pt x="30" y="16"/>
                    <a:pt x="57" y="0"/>
                    <a:pt x="85" y="64"/>
                  </a:cubicBezTo>
                  <a:cubicBezTo>
                    <a:pt x="113" y="129"/>
                    <a:pt x="123" y="165"/>
                    <a:pt x="123" y="165"/>
                  </a:cubicBezTo>
                  <a:cubicBezTo>
                    <a:pt x="123" y="165"/>
                    <a:pt x="131" y="179"/>
                    <a:pt x="140" y="171"/>
                  </a:cubicBezTo>
                  <a:cubicBezTo>
                    <a:pt x="150" y="163"/>
                    <a:pt x="163" y="140"/>
                    <a:pt x="178" y="145"/>
                  </a:cubicBezTo>
                  <a:cubicBezTo>
                    <a:pt x="194" y="150"/>
                    <a:pt x="198" y="168"/>
                    <a:pt x="193" y="194"/>
                  </a:cubicBezTo>
                  <a:cubicBezTo>
                    <a:pt x="189" y="220"/>
                    <a:pt x="181" y="277"/>
                    <a:pt x="180" y="282"/>
                  </a:cubicBezTo>
                  <a:cubicBezTo>
                    <a:pt x="180" y="287"/>
                    <a:pt x="182" y="294"/>
                    <a:pt x="189" y="290"/>
                  </a:cubicBezTo>
                  <a:cubicBezTo>
                    <a:pt x="197" y="286"/>
                    <a:pt x="240" y="243"/>
                    <a:pt x="259" y="265"/>
                  </a:cubicBezTo>
                  <a:cubicBezTo>
                    <a:pt x="278" y="286"/>
                    <a:pt x="253" y="356"/>
                    <a:pt x="251" y="364"/>
                  </a:cubicBezTo>
                  <a:cubicBezTo>
                    <a:pt x="248" y="371"/>
                    <a:pt x="250" y="375"/>
                    <a:pt x="253" y="377"/>
                  </a:cubicBezTo>
                  <a:cubicBezTo>
                    <a:pt x="257" y="379"/>
                    <a:pt x="270" y="363"/>
                    <a:pt x="283" y="352"/>
                  </a:cubicBezTo>
                  <a:cubicBezTo>
                    <a:pt x="296" y="340"/>
                    <a:pt x="313" y="329"/>
                    <a:pt x="322" y="342"/>
                  </a:cubicBezTo>
                  <a:cubicBezTo>
                    <a:pt x="332" y="356"/>
                    <a:pt x="333" y="409"/>
                    <a:pt x="277" y="493"/>
                  </a:cubicBezTo>
                  <a:cubicBezTo>
                    <a:pt x="248" y="529"/>
                    <a:pt x="248" y="529"/>
                    <a:pt x="248" y="529"/>
                  </a:cubicBezTo>
                  <a:cubicBezTo>
                    <a:pt x="202" y="524"/>
                    <a:pt x="202" y="524"/>
                    <a:pt x="202" y="524"/>
                  </a:cubicBezTo>
                  <a:cubicBezTo>
                    <a:pt x="103" y="506"/>
                    <a:pt x="65" y="469"/>
                    <a:pt x="62" y="453"/>
                  </a:cubicBezTo>
                  <a:cubicBezTo>
                    <a:pt x="59" y="436"/>
                    <a:pt x="79" y="432"/>
                    <a:pt x="96" y="431"/>
                  </a:cubicBezTo>
                  <a:cubicBezTo>
                    <a:pt x="114" y="430"/>
                    <a:pt x="134" y="431"/>
                    <a:pt x="135" y="427"/>
                  </a:cubicBezTo>
                  <a:cubicBezTo>
                    <a:pt x="136" y="423"/>
                    <a:pt x="134" y="420"/>
                    <a:pt x="127" y="416"/>
                  </a:cubicBezTo>
                  <a:cubicBezTo>
                    <a:pt x="120" y="413"/>
                    <a:pt x="53" y="382"/>
                    <a:pt x="50" y="353"/>
                  </a:cubicBezTo>
                  <a:cubicBezTo>
                    <a:pt x="48" y="324"/>
                    <a:pt x="108" y="323"/>
                    <a:pt x="117" y="321"/>
                  </a:cubicBezTo>
                  <a:cubicBezTo>
                    <a:pt x="125" y="318"/>
                    <a:pt x="121" y="311"/>
                    <a:pt x="117" y="308"/>
                  </a:cubicBezTo>
                  <a:cubicBezTo>
                    <a:pt x="113" y="305"/>
                    <a:pt x="66" y="272"/>
                    <a:pt x="45" y="257"/>
                  </a:cubicBezTo>
                  <a:cubicBezTo>
                    <a:pt x="23" y="242"/>
                    <a:pt x="13" y="227"/>
                    <a:pt x="20" y="212"/>
                  </a:cubicBezTo>
                  <a:cubicBezTo>
                    <a:pt x="24" y="201"/>
                    <a:pt x="40" y="202"/>
                    <a:pt x="53" y="203"/>
                  </a:cubicBezTo>
                  <a:cubicBezTo>
                    <a:pt x="57" y="203"/>
                    <a:pt x="62" y="203"/>
                    <a:pt x="65" y="203"/>
                  </a:cubicBezTo>
                  <a:cubicBezTo>
                    <a:pt x="77" y="201"/>
                    <a:pt x="73" y="186"/>
                    <a:pt x="73" y="186"/>
                  </a:cubicBezTo>
                  <a:cubicBezTo>
                    <a:pt x="73" y="186"/>
                    <a:pt x="53" y="154"/>
                    <a:pt x="26" y="89"/>
                  </a:cubicBezTo>
                  <a:cubicBezTo>
                    <a:pt x="0" y="24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id="{87BF6B54-B08C-4C6D-9CAD-360D1E8D8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" y="2620"/>
              <a:ext cx="530" cy="1244"/>
            </a:xfrm>
            <a:custGeom>
              <a:avLst/>
              <a:gdLst>
                <a:gd name="T0" fmla="*/ 0 w 223"/>
                <a:gd name="T1" fmla="*/ 0 h 524"/>
                <a:gd name="T2" fmla="*/ 1 w 223"/>
                <a:gd name="T3" fmla="*/ 2 h 524"/>
                <a:gd name="T4" fmla="*/ 2 w 223"/>
                <a:gd name="T5" fmla="*/ 6 h 524"/>
                <a:gd name="T6" fmla="*/ 8 w 223"/>
                <a:gd name="T7" fmla="*/ 21 h 524"/>
                <a:gd name="T8" fmla="*/ 32 w 223"/>
                <a:gd name="T9" fmla="*/ 77 h 524"/>
                <a:gd name="T10" fmla="*/ 111 w 223"/>
                <a:gd name="T11" fmla="*/ 262 h 524"/>
                <a:gd name="T12" fmla="*/ 191 w 223"/>
                <a:gd name="T13" fmla="*/ 447 h 524"/>
                <a:gd name="T14" fmla="*/ 214 w 223"/>
                <a:gd name="T15" fmla="*/ 503 h 524"/>
                <a:gd name="T16" fmla="*/ 221 w 223"/>
                <a:gd name="T17" fmla="*/ 519 h 524"/>
                <a:gd name="T18" fmla="*/ 223 w 223"/>
                <a:gd name="T19" fmla="*/ 523 h 524"/>
                <a:gd name="T20" fmla="*/ 223 w 223"/>
                <a:gd name="T21" fmla="*/ 524 h 524"/>
                <a:gd name="T22" fmla="*/ 223 w 223"/>
                <a:gd name="T23" fmla="*/ 523 h 524"/>
                <a:gd name="T24" fmla="*/ 221 w 223"/>
                <a:gd name="T25" fmla="*/ 519 h 524"/>
                <a:gd name="T26" fmla="*/ 215 w 223"/>
                <a:gd name="T27" fmla="*/ 503 h 524"/>
                <a:gd name="T28" fmla="*/ 192 w 223"/>
                <a:gd name="T29" fmla="*/ 447 h 524"/>
                <a:gd name="T30" fmla="*/ 112 w 223"/>
                <a:gd name="T31" fmla="*/ 262 h 524"/>
                <a:gd name="T32" fmla="*/ 33 w 223"/>
                <a:gd name="T33" fmla="*/ 77 h 524"/>
                <a:gd name="T34" fmla="*/ 9 w 223"/>
                <a:gd name="T35" fmla="*/ 21 h 524"/>
                <a:gd name="T36" fmla="*/ 2 w 223"/>
                <a:gd name="T37" fmla="*/ 6 h 524"/>
                <a:gd name="T38" fmla="*/ 1 w 223"/>
                <a:gd name="T39" fmla="*/ 2 h 524"/>
                <a:gd name="T40" fmla="*/ 0 w 223"/>
                <a:gd name="T4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3" h="524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3"/>
                    <a:pt x="2" y="4"/>
                    <a:pt x="2" y="6"/>
                  </a:cubicBezTo>
                  <a:cubicBezTo>
                    <a:pt x="4" y="9"/>
                    <a:pt x="6" y="15"/>
                    <a:pt x="8" y="21"/>
                  </a:cubicBezTo>
                  <a:cubicBezTo>
                    <a:pt x="14" y="34"/>
                    <a:pt x="22" y="54"/>
                    <a:pt x="32" y="77"/>
                  </a:cubicBezTo>
                  <a:cubicBezTo>
                    <a:pt x="52" y="125"/>
                    <a:pt x="80" y="190"/>
                    <a:pt x="111" y="262"/>
                  </a:cubicBezTo>
                  <a:cubicBezTo>
                    <a:pt x="142" y="335"/>
                    <a:pt x="171" y="400"/>
                    <a:pt x="191" y="447"/>
                  </a:cubicBezTo>
                  <a:cubicBezTo>
                    <a:pt x="201" y="471"/>
                    <a:pt x="209" y="490"/>
                    <a:pt x="214" y="503"/>
                  </a:cubicBezTo>
                  <a:cubicBezTo>
                    <a:pt x="217" y="510"/>
                    <a:pt x="219" y="515"/>
                    <a:pt x="221" y="519"/>
                  </a:cubicBezTo>
                  <a:cubicBezTo>
                    <a:pt x="222" y="520"/>
                    <a:pt x="222" y="522"/>
                    <a:pt x="223" y="523"/>
                  </a:cubicBezTo>
                  <a:cubicBezTo>
                    <a:pt x="223" y="523"/>
                    <a:pt x="223" y="524"/>
                    <a:pt x="223" y="524"/>
                  </a:cubicBezTo>
                  <a:cubicBezTo>
                    <a:pt x="223" y="524"/>
                    <a:pt x="223" y="523"/>
                    <a:pt x="223" y="523"/>
                  </a:cubicBezTo>
                  <a:cubicBezTo>
                    <a:pt x="222" y="522"/>
                    <a:pt x="222" y="520"/>
                    <a:pt x="221" y="519"/>
                  </a:cubicBezTo>
                  <a:cubicBezTo>
                    <a:pt x="220" y="515"/>
                    <a:pt x="218" y="510"/>
                    <a:pt x="215" y="503"/>
                  </a:cubicBezTo>
                  <a:cubicBezTo>
                    <a:pt x="210" y="490"/>
                    <a:pt x="202" y="471"/>
                    <a:pt x="192" y="447"/>
                  </a:cubicBezTo>
                  <a:cubicBezTo>
                    <a:pt x="172" y="399"/>
                    <a:pt x="144" y="334"/>
                    <a:pt x="112" y="262"/>
                  </a:cubicBezTo>
                  <a:cubicBezTo>
                    <a:pt x="81" y="190"/>
                    <a:pt x="53" y="124"/>
                    <a:pt x="33" y="77"/>
                  </a:cubicBezTo>
                  <a:cubicBezTo>
                    <a:pt x="23" y="53"/>
                    <a:pt x="15" y="34"/>
                    <a:pt x="9" y="21"/>
                  </a:cubicBezTo>
                  <a:cubicBezTo>
                    <a:pt x="6" y="14"/>
                    <a:pt x="4" y="9"/>
                    <a:pt x="2" y="6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id="{59E62AE7-EF19-417D-ABAA-CDF8889D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" y="2869"/>
              <a:ext cx="62" cy="195"/>
            </a:xfrm>
            <a:custGeom>
              <a:avLst/>
              <a:gdLst>
                <a:gd name="T0" fmla="*/ 26 w 26"/>
                <a:gd name="T1" fmla="*/ 0 h 82"/>
                <a:gd name="T2" fmla="*/ 25 w 26"/>
                <a:gd name="T3" fmla="*/ 3 h 82"/>
                <a:gd name="T4" fmla="*/ 22 w 26"/>
                <a:gd name="T5" fmla="*/ 12 h 82"/>
                <a:gd name="T6" fmla="*/ 13 w 26"/>
                <a:gd name="T7" fmla="*/ 41 h 82"/>
                <a:gd name="T8" fmla="*/ 4 w 26"/>
                <a:gd name="T9" fmla="*/ 70 h 82"/>
                <a:gd name="T10" fmla="*/ 1 w 26"/>
                <a:gd name="T11" fmla="*/ 79 h 82"/>
                <a:gd name="T12" fmla="*/ 1 w 26"/>
                <a:gd name="T13" fmla="*/ 82 h 82"/>
                <a:gd name="T14" fmla="*/ 2 w 26"/>
                <a:gd name="T15" fmla="*/ 79 h 82"/>
                <a:gd name="T16" fmla="*/ 5 w 26"/>
                <a:gd name="T17" fmla="*/ 70 h 82"/>
                <a:gd name="T18" fmla="*/ 14 w 26"/>
                <a:gd name="T19" fmla="*/ 41 h 82"/>
                <a:gd name="T20" fmla="*/ 23 w 26"/>
                <a:gd name="T21" fmla="*/ 12 h 82"/>
                <a:gd name="T22" fmla="*/ 26 w 26"/>
                <a:gd name="T23" fmla="*/ 4 h 82"/>
                <a:gd name="T24" fmla="*/ 26 w 26"/>
                <a:gd name="T2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82">
                  <a:moveTo>
                    <a:pt x="26" y="0"/>
                  </a:moveTo>
                  <a:cubicBezTo>
                    <a:pt x="26" y="0"/>
                    <a:pt x="26" y="1"/>
                    <a:pt x="25" y="3"/>
                  </a:cubicBezTo>
                  <a:cubicBezTo>
                    <a:pt x="24" y="6"/>
                    <a:pt x="23" y="8"/>
                    <a:pt x="22" y="12"/>
                  </a:cubicBezTo>
                  <a:cubicBezTo>
                    <a:pt x="19" y="19"/>
                    <a:pt x="16" y="30"/>
                    <a:pt x="13" y="41"/>
                  </a:cubicBezTo>
                  <a:cubicBezTo>
                    <a:pt x="9" y="52"/>
                    <a:pt x="6" y="62"/>
                    <a:pt x="4" y="70"/>
                  </a:cubicBezTo>
                  <a:cubicBezTo>
                    <a:pt x="3" y="73"/>
                    <a:pt x="2" y="76"/>
                    <a:pt x="1" y="79"/>
                  </a:cubicBezTo>
                  <a:cubicBezTo>
                    <a:pt x="1" y="81"/>
                    <a:pt x="0" y="82"/>
                    <a:pt x="1" y="82"/>
                  </a:cubicBezTo>
                  <a:cubicBezTo>
                    <a:pt x="1" y="82"/>
                    <a:pt x="1" y="81"/>
                    <a:pt x="2" y="79"/>
                  </a:cubicBezTo>
                  <a:cubicBezTo>
                    <a:pt x="3" y="77"/>
                    <a:pt x="4" y="74"/>
                    <a:pt x="5" y="70"/>
                  </a:cubicBezTo>
                  <a:cubicBezTo>
                    <a:pt x="8" y="63"/>
                    <a:pt x="11" y="53"/>
                    <a:pt x="14" y="41"/>
                  </a:cubicBezTo>
                  <a:cubicBezTo>
                    <a:pt x="17" y="30"/>
                    <a:pt x="21" y="20"/>
                    <a:pt x="23" y="12"/>
                  </a:cubicBezTo>
                  <a:cubicBezTo>
                    <a:pt x="24" y="9"/>
                    <a:pt x="25" y="6"/>
                    <a:pt x="26" y="4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id="{6F515B83-E66F-4817-8E14-277376F7D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2985"/>
              <a:ext cx="220" cy="81"/>
            </a:xfrm>
            <a:custGeom>
              <a:avLst/>
              <a:gdLst>
                <a:gd name="T0" fmla="*/ 93 w 93"/>
                <a:gd name="T1" fmla="*/ 33 h 34"/>
                <a:gd name="T2" fmla="*/ 47 w 93"/>
                <a:gd name="T3" fmla="*/ 16 h 34"/>
                <a:gd name="T4" fmla="*/ 0 w 93"/>
                <a:gd name="T5" fmla="*/ 1 h 34"/>
                <a:gd name="T6" fmla="*/ 47 w 93"/>
                <a:gd name="T7" fmla="*/ 18 h 34"/>
                <a:gd name="T8" fmla="*/ 93 w 93"/>
                <a:gd name="T9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34">
                  <a:moveTo>
                    <a:pt x="93" y="33"/>
                  </a:moveTo>
                  <a:cubicBezTo>
                    <a:pt x="93" y="33"/>
                    <a:pt x="73" y="25"/>
                    <a:pt x="47" y="16"/>
                  </a:cubicBezTo>
                  <a:cubicBezTo>
                    <a:pt x="21" y="7"/>
                    <a:pt x="0" y="0"/>
                    <a:pt x="0" y="1"/>
                  </a:cubicBezTo>
                  <a:cubicBezTo>
                    <a:pt x="0" y="1"/>
                    <a:pt x="21" y="9"/>
                    <a:pt x="47" y="18"/>
                  </a:cubicBezTo>
                  <a:cubicBezTo>
                    <a:pt x="72" y="27"/>
                    <a:pt x="93" y="34"/>
                    <a:pt x="93" y="3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id="{C1EE67A2-14C2-4C07-A389-41F58C67A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3301"/>
              <a:ext cx="206" cy="22"/>
            </a:xfrm>
            <a:custGeom>
              <a:avLst/>
              <a:gdLst>
                <a:gd name="T0" fmla="*/ 87 w 87"/>
                <a:gd name="T1" fmla="*/ 9 h 9"/>
                <a:gd name="T2" fmla="*/ 84 w 87"/>
                <a:gd name="T3" fmla="*/ 9 h 9"/>
                <a:gd name="T4" fmla="*/ 74 w 87"/>
                <a:gd name="T5" fmla="*/ 8 h 9"/>
                <a:gd name="T6" fmla="*/ 44 w 87"/>
                <a:gd name="T7" fmla="*/ 6 h 9"/>
                <a:gd name="T8" fmla="*/ 13 w 87"/>
                <a:gd name="T9" fmla="*/ 2 h 9"/>
                <a:gd name="T10" fmla="*/ 4 w 87"/>
                <a:gd name="T11" fmla="*/ 1 h 9"/>
                <a:gd name="T12" fmla="*/ 0 w 87"/>
                <a:gd name="T13" fmla="*/ 1 h 9"/>
                <a:gd name="T14" fmla="*/ 4 w 87"/>
                <a:gd name="T15" fmla="*/ 1 h 9"/>
                <a:gd name="T16" fmla="*/ 13 w 87"/>
                <a:gd name="T17" fmla="*/ 3 h 9"/>
                <a:gd name="T18" fmla="*/ 44 w 87"/>
                <a:gd name="T19" fmla="*/ 7 h 9"/>
                <a:gd name="T20" fmla="*/ 74 w 87"/>
                <a:gd name="T21" fmla="*/ 9 h 9"/>
                <a:gd name="T22" fmla="*/ 84 w 87"/>
                <a:gd name="T23" fmla="*/ 9 h 9"/>
                <a:gd name="T24" fmla="*/ 87 w 87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9">
                  <a:moveTo>
                    <a:pt x="87" y="9"/>
                  </a:moveTo>
                  <a:cubicBezTo>
                    <a:pt x="87" y="9"/>
                    <a:pt x="86" y="9"/>
                    <a:pt x="84" y="9"/>
                  </a:cubicBezTo>
                  <a:cubicBezTo>
                    <a:pt x="81" y="9"/>
                    <a:pt x="78" y="8"/>
                    <a:pt x="74" y="8"/>
                  </a:cubicBezTo>
                  <a:cubicBezTo>
                    <a:pt x="67" y="8"/>
                    <a:pt x="56" y="7"/>
                    <a:pt x="44" y="6"/>
                  </a:cubicBezTo>
                  <a:cubicBezTo>
                    <a:pt x="32" y="5"/>
                    <a:pt x="21" y="3"/>
                    <a:pt x="13" y="2"/>
                  </a:cubicBezTo>
                  <a:cubicBezTo>
                    <a:pt x="9" y="2"/>
                    <a:pt x="6" y="1"/>
                    <a:pt x="4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6" y="2"/>
                    <a:pt x="9" y="2"/>
                    <a:pt x="13" y="3"/>
                  </a:cubicBezTo>
                  <a:cubicBezTo>
                    <a:pt x="21" y="5"/>
                    <a:pt x="32" y="6"/>
                    <a:pt x="44" y="7"/>
                  </a:cubicBezTo>
                  <a:cubicBezTo>
                    <a:pt x="56" y="8"/>
                    <a:pt x="66" y="9"/>
                    <a:pt x="74" y="9"/>
                  </a:cubicBezTo>
                  <a:cubicBezTo>
                    <a:pt x="78" y="9"/>
                    <a:pt x="82" y="9"/>
                    <a:pt x="84" y="9"/>
                  </a:cubicBezTo>
                  <a:cubicBezTo>
                    <a:pt x="86" y="9"/>
                    <a:pt x="87" y="9"/>
                    <a:pt x="87" y="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id="{7EE5655E-498E-4485-BD2A-657B50228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" y="3161"/>
              <a:ext cx="107" cy="159"/>
            </a:xfrm>
            <a:custGeom>
              <a:avLst/>
              <a:gdLst>
                <a:gd name="T0" fmla="*/ 45 w 45"/>
                <a:gd name="T1" fmla="*/ 0 h 67"/>
                <a:gd name="T2" fmla="*/ 43 w 45"/>
                <a:gd name="T3" fmla="*/ 2 h 67"/>
                <a:gd name="T4" fmla="*/ 38 w 45"/>
                <a:gd name="T5" fmla="*/ 9 h 67"/>
                <a:gd name="T6" fmla="*/ 22 w 45"/>
                <a:gd name="T7" fmla="*/ 33 h 67"/>
                <a:gd name="T8" fmla="*/ 7 w 45"/>
                <a:gd name="T9" fmla="*/ 57 h 67"/>
                <a:gd name="T10" fmla="*/ 2 w 45"/>
                <a:gd name="T11" fmla="*/ 64 h 67"/>
                <a:gd name="T12" fmla="*/ 0 w 45"/>
                <a:gd name="T13" fmla="*/ 67 h 67"/>
                <a:gd name="T14" fmla="*/ 2 w 45"/>
                <a:gd name="T15" fmla="*/ 65 h 67"/>
                <a:gd name="T16" fmla="*/ 7 w 45"/>
                <a:gd name="T17" fmla="*/ 58 h 67"/>
                <a:gd name="T18" fmla="*/ 23 w 45"/>
                <a:gd name="T19" fmla="*/ 34 h 67"/>
                <a:gd name="T20" fmla="*/ 39 w 45"/>
                <a:gd name="T21" fmla="*/ 10 h 67"/>
                <a:gd name="T22" fmla="*/ 43 w 45"/>
                <a:gd name="T23" fmla="*/ 3 h 67"/>
                <a:gd name="T24" fmla="*/ 45 w 45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67">
                  <a:moveTo>
                    <a:pt x="45" y="0"/>
                  </a:moveTo>
                  <a:cubicBezTo>
                    <a:pt x="45" y="0"/>
                    <a:pt x="44" y="1"/>
                    <a:pt x="43" y="2"/>
                  </a:cubicBezTo>
                  <a:cubicBezTo>
                    <a:pt x="41" y="4"/>
                    <a:pt x="40" y="7"/>
                    <a:pt x="38" y="9"/>
                  </a:cubicBezTo>
                  <a:cubicBezTo>
                    <a:pt x="34" y="15"/>
                    <a:pt x="28" y="24"/>
                    <a:pt x="22" y="33"/>
                  </a:cubicBezTo>
                  <a:cubicBezTo>
                    <a:pt x="16" y="42"/>
                    <a:pt x="10" y="51"/>
                    <a:pt x="7" y="57"/>
                  </a:cubicBezTo>
                  <a:cubicBezTo>
                    <a:pt x="5" y="60"/>
                    <a:pt x="3" y="62"/>
                    <a:pt x="2" y="64"/>
                  </a:cubicBezTo>
                  <a:cubicBezTo>
                    <a:pt x="1" y="66"/>
                    <a:pt x="0" y="67"/>
                    <a:pt x="0" y="67"/>
                  </a:cubicBezTo>
                  <a:cubicBezTo>
                    <a:pt x="1" y="67"/>
                    <a:pt x="1" y="66"/>
                    <a:pt x="2" y="65"/>
                  </a:cubicBezTo>
                  <a:cubicBezTo>
                    <a:pt x="4" y="63"/>
                    <a:pt x="5" y="60"/>
                    <a:pt x="7" y="58"/>
                  </a:cubicBezTo>
                  <a:cubicBezTo>
                    <a:pt x="12" y="52"/>
                    <a:pt x="17" y="43"/>
                    <a:pt x="23" y="34"/>
                  </a:cubicBezTo>
                  <a:cubicBezTo>
                    <a:pt x="29" y="25"/>
                    <a:pt x="35" y="16"/>
                    <a:pt x="39" y="10"/>
                  </a:cubicBezTo>
                  <a:cubicBezTo>
                    <a:pt x="41" y="7"/>
                    <a:pt x="42" y="5"/>
                    <a:pt x="43" y="3"/>
                  </a:cubicBezTo>
                  <a:cubicBezTo>
                    <a:pt x="44" y="1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E4BBE2A0-AEBE-44EC-8248-1619EADCE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" y="3375"/>
              <a:ext cx="138" cy="204"/>
            </a:xfrm>
            <a:custGeom>
              <a:avLst/>
              <a:gdLst>
                <a:gd name="T0" fmla="*/ 58 w 58"/>
                <a:gd name="T1" fmla="*/ 0 h 86"/>
                <a:gd name="T2" fmla="*/ 55 w 58"/>
                <a:gd name="T3" fmla="*/ 3 h 86"/>
                <a:gd name="T4" fmla="*/ 49 w 58"/>
                <a:gd name="T5" fmla="*/ 12 h 86"/>
                <a:gd name="T6" fmla="*/ 28 w 58"/>
                <a:gd name="T7" fmla="*/ 42 h 86"/>
                <a:gd name="T8" fmla="*/ 8 w 58"/>
                <a:gd name="T9" fmla="*/ 73 h 86"/>
                <a:gd name="T10" fmla="*/ 2 w 58"/>
                <a:gd name="T11" fmla="*/ 82 h 86"/>
                <a:gd name="T12" fmla="*/ 0 w 58"/>
                <a:gd name="T13" fmla="*/ 86 h 86"/>
                <a:gd name="T14" fmla="*/ 3 w 58"/>
                <a:gd name="T15" fmla="*/ 82 h 86"/>
                <a:gd name="T16" fmla="*/ 9 w 58"/>
                <a:gd name="T17" fmla="*/ 73 h 86"/>
                <a:gd name="T18" fmla="*/ 30 w 58"/>
                <a:gd name="T19" fmla="*/ 43 h 86"/>
                <a:gd name="T20" fmla="*/ 50 w 58"/>
                <a:gd name="T21" fmla="*/ 13 h 86"/>
                <a:gd name="T22" fmla="*/ 56 w 58"/>
                <a:gd name="T23" fmla="*/ 3 h 86"/>
                <a:gd name="T24" fmla="*/ 58 w 5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86">
                  <a:moveTo>
                    <a:pt x="58" y="0"/>
                  </a:moveTo>
                  <a:cubicBezTo>
                    <a:pt x="58" y="0"/>
                    <a:pt x="57" y="1"/>
                    <a:pt x="55" y="3"/>
                  </a:cubicBezTo>
                  <a:cubicBezTo>
                    <a:pt x="54" y="5"/>
                    <a:pt x="51" y="8"/>
                    <a:pt x="49" y="12"/>
                  </a:cubicBezTo>
                  <a:cubicBezTo>
                    <a:pt x="44" y="20"/>
                    <a:pt x="36" y="30"/>
                    <a:pt x="28" y="42"/>
                  </a:cubicBezTo>
                  <a:cubicBezTo>
                    <a:pt x="20" y="54"/>
                    <a:pt x="13" y="65"/>
                    <a:pt x="8" y="73"/>
                  </a:cubicBezTo>
                  <a:cubicBezTo>
                    <a:pt x="6" y="76"/>
                    <a:pt x="4" y="80"/>
                    <a:pt x="2" y="82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6"/>
                    <a:pt x="1" y="84"/>
                    <a:pt x="3" y="82"/>
                  </a:cubicBezTo>
                  <a:cubicBezTo>
                    <a:pt x="4" y="80"/>
                    <a:pt x="6" y="77"/>
                    <a:pt x="9" y="73"/>
                  </a:cubicBezTo>
                  <a:cubicBezTo>
                    <a:pt x="14" y="66"/>
                    <a:pt x="22" y="55"/>
                    <a:pt x="30" y="43"/>
                  </a:cubicBezTo>
                  <a:cubicBezTo>
                    <a:pt x="37" y="31"/>
                    <a:pt x="45" y="20"/>
                    <a:pt x="50" y="13"/>
                  </a:cubicBezTo>
                  <a:cubicBezTo>
                    <a:pt x="52" y="9"/>
                    <a:pt x="54" y="6"/>
                    <a:pt x="56" y="3"/>
                  </a:cubicBezTo>
                  <a:cubicBezTo>
                    <a:pt x="57" y="1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8848ABA4-3B4D-4376-909D-8AC9AB21A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" y="3539"/>
              <a:ext cx="261" cy="33"/>
            </a:xfrm>
            <a:custGeom>
              <a:avLst/>
              <a:gdLst>
                <a:gd name="T0" fmla="*/ 110 w 110"/>
                <a:gd name="T1" fmla="*/ 14 h 14"/>
                <a:gd name="T2" fmla="*/ 106 w 110"/>
                <a:gd name="T3" fmla="*/ 14 h 14"/>
                <a:gd name="T4" fmla="*/ 94 w 110"/>
                <a:gd name="T5" fmla="*/ 12 h 14"/>
                <a:gd name="T6" fmla="*/ 55 w 110"/>
                <a:gd name="T7" fmla="*/ 8 h 14"/>
                <a:gd name="T8" fmla="*/ 16 w 110"/>
                <a:gd name="T9" fmla="*/ 3 h 14"/>
                <a:gd name="T10" fmla="*/ 4 w 110"/>
                <a:gd name="T11" fmla="*/ 1 h 14"/>
                <a:gd name="T12" fmla="*/ 0 w 110"/>
                <a:gd name="T13" fmla="*/ 0 h 14"/>
                <a:gd name="T14" fmla="*/ 4 w 110"/>
                <a:gd name="T15" fmla="*/ 1 h 14"/>
                <a:gd name="T16" fmla="*/ 16 w 110"/>
                <a:gd name="T17" fmla="*/ 4 h 14"/>
                <a:gd name="T18" fmla="*/ 55 w 110"/>
                <a:gd name="T19" fmla="*/ 10 h 14"/>
                <a:gd name="T20" fmla="*/ 94 w 110"/>
                <a:gd name="T21" fmla="*/ 13 h 14"/>
                <a:gd name="T22" fmla="*/ 106 w 110"/>
                <a:gd name="T23" fmla="*/ 14 h 14"/>
                <a:gd name="T24" fmla="*/ 110 w 110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14">
                  <a:moveTo>
                    <a:pt x="110" y="14"/>
                  </a:moveTo>
                  <a:cubicBezTo>
                    <a:pt x="110" y="14"/>
                    <a:pt x="108" y="14"/>
                    <a:pt x="106" y="14"/>
                  </a:cubicBezTo>
                  <a:cubicBezTo>
                    <a:pt x="103" y="13"/>
                    <a:pt x="99" y="13"/>
                    <a:pt x="94" y="12"/>
                  </a:cubicBezTo>
                  <a:cubicBezTo>
                    <a:pt x="84" y="11"/>
                    <a:pt x="70" y="10"/>
                    <a:pt x="55" y="8"/>
                  </a:cubicBezTo>
                  <a:cubicBezTo>
                    <a:pt x="40" y="6"/>
                    <a:pt x="26" y="4"/>
                    <a:pt x="16" y="3"/>
                  </a:cubicBezTo>
                  <a:cubicBezTo>
                    <a:pt x="11" y="2"/>
                    <a:pt x="7" y="1"/>
                    <a:pt x="4" y="1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1"/>
                    <a:pt x="4" y="1"/>
                  </a:cubicBezTo>
                  <a:cubicBezTo>
                    <a:pt x="7" y="2"/>
                    <a:pt x="11" y="3"/>
                    <a:pt x="16" y="4"/>
                  </a:cubicBezTo>
                  <a:cubicBezTo>
                    <a:pt x="26" y="6"/>
                    <a:pt x="40" y="8"/>
                    <a:pt x="55" y="10"/>
                  </a:cubicBezTo>
                  <a:cubicBezTo>
                    <a:pt x="70" y="12"/>
                    <a:pt x="84" y="13"/>
                    <a:pt x="94" y="13"/>
                  </a:cubicBezTo>
                  <a:cubicBezTo>
                    <a:pt x="99" y="14"/>
                    <a:pt x="103" y="14"/>
                    <a:pt x="106" y="14"/>
                  </a:cubicBezTo>
                  <a:cubicBezTo>
                    <a:pt x="108" y="14"/>
                    <a:pt x="110" y="14"/>
                    <a:pt x="110" y="1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44F5C727-18D1-4424-9816-A6045100F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" y="3795"/>
              <a:ext cx="17" cy="38"/>
            </a:xfrm>
            <a:custGeom>
              <a:avLst/>
              <a:gdLst>
                <a:gd name="T0" fmla="*/ 3 w 7"/>
                <a:gd name="T1" fmla="*/ 0 h 16"/>
                <a:gd name="T2" fmla="*/ 0 w 7"/>
                <a:gd name="T3" fmla="*/ 13 h 16"/>
                <a:gd name="T4" fmla="*/ 2 w 7"/>
                <a:gd name="T5" fmla="*/ 16 h 16"/>
                <a:gd name="T6" fmla="*/ 4 w 7"/>
                <a:gd name="T7" fmla="*/ 14 h 16"/>
                <a:gd name="T8" fmla="*/ 7 w 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3" y="0"/>
                  </a:moveTo>
                  <a:cubicBezTo>
                    <a:pt x="2" y="4"/>
                    <a:pt x="1" y="8"/>
                    <a:pt x="0" y="13"/>
                  </a:cubicBezTo>
                  <a:cubicBezTo>
                    <a:pt x="0" y="14"/>
                    <a:pt x="0" y="16"/>
                    <a:pt x="2" y="16"/>
                  </a:cubicBezTo>
                  <a:cubicBezTo>
                    <a:pt x="3" y="16"/>
                    <a:pt x="3" y="15"/>
                    <a:pt x="4" y="14"/>
                  </a:cubicBezTo>
                  <a:cubicBezTo>
                    <a:pt x="5" y="9"/>
                    <a:pt x="6" y="5"/>
                    <a:pt x="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9" name="Freeform 20">
              <a:extLst>
                <a:ext uri="{FF2B5EF4-FFF2-40B4-BE49-F238E27FC236}">
                  <a16:creationId xmlns:a16="http://schemas.microsoft.com/office/drawing/2014/main" id="{409CFE8C-FB87-46A8-852A-E0CA91785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1658"/>
              <a:ext cx="522" cy="1933"/>
            </a:xfrm>
            <a:custGeom>
              <a:avLst/>
              <a:gdLst>
                <a:gd name="T0" fmla="*/ 140 w 220"/>
                <a:gd name="T1" fmla="*/ 36 h 814"/>
                <a:gd name="T2" fmla="*/ 0 w 220"/>
                <a:gd name="T3" fmla="*/ 801 h 814"/>
                <a:gd name="T4" fmla="*/ 70 w 220"/>
                <a:gd name="T5" fmla="*/ 814 h 814"/>
                <a:gd name="T6" fmla="*/ 216 w 220"/>
                <a:gd name="T7" fmla="*/ 50 h 814"/>
                <a:gd name="T8" fmla="*/ 188 w 220"/>
                <a:gd name="T9" fmla="*/ 6 h 814"/>
                <a:gd name="T10" fmla="*/ 188 w 220"/>
                <a:gd name="T11" fmla="*/ 6 h 814"/>
                <a:gd name="T12" fmla="*/ 140 w 220"/>
                <a:gd name="T13" fmla="*/ 36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814">
                  <a:moveTo>
                    <a:pt x="140" y="36"/>
                  </a:moveTo>
                  <a:cubicBezTo>
                    <a:pt x="123" y="128"/>
                    <a:pt x="0" y="801"/>
                    <a:pt x="0" y="801"/>
                  </a:cubicBezTo>
                  <a:cubicBezTo>
                    <a:pt x="70" y="814"/>
                    <a:pt x="70" y="814"/>
                    <a:pt x="70" y="814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20" y="30"/>
                    <a:pt x="208" y="11"/>
                    <a:pt x="188" y="6"/>
                  </a:cubicBezTo>
                  <a:cubicBezTo>
                    <a:pt x="188" y="6"/>
                    <a:pt x="188" y="6"/>
                    <a:pt x="188" y="6"/>
                  </a:cubicBezTo>
                  <a:cubicBezTo>
                    <a:pt x="166" y="0"/>
                    <a:pt x="144" y="14"/>
                    <a:pt x="140" y="3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2DD5A219-BB25-4649-A166-7CBAA399B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" y="1536"/>
              <a:ext cx="116" cy="171"/>
            </a:xfrm>
            <a:custGeom>
              <a:avLst/>
              <a:gdLst>
                <a:gd name="T0" fmla="*/ 0 w 49"/>
                <a:gd name="T1" fmla="*/ 65 h 72"/>
                <a:gd name="T2" fmla="*/ 11 w 49"/>
                <a:gd name="T3" fmla="*/ 16 h 72"/>
                <a:gd name="T4" fmla="*/ 33 w 49"/>
                <a:gd name="T5" fmla="*/ 2 h 72"/>
                <a:gd name="T6" fmla="*/ 47 w 49"/>
                <a:gd name="T7" fmla="*/ 24 h 72"/>
                <a:gd name="T8" fmla="*/ 36 w 49"/>
                <a:gd name="T9" fmla="*/ 72 h 72"/>
                <a:gd name="T10" fmla="*/ 0 w 49"/>
                <a:gd name="T11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72">
                  <a:moveTo>
                    <a:pt x="0" y="65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4" y="6"/>
                    <a:pt x="23" y="0"/>
                    <a:pt x="33" y="2"/>
                  </a:cubicBezTo>
                  <a:cubicBezTo>
                    <a:pt x="43" y="4"/>
                    <a:pt x="49" y="14"/>
                    <a:pt x="47" y="24"/>
                  </a:cubicBezTo>
                  <a:cubicBezTo>
                    <a:pt x="36" y="72"/>
                    <a:pt x="36" y="72"/>
                    <a:pt x="36" y="72"/>
                  </a:cubicBezTo>
                  <a:lnTo>
                    <a:pt x="0" y="65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1" name="Freeform 22">
              <a:extLst>
                <a:ext uri="{FF2B5EF4-FFF2-40B4-BE49-F238E27FC236}">
                  <a16:creationId xmlns:a16="http://schemas.microsoft.com/office/drawing/2014/main" id="{21FDD54E-4D22-429D-A298-B52121440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1898"/>
              <a:ext cx="171" cy="49"/>
            </a:xfrm>
            <a:custGeom>
              <a:avLst/>
              <a:gdLst>
                <a:gd name="T0" fmla="*/ 72 w 72"/>
                <a:gd name="T1" fmla="*/ 20 h 21"/>
                <a:gd name="T2" fmla="*/ 36 w 72"/>
                <a:gd name="T3" fmla="*/ 13 h 21"/>
                <a:gd name="T4" fmla="*/ 1 w 72"/>
                <a:gd name="T5" fmla="*/ 1 h 21"/>
                <a:gd name="T6" fmla="*/ 37 w 72"/>
                <a:gd name="T7" fmla="*/ 8 h 21"/>
                <a:gd name="T8" fmla="*/ 72 w 72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1">
                  <a:moveTo>
                    <a:pt x="72" y="20"/>
                  </a:moveTo>
                  <a:cubicBezTo>
                    <a:pt x="72" y="21"/>
                    <a:pt x="55" y="18"/>
                    <a:pt x="36" y="13"/>
                  </a:cubicBezTo>
                  <a:cubicBezTo>
                    <a:pt x="16" y="8"/>
                    <a:pt x="0" y="3"/>
                    <a:pt x="1" y="1"/>
                  </a:cubicBezTo>
                  <a:cubicBezTo>
                    <a:pt x="1" y="0"/>
                    <a:pt x="17" y="3"/>
                    <a:pt x="37" y="8"/>
                  </a:cubicBezTo>
                  <a:cubicBezTo>
                    <a:pt x="57" y="13"/>
                    <a:pt x="72" y="18"/>
                    <a:pt x="72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2" name="Freeform 23">
              <a:extLst>
                <a:ext uri="{FF2B5EF4-FFF2-40B4-BE49-F238E27FC236}">
                  <a16:creationId xmlns:a16="http://schemas.microsoft.com/office/drawing/2014/main" id="{5DB26E2E-CA1B-4D04-B759-F041EAF3D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" y="1658"/>
              <a:ext cx="238" cy="430"/>
            </a:xfrm>
            <a:custGeom>
              <a:avLst/>
              <a:gdLst>
                <a:gd name="T0" fmla="*/ 1 w 100"/>
                <a:gd name="T1" fmla="*/ 181 h 181"/>
                <a:gd name="T2" fmla="*/ 4 w 100"/>
                <a:gd name="T3" fmla="*/ 147 h 181"/>
                <a:gd name="T4" fmla="*/ 17 w 100"/>
                <a:gd name="T5" fmla="*/ 64 h 181"/>
                <a:gd name="T6" fmla="*/ 33 w 100"/>
                <a:gd name="T7" fmla="*/ 21 h 181"/>
                <a:gd name="T8" fmla="*/ 66 w 100"/>
                <a:gd name="T9" fmla="*/ 1 h 181"/>
                <a:gd name="T10" fmla="*/ 92 w 100"/>
                <a:gd name="T11" fmla="*/ 5 h 181"/>
                <a:gd name="T12" fmla="*/ 100 w 100"/>
                <a:gd name="T13" fmla="*/ 10 h 181"/>
                <a:gd name="T14" fmla="*/ 91 w 100"/>
                <a:gd name="T15" fmla="*/ 7 h 181"/>
                <a:gd name="T16" fmla="*/ 67 w 100"/>
                <a:gd name="T17" fmla="*/ 5 h 181"/>
                <a:gd name="T18" fmla="*/ 37 w 100"/>
                <a:gd name="T19" fmla="*/ 24 h 181"/>
                <a:gd name="T20" fmla="*/ 23 w 100"/>
                <a:gd name="T21" fmla="*/ 66 h 181"/>
                <a:gd name="T22" fmla="*/ 7 w 100"/>
                <a:gd name="T23" fmla="*/ 147 h 181"/>
                <a:gd name="T24" fmla="*/ 1 w 100"/>
                <a:gd name="T2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81">
                  <a:moveTo>
                    <a:pt x="1" y="181"/>
                  </a:moveTo>
                  <a:cubicBezTo>
                    <a:pt x="0" y="181"/>
                    <a:pt x="1" y="168"/>
                    <a:pt x="4" y="147"/>
                  </a:cubicBezTo>
                  <a:cubicBezTo>
                    <a:pt x="6" y="125"/>
                    <a:pt x="11" y="96"/>
                    <a:pt x="17" y="64"/>
                  </a:cubicBezTo>
                  <a:cubicBezTo>
                    <a:pt x="21" y="49"/>
                    <a:pt x="24" y="33"/>
                    <a:pt x="33" y="21"/>
                  </a:cubicBezTo>
                  <a:cubicBezTo>
                    <a:pt x="42" y="9"/>
                    <a:pt x="55" y="3"/>
                    <a:pt x="66" y="1"/>
                  </a:cubicBezTo>
                  <a:cubicBezTo>
                    <a:pt x="77" y="0"/>
                    <a:pt x="86" y="3"/>
                    <a:pt x="92" y="5"/>
                  </a:cubicBezTo>
                  <a:cubicBezTo>
                    <a:pt x="97" y="7"/>
                    <a:pt x="100" y="10"/>
                    <a:pt x="100" y="10"/>
                  </a:cubicBezTo>
                  <a:cubicBezTo>
                    <a:pt x="99" y="10"/>
                    <a:pt x="97" y="9"/>
                    <a:pt x="91" y="7"/>
                  </a:cubicBezTo>
                  <a:cubicBezTo>
                    <a:pt x="85" y="5"/>
                    <a:pt x="77" y="3"/>
                    <a:pt x="67" y="5"/>
                  </a:cubicBezTo>
                  <a:cubicBezTo>
                    <a:pt x="57" y="7"/>
                    <a:pt x="45" y="13"/>
                    <a:pt x="37" y="24"/>
                  </a:cubicBezTo>
                  <a:cubicBezTo>
                    <a:pt x="29" y="35"/>
                    <a:pt x="26" y="50"/>
                    <a:pt x="23" y="66"/>
                  </a:cubicBezTo>
                  <a:cubicBezTo>
                    <a:pt x="16" y="97"/>
                    <a:pt x="11" y="126"/>
                    <a:pt x="7" y="147"/>
                  </a:cubicBezTo>
                  <a:cubicBezTo>
                    <a:pt x="4" y="168"/>
                    <a:pt x="2" y="181"/>
                    <a:pt x="1" y="18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3" name="Freeform 24">
              <a:extLst>
                <a:ext uri="{FF2B5EF4-FFF2-40B4-BE49-F238E27FC236}">
                  <a16:creationId xmlns:a16="http://schemas.microsoft.com/office/drawing/2014/main" id="{D20305C9-9ADC-4FB4-AE6A-129C706F6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60"/>
              <a:ext cx="166" cy="250"/>
            </a:xfrm>
            <a:custGeom>
              <a:avLst/>
              <a:gdLst>
                <a:gd name="T0" fmla="*/ 0 w 70"/>
                <a:gd name="T1" fmla="*/ 0 h 105"/>
                <a:gd name="T2" fmla="*/ 14 w 70"/>
                <a:gd name="T3" fmla="*/ 102 h 105"/>
                <a:gd name="T4" fmla="*/ 70 w 70"/>
                <a:gd name="T5" fmla="*/ 13 h 105"/>
                <a:gd name="T6" fmla="*/ 0 w 70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105">
                  <a:moveTo>
                    <a:pt x="0" y="0"/>
                  </a:moveTo>
                  <a:cubicBezTo>
                    <a:pt x="0" y="0"/>
                    <a:pt x="0" y="100"/>
                    <a:pt x="14" y="102"/>
                  </a:cubicBezTo>
                  <a:cubicBezTo>
                    <a:pt x="30" y="105"/>
                    <a:pt x="70" y="13"/>
                    <a:pt x="70" y="1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4" name="Freeform 25">
              <a:extLst>
                <a:ext uri="{FF2B5EF4-FFF2-40B4-BE49-F238E27FC236}">
                  <a16:creationId xmlns:a16="http://schemas.microsoft.com/office/drawing/2014/main" id="{C7482564-B876-4BDA-A6F9-57F2E9EDE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55"/>
              <a:ext cx="159" cy="41"/>
            </a:xfrm>
            <a:custGeom>
              <a:avLst/>
              <a:gdLst>
                <a:gd name="T0" fmla="*/ 66 w 67"/>
                <a:gd name="T1" fmla="*/ 16 h 17"/>
                <a:gd name="T2" fmla="*/ 34 w 67"/>
                <a:gd name="T3" fmla="*/ 5 h 17"/>
                <a:gd name="T4" fmla="*/ 0 w 67"/>
                <a:gd name="T5" fmla="*/ 1 h 17"/>
                <a:gd name="T6" fmla="*/ 10 w 67"/>
                <a:gd name="T7" fmla="*/ 0 h 17"/>
                <a:gd name="T8" fmla="*/ 34 w 67"/>
                <a:gd name="T9" fmla="*/ 3 h 17"/>
                <a:gd name="T10" fmla="*/ 58 w 67"/>
                <a:gd name="T11" fmla="*/ 11 h 17"/>
                <a:gd name="T12" fmla="*/ 66 w 67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17">
                  <a:moveTo>
                    <a:pt x="66" y="16"/>
                  </a:moveTo>
                  <a:cubicBezTo>
                    <a:pt x="66" y="17"/>
                    <a:pt x="53" y="9"/>
                    <a:pt x="34" y="5"/>
                  </a:cubicBezTo>
                  <a:cubicBezTo>
                    <a:pt x="15" y="1"/>
                    <a:pt x="0" y="2"/>
                    <a:pt x="0" y="1"/>
                  </a:cubicBezTo>
                  <a:cubicBezTo>
                    <a:pt x="0" y="1"/>
                    <a:pt x="3" y="1"/>
                    <a:pt x="10" y="0"/>
                  </a:cubicBezTo>
                  <a:cubicBezTo>
                    <a:pt x="16" y="0"/>
                    <a:pt x="25" y="1"/>
                    <a:pt x="34" y="3"/>
                  </a:cubicBezTo>
                  <a:cubicBezTo>
                    <a:pt x="44" y="5"/>
                    <a:pt x="52" y="8"/>
                    <a:pt x="58" y="11"/>
                  </a:cubicBezTo>
                  <a:cubicBezTo>
                    <a:pt x="63" y="14"/>
                    <a:pt x="67" y="16"/>
                    <a:pt x="66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5" name="Freeform 26">
              <a:extLst>
                <a:ext uri="{FF2B5EF4-FFF2-40B4-BE49-F238E27FC236}">
                  <a16:creationId xmlns:a16="http://schemas.microsoft.com/office/drawing/2014/main" id="{A3954D25-D3DB-43B9-A5A8-ACFC79D82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6" name="Freeform 27">
              <a:extLst>
                <a:ext uri="{FF2B5EF4-FFF2-40B4-BE49-F238E27FC236}">
                  <a16:creationId xmlns:a16="http://schemas.microsoft.com/office/drawing/2014/main" id="{B3D2C772-AAD4-4EC9-8E99-3CBC3CE23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7" name="Freeform 28">
              <a:extLst>
                <a:ext uri="{FF2B5EF4-FFF2-40B4-BE49-F238E27FC236}">
                  <a16:creationId xmlns:a16="http://schemas.microsoft.com/office/drawing/2014/main" id="{486F5621-F074-460C-BBEA-A27E7AA74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8" name="Freeform 29">
              <a:extLst>
                <a:ext uri="{FF2B5EF4-FFF2-40B4-BE49-F238E27FC236}">
                  <a16:creationId xmlns:a16="http://schemas.microsoft.com/office/drawing/2014/main" id="{C9FE2E84-4ADB-406D-B04F-6712F62B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9" name="Freeform 30">
              <a:extLst>
                <a:ext uri="{FF2B5EF4-FFF2-40B4-BE49-F238E27FC236}">
                  <a16:creationId xmlns:a16="http://schemas.microsoft.com/office/drawing/2014/main" id="{3C63BAFF-0513-4E72-83E4-3F5F1350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0" name="Freeform 31">
              <a:extLst>
                <a:ext uri="{FF2B5EF4-FFF2-40B4-BE49-F238E27FC236}">
                  <a16:creationId xmlns:a16="http://schemas.microsoft.com/office/drawing/2014/main" id="{0D6D5434-A866-4714-BFBB-E23784A2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1" name="Freeform 32">
              <a:extLst>
                <a:ext uri="{FF2B5EF4-FFF2-40B4-BE49-F238E27FC236}">
                  <a16:creationId xmlns:a16="http://schemas.microsoft.com/office/drawing/2014/main" id="{E863B812-42C8-4BE8-AC06-58AF0B535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2" name="Freeform 33">
              <a:extLst>
                <a:ext uri="{FF2B5EF4-FFF2-40B4-BE49-F238E27FC236}">
                  <a16:creationId xmlns:a16="http://schemas.microsoft.com/office/drawing/2014/main" id="{0E1F1008-D461-4A7B-8AF0-6A09B4C48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3" name="Freeform 34">
              <a:extLst>
                <a:ext uri="{FF2B5EF4-FFF2-40B4-BE49-F238E27FC236}">
                  <a16:creationId xmlns:a16="http://schemas.microsoft.com/office/drawing/2014/main" id="{BD42992A-DDDE-4392-BD96-567C01890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4" name="Freeform 35">
              <a:extLst>
                <a:ext uri="{FF2B5EF4-FFF2-40B4-BE49-F238E27FC236}">
                  <a16:creationId xmlns:a16="http://schemas.microsoft.com/office/drawing/2014/main" id="{D851B238-CE9C-401F-8086-456B97AD8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5" name="Freeform 36">
              <a:extLst>
                <a:ext uri="{FF2B5EF4-FFF2-40B4-BE49-F238E27FC236}">
                  <a16:creationId xmlns:a16="http://schemas.microsoft.com/office/drawing/2014/main" id="{321B4152-CB49-4255-BF5F-7D3A8D3ED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553"/>
              <a:ext cx="2436" cy="3195"/>
            </a:xfrm>
            <a:custGeom>
              <a:avLst/>
              <a:gdLst>
                <a:gd name="T0" fmla="*/ 1026 w 1026"/>
                <a:gd name="T1" fmla="*/ 1344 h 1345"/>
                <a:gd name="T2" fmla="*/ 944 w 1026"/>
                <a:gd name="T3" fmla="*/ 1 h 1345"/>
                <a:gd name="T4" fmla="*/ 945 w 1026"/>
                <a:gd name="T5" fmla="*/ 2 h 1345"/>
                <a:gd name="T6" fmla="*/ 2 w 1026"/>
                <a:gd name="T7" fmla="*/ 2 h 1345"/>
                <a:gd name="T8" fmla="*/ 3 w 1026"/>
                <a:gd name="T9" fmla="*/ 1 h 1345"/>
                <a:gd name="T10" fmla="*/ 3 w 1026"/>
                <a:gd name="T11" fmla="*/ 7 h 1345"/>
                <a:gd name="T12" fmla="*/ 70 w 1026"/>
                <a:gd name="T13" fmla="*/ 1344 h 1345"/>
                <a:gd name="T14" fmla="*/ 69 w 1026"/>
                <a:gd name="T15" fmla="*/ 1343 h 1345"/>
                <a:gd name="T16" fmla="*/ 1026 w 1026"/>
                <a:gd name="T17" fmla="*/ 1344 h 1345"/>
                <a:gd name="T18" fmla="*/ 69 w 1026"/>
                <a:gd name="T19" fmla="*/ 1345 h 1345"/>
                <a:gd name="T20" fmla="*/ 69 w 1026"/>
                <a:gd name="T21" fmla="*/ 1345 h 1345"/>
                <a:gd name="T22" fmla="*/ 69 w 1026"/>
                <a:gd name="T23" fmla="*/ 1344 h 1345"/>
                <a:gd name="T24" fmla="*/ 1 w 1026"/>
                <a:gd name="T25" fmla="*/ 7 h 1345"/>
                <a:gd name="T26" fmla="*/ 0 w 1026"/>
                <a:gd name="T27" fmla="*/ 1 h 1345"/>
                <a:gd name="T28" fmla="*/ 0 w 1026"/>
                <a:gd name="T29" fmla="*/ 0 h 1345"/>
                <a:gd name="T30" fmla="*/ 2 w 1026"/>
                <a:gd name="T31" fmla="*/ 0 h 1345"/>
                <a:gd name="T32" fmla="*/ 945 w 1026"/>
                <a:gd name="T33" fmla="*/ 0 h 1345"/>
                <a:gd name="T34" fmla="*/ 946 w 1026"/>
                <a:gd name="T35" fmla="*/ 0 h 1345"/>
                <a:gd name="T36" fmla="*/ 946 w 1026"/>
                <a:gd name="T37" fmla="*/ 1 h 1345"/>
                <a:gd name="T38" fmla="*/ 1026 w 1026"/>
                <a:gd name="T39" fmla="*/ 1344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6" h="1345">
                  <a:moveTo>
                    <a:pt x="1026" y="1344"/>
                  </a:moveTo>
                  <a:cubicBezTo>
                    <a:pt x="1026" y="1336"/>
                    <a:pt x="993" y="794"/>
                    <a:pt x="944" y="1"/>
                  </a:cubicBezTo>
                  <a:cubicBezTo>
                    <a:pt x="945" y="2"/>
                    <a:pt x="945" y="2"/>
                    <a:pt x="945" y="2"/>
                  </a:cubicBezTo>
                  <a:cubicBezTo>
                    <a:pt x="659" y="2"/>
                    <a:pt x="339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3"/>
                    <a:pt x="3" y="5"/>
                    <a:pt x="3" y="7"/>
                  </a:cubicBezTo>
                  <a:cubicBezTo>
                    <a:pt x="28" y="507"/>
                    <a:pt x="51" y="971"/>
                    <a:pt x="70" y="1344"/>
                  </a:cubicBezTo>
                  <a:cubicBezTo>
                    <a:pt x="69" y="1343"/>
                    <a:pt x="69" y="1343"/>
                    <a:pt x="69" y="1343"/>
                  </a:cubicBezTo>
                  <a:cubicBezTo>
                    <a:pt x="650" y="1344"/>
                    <a:pt x="1019" y="1344"/>
                    <a:pt x="1026" y="1344"/>
                  </a:cubicBezTo>
                  <a:cubicBezTo>
                    <a:pt x="1019" y="1344"/>
                    <a:pt x="650" y="1345"/>
                    <a:pt x="69" y="1345"/>
                  </a:cubicBezTo>
                  <a:cubicBezTo>
                    <a:pt x="69" y="1345"/>
                    <a:pt x="69" y="1345"/>
                    <a:pt x="69" y="1345"/>
                  </a:cubicBezTo>
                  <a:cubicBezTo>
                    <a:pt x="69" y="1344"/>
                    <a:pt x="69" y="1344"/>
                    <a:pt x="69" y="1344"/>
                  </a:cubicBezTo>
                  <a:cubicBezTo>
                    <a:pt x="50" y="971"/>
                    <a:pt x="26" y="508"/>
                    <a:pt x="1" y="7"/>
                  </a:cubicBezTo>
                  <a:cubicBezTo>
                    <a:pt x="1" y="5"/>
                    <a:pt x="1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39" y="0"/>
                    <a:pt x="659" y="0"/>
                    <a:pt x="945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46" y="1"/>
                    <a:pt x="946" y="1"/>
                    <a:pt x="946" y="1"/>
                  </a:cubicBezTo>
                  <a:cubicBezTo>
                    <a:pt x="993" y="794"/>
                    <a:pt x="1026" y="1336"/>
                    <a:pt x="1026" y="13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" name="Freeform 37">
              <a:extLst>
                <a:ext uri="{FF2B5EF4-FFF2-40B4-BE49-F238E27FC236}">
                  <a16:creationId xmlns:a16="http://schemas.microsoft.com/office/drawing/2014/main" id="{A8528386-FC30-492A-9E8C-06D49E0C4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282"/>
              <a:ext cx="2259" cy="29"/>
            </a:xfrm>
            <a:custGeom>
              <a:avLst/>
              <a:gdLst>
                <a:gd name="T0" fmla="*/ 951 w 951"/>
                <a:gd name="T1" fmla="*/ 1 h 12"/>
                <a:gd name="T2" fmla="*/ 476 w 951"/>
                <a:gd name="T3" fmla="*/ 7 h 12"/>
                <a:gd name="T4" fmla="*/ 0 w 951"/>
                <a:gd name="T5" fmla="*/ 11 h 12"/>
                <a:gd name="T6" fmla="*/ 476 w 951"/>
                <a:gd name="T7" fmla="*/ 5 h 12"/>
                <a:gd name="T8" fmla="*/ 951 w 951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1" h="12">
                  <a:moveTo>
                    <a:pt x="951" y="1"/>
                  </a:moveTo>
                  <a:cubicBezTo>
                    <a:pt x="951" y="2"/>
                    <a:pt x="738" y="4"/>
                    <a:pt x="476" y="7"/>
                  </a:cubicBezTo>
                  <a:cubicBezTo>
                    <a:pt x="213" y="10"/>
                    <a:pt x="0" y="12"/>
                    <a:pt x="0" y="11"/>
                  </a:cubicBezTo>
                  <a:cubicBezTo>
                    <a:pt x="0" y="11"/>
                    <a:pt x="213" y="8"/>
                    <a:pt x="476" y="5"/>
                  </a:cubicBezTo>
                  <a:cubicBezTo>
                    <a:pt x="738" y="2"/>
                    <a:pt x="951" y="0"/>
                    <a:pt x="951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7" name="Oval 38">
              <a:extLst>
                <a:ext uri="{FF2B5EF4-FFF2-40B4-BE49-F238E27FC236}">
                  <a16:creationId xmlns:a16="http://schemas.microsoft.com/office/drawing/2014/main" id="{5E858689-5FE0-43A4-8F21-0011F683C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6" y="871"/>
              <a:ext cx="2244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8" name="Freeform 39">
              <a:extLst>
                <a:ext uri="{FF2B5EF4-FFF2-40B4-BE49-F238E27FC236}">
                  <a16:creationId xmlns:a16="http://schemas.microsoft.com/office/drawing/2014/main" id="{888B4509-D73C-4E23-B2A8-34D3E7BC1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3408"/>
              <a:ext cx="62" cy="126"/>
            </a:xfrm>
            <a:custGeom>
              <a:avLst/>
              <a:gdLst>
                <a:gd name="T0" fmla="*/ 1 w 26"/>
                <a:gd name="T1" fmla="*/ 53 h 53"/>
                <a:gd name="T2" fmla="*/ 12 w 26"/>
                <a:gd name="T3" fmla="*/ 26 h 53"/>
                <a:gd name="T4" fmla="*/ 25 w 26"/>
                <a:gd name="T5" fmla="*/ 0 h 53"/>
                <a:gd name="T6" fmla="*/ 14 w 26"/>
                <a:gd name="T7" fmla="*/ 27 h 53"/>
                <a:gd name="T8" fmla="*/ 1 w 26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53">
                  <a:moveTo>
                    <a:pt x="1" y="53"/>
                  </a:moveTo>
                  <a:cubicBezTo>
                    <a:pt x="0" y="52"/>
                    <a:pt x="5" y="40"/>
                    <a:pt x="12" y="26"/>
                  </a:cubicBezTo>
                  <a:cubicBezTo>
                    <a:pt x="19" y="12"/>
                    <a:pt x="25" y="0"/>
                    <a:pt x="25" y="0"/>
                  </a:cubicBezTo>
                  <a:cubicBezTo>
                    <a:pt x="26" y="1"/>
                    <a:pt x="21" y="12"/>
                    <a:pt x="14" y="27"/>
                  </a:cubicBezTo>
                  <a:cubicBezTo>
                    <a:pt x="7" y="41"/>
                    <a:pt x="1" y="53"/>
                    <a:pt x="1" y="53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9" name="Freeform 40">
              <a:extLst>
                <a:ext uri="{FF2B5EF4-FFF2-40B4-BE49-F238E27FC236}">
                  <a16:creationId xmlns:a16="http://schemas.microsoft.com/office/drawing/2014/main" id="{FD7106BD-FE03-4721-9611-6EE2DB892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544"/>
              <a:ext cx="111" cy="85"/>
            </a:xfrm>
            <a:custGeom>
              <a:avLst/>
              <a:gdLst>
                <a:gd name="T0" fmla="*/ 46 w 47"/>
                <a:gd name="T1" fmla="*/ 36 h 36"/>
                <a:gd name="T2" fmla="*/ 23 w 47"/>
                <a:gd name="T3" fmla="*/ 19 h 36"/>
                <a:gd name="T4" fmla="*/ 1 w 47"/>
                <a:gd name="T5" fmla="*/ 0 h 36"/>
                <a:gd name="T6" fmla="*/ 24 w 47"/>
                <a:gd name="T7" fmla="*/ 17 h 36"/>
                <a:gd name="T8" fmla="*/ 46 w 47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6" y="36"/>
                  </a:moveTo>
                  <a:cubicBezTo>
                    <a:pt x="46" y="36"/>
                    <a:pt x="35" y="29"/>
                    <a:pt x="23" y="19"/>
                  </a:cubicBezTo>
                  <a:cubicBezTo>
                    <a:pt x="10" y="9"/>
                    <a:pt x="0" y="1"/>
                    <a:pt x="1" y="0"/>
                  </a:cubicBezTo>
                  <a:cubicBezTo>
                    <a:pt x="1" y="0"/>
                    <a:pt x="12" y="7"/>
                    <a:pt x="24" y="17"/>
                  </a:cubicBezTo>
                  <a:cubicBezTo>
                    <a:pt x="37" y="27"/>
                    <a:pt x="47" y="35"/>
                    <a:pt x="46" y="3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0" name="Freeform 41">
              <a:extLst>
                <a:ext uri="{FF2B5EF4-FFF2-40B4-BE49-F238E27FC236}">
                  <a16:creationId xmlns:a16="http://schemas.microsoft.com/office/drawing/2014/main" id="{6526AAC0-129D-470F-A7CC-22D04486A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3392"/>
              <a:ext cx="114" cy="125"/>
            </a:xfrm>
            <a:custGeom>
              <a:avLst/>
              <a:gdLst>
                <a:gd name="T0" fmla="*/ 47 w 48"/>
                <a:gd name="T1" fmla="*/ 1 h 53"/>
                <a:gd name="T2" fmla="*/ 24 w 48"/>
                <a:gd name="T3" fmla="*/ 27 h 53"/>
                <a:gd name="T4" fmla="*/ 0 w 48"/>
                <a:gd name="T5" fmla="*/ 53 h 53"/>
                <a:gd name="T6" fmla="*/ 23 w 48"/>
                <a:gd name="T7" fmla="*/ 26 h 53"/>
                <a:gd name="T8" fmla="*/ 47 w 48"/>
                <a:gd name="T9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3">
                  <a:moveTo>
                    <a:pt x="47" y="1"/>
                  </a:moveTo>
                  <a:cubicBezTo>
                    <a:pt x="48" y="1"/>
                    <a:pt x="38" y="13"/>
                    <a:pt x="24" y="27"/>
                  </a:cubicBezTo>
                  <a:cubicBezTo>
                    <a:pt x="11" y="42"/>
                    <a:pt x="0" y="53"/>
                    <a:pt x="0" y="53"/>
                  </a:cubicBezTo>
                  <a:cubicBezTo>
                    <a:pt x="0" y="52"/>
                    <a:pt x="10" y="40"/>
                    <a:pt x="23" y="26"/>
                  </a:cubicBezTo>
                  <a:cubicBezTo>
                    <a:pt x="36" y="11"/>
                    <a:pt x="47" y="0"/>
                    <a:pt x="47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1" name="Freeform 42">
              <a:extLst>
                <a:ext uri="{FF2B5EF4-FFF2-40B4-BE49-F238E27FC236}">
                  <a16:creationId xmlns:a16="http://schemas.microsoft.com/office/drawing/2014/main" id="{0220EA52-C53B-4BED-BAAD-65687856C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" y="3525"/>
              <a:ext cx="76" cy="87"/>
            </a:xfrm>
            <a:custGeom>
              <a:avLst/>
              <a:gdLst>
                <a:gd name="T0" fmla="*/ 31 w 32"/>
                <a:gd name="T1" fmla="*/ 37 h 37"/>
                <a:gd name="T2" fmla="*/ 15 w 32"/>
                <a:gd name="T3" fmla="*/ 20 h 37"/>
                <a:gd name="T4" fmla="*/ 0 w 32"/>
                <a:gd name="T5" fmla="*/ 1 h 37"/>
                <a:gd name="T6" fmla="*/ 16 w 32"/>
                <a:gd name="T7" fmla="*/ 18 h 37"/>
                <a:gd name="T8" fmla="*/ 31 w 3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7">
                  <a:moveTo>
                    <a:pt x="31" y="37"/>
                  </a:moveTo>
                  <a:cubicBezTo>
                    <a:pt x="31" y="37"/>
                    <a:pt x="24" y="30"/>
                    <a:pt x="15" y="20"/>
                  </a:cubicBezTo>
                  <a:cubicBezTo>
                    <a:pt x="6" y="9"/>
                    <a:pt x="0" y="1"/>
                    <a:pt x="0" y="1"/>
                  </a:cubicBezTo>
                  <a:cubicBezTo>
                    <a:pt x="0" y="0"/>
                    <a:pt x="8" y="8"/>
                    <a:pt x="16" y="18"/>
                  </a:cubicBezTo>
                  <a:cubicBezTo>
                    <a:pt x="25" y="28"/>
                    <a:pt x="32" y="37"/>
                    <a:pt x="31" y="37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2" name="Freeform 43">
              <a:extLst>
                <a:ext uri="{FF2B5EF4-FFF2-40B4-BE49-F238E27FC236}">
                  <a16:creationId xmlns:a16="http://schemas.microsoft.com/office/drawing/2014/main" id="{F3A6A369-8779-4070-BFB3-B185B8F98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425"/>
              <a:ext cx="140" cy="28"/>
            </a:xfrm>
            <a:custGeom>
              <a:avLst/>
              <a:gdLst>
                <a:gd name="T0" fmla="*/ 59 w 59"/>
                <a:gd name="T1" fmla="*/ 0 h 12"/>
                <a:gd name="T2" fmla="*/ 30 w 59"/>
                <a:gd name="T3" fmla="*/ 7 h 12"/>
                <a:gd name="T4" fmla="*/ 0 w 59"/>
                <a:gd name="T5" fmla="*/ 12 h 12"/>
                <a:gd name="T6" fmla="*/ 30 w 59"/>
                <a:gd name="T7" fmla="*/ 5 h 12"/>
                <a:gd name="T8" fmla="*/ 59 w 5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cubicBezTo>
                    <a:pt x="59" y="1"/>
                    <a:pt x="46" y="4"/>
                    <a:pt x="30" y="7"/>
                  </a:cubicBezTo>
                  <a:cubicBezTo>
                    <a:pt x="14" y="10"/>
                    <a:pt x="0" y="12"/>
                    <a:pt x="0" y="12"/>
                  </a:cubicBezTo>
                  <a:cubicBezTo>
                    <a:pt x="0" y="11"/>
                    <a:pt x="13" y="8"/>
                    <a:pt x="30" y="5"/>
                  </a:cubicBezTo>
                  <a:cubicBezTo>
                    <a:pt x="46" y="2"/>
                    <a:pt x="59" y="0"/>
                    <a:pt x="59" y="0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3" name="Freeform 44">
              <a:extLst>
                <a:ext uri="{FF2B5EF4-FFF2-40B4-BE49-F238E27FC236}">
                  <a16:creationId xmlns:a16="http://schemas.microsoft.com/office/drawing/2014/main" id="{83A854E1-231D-4B79-88F3-A81DAA1A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" y="3430"/>
              <a:ext cx="60" cy="140"/>
            </a:xfrm>
            <a:custGeom>
              <a:avLst/>
              <a:gdLst>
                <a:gd name="T0" fmla="*/ 0 w 25"/>
                <a:gd name="T1" fmla="*/ 59 h 59"/>
                <a:gd name="T2" fmla="*/ 2 w 25"/>
                <a:gd name="T3" fmla="*/ 50 h 59"/>
                <a:gd name="T4" fmla="*/ 10 w 25"/>
                <a:gd name="T5" fmla="*/ 29 h 59"/>
                <a:gd name="T6" fmla="*/ 20 w 25"/>
                <a:gd name="T7" fmla="*/ 8 h 59"/>
                <a:gd name="T8" fmla="*/ 25 w 25"/>
                <a:gd name="T9" fmla="*/ 1 h 59"/>
                <a:gd name="T10" fmla="*/ 21 w 25"/>
                <a:gd name="T11" fmla="*/ 9 h 59"/>
                <a:gd name="T12" fmla="*/ 11 w 25"/>
                <a:gd name="T13" fmla="*/ 30 h 59"/>
                <a:gd name="T14" fmla="*/ 3 w 25"/>
                <a:gd name="T15" fmla="*/ 51 h 59"/>
                <a:gd name="T16" fmla="*/ 0 w 25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59">
                  <a:moveTo>
                    <a:pt x="0" y="59"/>
                  </a:moveTo>
                  <a:cubicBezTo>
                    <a:pt x="0" y="59"/>
                    <a:pt x="0" y="56"/>
                    <a:pt x="2" y="50"/>
                  </a:cubicBezTo>
                  <a:cubicBezTo>
                    <a:pt x="4" y="45"/>
                    <a:pt x="6" y="37"/>
                    <a:pt x="10" y="29"/>
                  </a:cubicBezTo>
                  <a:cubicBezTo>
                    <a:pt x="13" y="21"/>
                    <a:pt x="17" y="13"/>
                    <a:pt x="20" y="8"/>
                  </a:cubicBezTo>
                  <a:cubicBezTo>
                    <a:pt x="23" y="3"/>
                    <a:pt x="25" y="0"/>
                    <a:pt x="25" y="1"/>
                  </a:cubicBezTo>
                  <a:cubicBezTo>
                    <a:pt x="25" y="1"/>
                    <a:pt x="23" y="4"/>
                    <a:pt x="21" y="9"/>
                  </a:cubicBezTo>
                  <a:cubicBezTo>
                    <a:pt x="18" y="14"/>
                    <a:pt x="15" y="21"/>
                    <a:pt x="11" y="30"/>
                  </a:cubicBezTo>
                  <a:cubicBezTo>
                    <a:pt x="8" y="38"/>
                    <a:pt x="5" y="45"/>
                    <a:pt x="3" y="51"/>
                  </a:cubicBezTo>
                  <a:cubicBezTo>
                    <a:pt x="1" y="56"/>
                    <a:pt x="0" y="59"/>
                    <a:pt x="0" y="59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14" name="Freeform 45">
              <a:extLst>
                <a:ext uri="{FF2B5EF4-FFF2-40B4-BE49-F238E27FC236}">
                  <a16:creationId xmlns:a16="http://schemas.microsoft.com/office/drawing/2014/main" id="{343DD6CC-1CBC-4465-B92D-E1166ED8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1" y="3634"/>
              <a:ext cx="97" cy="40"/>
            </a:xfrm>
            <a:custGeom>
              <a:avLst/>
              <a:gdLst>
                <a:gd name="T0" fmla="*/ 41 w 41"/>
                <a:gd name="T1" fmla="*/ 16 h 17"/>
                <a:gd name="T2" fmla="*/ 20 w 41"/>
                <a:gd name="T3" fmla="*/ 9 h 17"/>
                <a:gd name="T4" fmla="*/ 0 w 41"/>
                <a:gd name="T5" fmla="*/ 0 h 17"/>
                <a:gd name="T6" fmla="*/ 21 w 41"/>
                <a:gd name="T7" fmla="*/ 7 h 17"/>
                <a:gd name="T8" fmla="*/ 41 w 41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41" y="16"/>
                  </a:moveTo>
                  <a:cubicBezTo>
                    <a:pt x="41" y="17"/>
                    <a:pt x="31" y="14"/>
                    <a:pt x="20" y="9"/>
                  </a:cubicBezTo>
                  <a:cubicBezTo>
                    <a:pt x="9" y="5"/>
                    <a:pt x="0" y="1"/>
                    <a:pt x="0" y="0"/>
                  </a:cubicBezTo>
                  <a:cubicBezTo>
                    <a:pt x="0" y="0"/>
                    <a:pt x="10" y="3"/>
                    <a:pt x="21" y="7"/>
                  </a:cubicBezTo>
                  <a:cubicBezTo>
                    <a:pt x="32" y="12"/>
                    <a:pt x="41" y="16"/>
                    <a:pt x="41" y="1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5" name="Freeform 46">
              <a:extLst>
                <a:ext uri="{FF2B5EF4-FFF2-40B4-BE49-F238E27FC236}">
                  <a16:creationId xmlns:a16="http://schemas.microsoft.com/office/drawing/2014/main" id="{D639D18D-BDDE-438E-A4C7-5218A5C4B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7" y="151"/>
                    <a:pt x="85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6" name="Freeform 47">
              <a:extLst>
                <a:ext uri="{FF2B5EF4-FFF2-40B4-BE49-F238E27FC236}">
                  <a16:creationId xmlns:a16="http://schemas.microsoft.com/office/drawing/2014/main" id="{201D5233-5B20-46BC-A9CF-B78CC69F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8 w 33"/>
                <a:gd name="T3" fmla="*/ 32 h 33"/>
                <a:gd name="T4" fmla="*/ 1 w 33"/>
                <a:gd name="T5" fmla="*/ 19 h 33"/>
                <a:gd name="T6" fmla="*/ 14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8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4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7" name="Freeform 48">
              <a:extLst>
                <a:ext uri="{FF2B5EF4-FFF2-40B4-BE49-F238E27FC236}">
                  <a16:creationId xmlns:a16="http://schemas.microsoft.com/office/drawing/2014/main" id="{F8700010-893D-4935-829C-225C1305E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6 w 152"/>
                <a:gd name="T3" fmla="*/ 152 h 152"/>
                <a:gd name="T4" fmla="*/ 79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39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89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6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6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3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6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0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39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5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2" y="61"/>
                    <a:pt x="2" y="63"/>
                  </a:cubicBezTo>
                  <a:cubicBezTo>
                    <a:pt x="2" y="65"/>
                    <a:pt x="1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8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4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49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89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6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8" name="Freeform 49">
              <a:extLst>
                <a:ext uri="{FF2B5EF4-FFF2-40B4-BE49-F238E27FC236}">
                  <a16:creationId xmlns:a16="http://schemas.microsoft.com/office/drawing/2014/main" id="{30EF774B-CAB0-4306-8C2D-6970D529D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2" y="700"/>
              <a:ext cx="78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9" name="Freeform 50">
              <a:extLst>
                <a:ext uri="{FF2B5EF4-FFF2-40B4-BE49-F238E27FC236}">
                  <a16:creationId xmlns:a16="http://schemas.microsoft.com/office/drawing/2014/main" id="{217E5C42-BE1B-46D0-A682-9F7602545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6" y="151"/>
                    <a:pt x="84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0" name="Freeform 51">
              <a:extLst>
                <a:ext uri="{FF2B5EF4-FFF2-40B4-BE49-F238E27FC236}">
                  <a16:creationId xmlns:a16="http://schemas.microsoft.com/office/drawing/2014/main" id="{9600B6C1-CBF2-4FCC-B448-959DDCF1C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" y="700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3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1" name="Freeform 52">
              <a:extLst>
                <a:ext uri="{FF2B5EF4-FFF2-40B4-BE49-F238E27FC236}">
                  <a16:creationId xmlns:a16="http://schemas.microsoft.com/office/drawing/2014/main" id="{DF822E0C-B519-4280-86B5-70AB7C2D6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7 w 152"/>
                <a:gd name="T3" fmla="*/ 152 h 152"/>
                <a:gd name="T4" fmla="*/ 79 w 152"/>
                <a:gd name="T5" fmla="*/ 151 h 152"/>
                <a:gd name="T6" fmla="*/ 84 w 152"/>
                <a:gd name="T7" fmla="*/ 151 h 152"/>
                <a:gd name="T8" fmla="*/ 89 w 152"/>
                <a:gd name="T9" fmla="*/ 150 h 152"/>
                <a:gd name="T10" fmla="*/ 97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40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90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7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7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4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7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1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40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6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3" y="61"/>
                    <a:pt x="2" y="63"/>
                  </a:cubicBezTo>
                  <a:cubicBezTo>
                    <a:pt x="2" y="65"/>
                    <a:pt x="2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1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1" y="72"/>
                    <a:pt x="1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9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5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50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90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7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2" name="Freeform 53">
              <a:extLst>
                <a:ext uri="{FF2B5EF4-FFF2-40B4-BE49-F238E27FC236}">
                  <a16:creationId xmlns:a16="http://schemas.microsoft.com/office/drawing/2014/main" id="{4D292E3D-8497-4297-B1A4-200578A0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3" name="Freeform 54">
              <a:extLst>
                <a:ext uri="{FF2B5EF4-FFF2-40B4-BE49-F238E27FC236}">
                  <a16:creationId xmlns:a16="http://schemas.microsoft.com/office/drawing/2014/main" id="{71D350F0-720A-494C-9701-155B3CEA3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5" y="2073"/>
              <a:ext cx="477" cy="639"/>
            </a:xfrm>
            <a:custGeom>
              <a:avLst/>
              <a:gdLst>
                <a:gd name="T0" fmla="*/ 136 w 201"/>
                <a:gd name="T1" fmla="*/ 0 h 269"/>
                <a:gd name="T2" fmla="*/ 111 w 201"/>
                <a:gd name="T3" fmla="*/ 24 h 269"/>
                <a:gd name="T4" fmla="*/ 80 w 201"/>
                <a:gd name="T5" fmla="*/ 40 h 269"/>
                <a:gd name="T6" fmla="*/ 65 w 201"/>
                <a:gd name="T7" fmla="*/ 84 h 269"/>
                <a:gd name="T8" fmla="*/ 19 w 201"/>
                <a:gd name="T9" fmla="*/ 115 h 269"/>
                <a:gd name="T10" fmla="*/ 1 w 201"/>
                <a:gd name="T11" fmla="*/ 155 h 269"/>
                <a:gd name="T12" fmla="*/ 8 w 201"/>
                <a:gd name="T13" fmla="*/ 201 h 269"/>
                <a:gd name="T14" fmla="*/ 36 w 201"/>
                <a:gd name="T15" fmla="*/ 249 h 269"/>
                <a:gd name="T16" fmla="*/ 127 w 201"/>
                <a:gd name="T17" fmla="*/ 250 h 269"/>
                <a:gd name="T18" fmla="*/ 194 w 201"/>
                <a:gd name="T19" fmla="*/ 201 h 269"/>
                <a:gd name="T20" fmla="*/ 195 w 201"/>
                <a:gd name="T21" fmla="*/ 147 h 269"/>
                <a:gd name="T22" fmla="*/ 177 w 201"/>
                <a:gd name="T23" fmla="*/ 31 h 269"/>
                <a:gd name="T24" fmla="*/ 136 w 201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" h="269">
                  <a:moveTo>
                    <a:pt x="136" y="0"/>
                  </a:moveTo>
                  <a:cubicBezTo>
                    <a:pt x="135" y="12"/>
                    <a:pt x="123" y="20"/>
                    <a:pt x="111" y="24"/>
                  </a:cubicBezTo>
                  <a:cubicBezTo>
                    <a:pt x="100" y="28"/>
                    <a:pt x="87" y="30"/>
                    <a:pt x="80" y="40"/>
                  </a:cubicBezTo>
                  <a:cubicBezTo>
                    <a:pt x="70" y="52"/>
                    <a:pt x="73" y="70"/>
                    <a:pt x="65" y="84"/>
                  </a:cubicBezTo>
                  <a:cubicBezTo>
                    <a:pt x="55" y="99"/>
                    <a:pt x="33" y="103"/>
                    <a:pt x="19" y="115"/>
                  </a:cubicBezTo>
                  <a:cubicBezTo>
                    <a:pt x="7" y="124"/>
                    <a:pt x="1" y="140"/>
                    <a:pt x="1" y="155"/>
                  </a:cubicBezTo>
                  <a:cubicBezTo>
                    <a:pt x="0" y="171"/>
                    <a:pt x="3" y="186"/>
                    <a:pt x="8" y="201"/>
                  </a:cubicBezTo>
                  <a:cubicBezTo>
                    <a:pt x="13" y="219"/>
                    <a:pt x="21" y="238"/>
                    <a:pt x="36" y="249"/>
                  </a:cubicBezTo>
                  <a:cubicBezTo>
                    <a:pt x="61" y="269"/>
                    <a:pt x="97" y="260"/>
                    <a:pt x="127" y="250"/>
                  </a:cubicBezTo>
                  <a:cubicBezTo>
                    <a:pt x="154" y="241"/>
                    <a:pt x="184" y="227"/>
                    <a:pt x="194" y="201"/>
                  </a:cubicBezTo>
                  <a:cubicBezTo>
                    <a:pt x="201" y="184"/>
                    <a:pt x="198" y="165"/>
                    <a:pt x="195" y="147"/>
                  </a:cubicBezTo>
                  <a:cubicBezTo>
                    <a:pt x="189" y="109"/>
                    <a:pt x="183" y="70"/>
                    <a:pt x="177" y="31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4" name="Freeform 55">
              <a:extLst>
                <a:ext uri="{FF2B5EF4-FFF2-40B4-BE49-F238E27FC236}">
                  <a16:creationId xmlns:a16="http://schemas.microsoft.com/office/drawing/2014/main" id="{9B68EDF7-3F34-4B7B-884F-9AA9CFC69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" y="2107"/>
              <a:ext cx="335" cy="489"/>
            </a:xfrm>
            <a:custGeom>
              <a:avLst/>
              <a:gdLst>
                <a:gd name="T0" fmla="*/ 13 w 141"/>
                <a:gd name="T1" fmla="*/ 206 h 206"/>
                <a:gd name="T2" fmla="*/ 11 w 141"/>
                <a:gd name="T3" fmla="*/ 204 h 206"/>
                <a:gd name="T4" fmla="*/ 7 w 141"/>
                <a:gd name="T5" fmla="*/ 197 h 206"/>
                <a:gd name="T6" fmla="*/ 1 w 141"/>
                <a:gd name="T7" fmla="*/ 168 h 206"/>
                <a:gd name="T8" fmla="*/ 2 w 141"/>
                <a:gd name="T9" fmla="*/ 148 h 206"/>
                <a:gd name="T10" fmla="*/ 11 w 141"/>
                <a:gd name="T11" fmla="*/ 126 h 206"/>
                <a:gd name="T12" fmla="*/ 52 w 141"/>
                <a:gd name="T13" fmla="*/ 93 h 206"/>
                <a:gd name="T14" fmla="*/ 75 w 141"/>
                <a:gd name="T15" fmla="*/ 79 h 206"/>
                <a:gd name="T16" fmla="*/ 86 w 141"/>
                <a:gd name="T17" fmla="*/ 57 h 206"/>
                <a:gd name="T18" fmla="*/ 94 w 141"/>
                <a:gd name="T19" fmla="*/ 35 h 206"/>
                <a:gd name="T20" fmla="*/ 107 w 141"/>
                <a:gd name="T21" fmla="*/ 19 h 206"/>
                <a:gd name="T22" fmla="*/ 131 w 141"/>
                <a:gd name="T23" fmla="*/ 3 h 206"/>
                <a:gd name="T24" fmla="*/ 138 w 141"/>
                <a:gd name="T25" fmla="*/ 0 h 206"/>
                <a:gd name="T26" fmla="*/ 141 w 141"/>
                <a:gd name="T27" fmla="*/ 0 h 206"/>
                <a:gd name="T28" fmla="*/ 131 w 141"/>
                <a:gd name="T29" fmla="*/ 4 h 206"/>
                <a:gd name="T30" fmla="*/ 108 w 141"/>
                <a:gd name="T31" fmla="*/ 20 h 206"/>
                <a:gd name="T32" fmla="*/ 96 w 141"/>
                <a:gd name="T33" fmla="*/ 36 h 206"/>
                <a:gd name="T34" fmla="*/ 87 w 141"/>
                <a:gd name="T35" fmla="*/ 57 h 206"/>
                <a:gd name="T36" fmla="*/ 77 w 141"/>
                <a:gd name="T37" fmla="*/ 81 h 206"/>
                <a:gd name="T38" fmla="*/ 53 w 141"/>
                <a:gd name="T39" fmla="*/ 95 h 206"/>
                <a:gd name="T40" fmla="*/ 13 w 141"/>
                <a:gd name="T41" fmla="*/ 127 h 206"/>
                <a:gd name="T42" fmla="*/ 2 w 141"/>
                <a:gd name="T43" fmla="*/ 168 h 206"/>
                <a:gd name="T44" fmla="*/ 8 w 141"/>
                <a:gd name="T45" fmla="*/ 196 h 206"/>
                <a:gd name="T46" fmla="*/ 13 w 141"/>
                <a:gd name="T4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1" h="206">
                  <a:moveTo>
                    <a:pt x="13" y="206"/>
                  </a:moveTo>
                  <a:cubicBezTo>
                    <a:pt x="13" y="206"/>
                    <a:pt x="12" y="205"/>
                    <a:pt x="11" y="204"/>
                  </a:cubicBezTo>
                  <a:cubicBezTo>
                    <a:pt x="10" y="202"/>
                    <a:pt x="9" y="200"/>
                    <a:pt x="7" y="197"/>
                  </a:cubicBezTo>
                  <a:cubicBezTo>
                    <a:pt x="4" y="190"/>
                    <a:pt x="1" y="181"/>
                    <a:pt x="1" y="168"/>
                  </a:cubicBezTo>
                  <a:cubicBezTo>
                    <a:pt x="0" y="162"/>
                    <a:pt x="1" y="155"/>
                    <a:pt x="2" y="148"/>
                  </a:cubicBezTo>
                  <a:cubicBezTo>
                    <a:pt x="4" y="141"/>
                    <a:pt x="7" y="133"/>
                    <a:pt x="11" y="126"/>
                  </a:cubicBezTo>
                  <a:cubicBezTo>
                    <a:pt x="20" y="112"/>
                    <a:pt x="34" y="99"/>
                    <a:pt x="52" y="93"/>
                  </a:cubicBezTo>
                  <a:cubicBezTo>
                    <a:pt x="61" y="89"/>
                    <a:pt x="69" y="86"/>
                    <a:pt x="75" y="79"/>
                  </a:cubicBezTo>
                  <a:cubicBezTo>
                    <a:pt x="81" y="73"/>
                    <a:pt x="83" y="65"/>
                    <a:pt x="86" y="57"/>
                  </a:cubicBezTo>
                  <a:cubicBezTo>
                    <a:pt x="88" y="49"/>
                    <a:pt x="90" y="42"/>
                    <a:pt x="94" y="35"/>
                  </a:cubicBezTo>
                  <a:cubicBezTo>
                    <a:pt x="98" y="29"/>
                    <a:pt x="102" y="23"/>
                    <a:pt x="107" y="19"/>
                  </a:cubicBezTo>
                  <a:cubicBezTo>
                    <a:pt x="115" y="10"/>
                    <a:pt x="125" y="5"/>
                    <a:pt x="131" y="3"/>
                  </a:cubicBezTo>
                  <a:cubicBezTo>
                    <a:pt x="134" y="2"/>
                    <a:pt x="137" y="1"/>
                    <a:pt x="138" y="0"/>
                  </a:cubicBezTo>
                  <a:cubicBezTo>
                    <a:pt x="140" y="0"/>
                    <a:pt x="141" y="0"/>
                    <a:pt x="141" y="0"/>
                  </a:cubicBezTo>
                  <a:cubicBezTo>
                    <a:pt x="141" y="0"/>
                    <a:pt x="138" y="1"/>
                    <a:pt x="131" y="4"/>
                  </a:cubicBezTo>
                  <a:cubicBezTo>
                    <a:pt x="125" y="6"/>
                    <a:pt x="116" y="11"/>
                    <a:pt x="108" y="20"/>
                  </a:cubicBezTo>
                  <a:cubicBezTo>
                    <a:pt x="103" y="24"/>
                    <a:pt x="99" y="30"/>
                    <a:pt x="96" y="36"/>
                  </a:cubicBezTo>
                  <a:cubicBezTo>
                    <a:pt x="92" y="42"/>
                    <a:pt x="90" y="50"/>
                    <a:pt x="87" y="57"/>
                  </a:cubicBezTo>
                  <a:cubicBezTo>
                    <a:pt x="85" y="65"/>
                    <a:pt x="83" y="74"/>
                    <a:pt x="77" y="81"/>
                  </a:cubicBezTo>
                  <a:cubicBezTo>
                    <a:pt x="70" y="88"/>
                    <a:pt x="61" y="91"/>
                    <a:pt x="53" y="95"/>
                  </a:cubicBezTo>
                  <a:cubicBezTo>
                    <a:pt x="35" y="101"/>
                    <a:pt x="21" y="113"/>
                    <a:pt x="13" y="127"/>
                  </a:cubicBezTo>
                  <a:cubicBezTo>
                    <a:pt x="4" y="141"/>
                    <a:pt x="2" y="156"/>
                    <a:pt x="2" y="168"/>
                  </a:cubicBezTo>
                  <a:cubicBezTo>
                    <a:pt x="2" y="180"/>
                    <a:pt x="5" y="190"/>
                    <a:pt x="8" y="196"/>
                  </a:cubicBezTo>
                  <a:cubicBezTo>
                    <a:pt x="11" y="203"/>
                    <a:pt x="13" y="206"/>
                    <a:pt x="13" y="20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5" name="Freeform 56">
              <a:extLst>
                <a:ext uri="{FF2B5EF4-FFF2-40B4-BE49-F238E27FC236}">
                  <a16:creationId xmlns:a16="http://schemas.microsoft.com/office/drawing/2014/main" id="{15F93DAB-22FC-4E0D-9363-F71C3A3A9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" y="2251"/>
              <a:ext cx="691" cy="1155"/>
            </a:xfrm>
            <a:custGeom>
              <a:avLst/>
              <a:gdLst>
                <a:gd name="T0" fmla="*/ 63 w 291"/>
                <a:gd name="T1" fmla="*/ 335 h 486"/>
                <a:gd name="T2" fmla="*/ 2 w 291"/>
                <a:gd name="T3" fmla="*/ 479 h 486"/>
                <a:gd name="T4" fmla="*/ 0 w 291"/>
                <a:gd name="T5" fmla="*/ 485 h 486"/>
                <a:gd name="T6" fmla="*/ 291 w 291"/>
                <a:gd name="T7" fmla="*/ 486 h 486"/>
                <a:gd name="T8" fmla="*/ 287 w 291"/>
                <a:gd name="T9" fmla="*/ 215 h 486"/>
                <a:gd name="T10" fmla="*/ 287 w 291"/>
                <a:gd name="T11" fmla="*/ 214 h 486"/>
                <a:gd name="T12" fmla="*/ 263 w 291"/>
                <a:gd name="T13" fmla="*/ 21 h 486"/>
                <a:gd name="T14" fmla="*/ 259 w 291"/>
                <a:gd name="T15" fmla="*/ 17 h 486"/>
                <a:gd name="T16" fmla="*/ 175 w 291"/>
                <a:gd name="T17" fmla="*/ 2 h 486"/>
                <a:gd name="T18" fmla="*/ 83 w 291"/>
                <a:gd name="T19" fmla="*/ 8 h 486"/>
                <a:gd name="T20" fmla="*/ 25 w 291"/>
                <a:gd name="T21" fmla="*/ 17 h 486"/>
                <a:gd name="T22" fmla="*/ 4 w 291"/>
                <a:gd name="T23" fmla="*/ 35 h 486"/>
                <a:gd name="T24" fmla="*/ 32 w 291"/>
                <a:gd name="T25" fmla="*/ 202 h 486"/>
                <a:gd name="T26" fmla="*/ 63 w 291"/>
                <a:gd name="T27" fmla="*/ 33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486">
                  <a:moveTo>
                    <a:pt x="63" y="335"/>
                  </a:moveTo>
                  <a:cubicBezTo>
                    <a:pt x="68" y="335"/>
                    <a:pt x="12" y="451"/>
                    <a:pt x="2" y="479"/>
                  </a:cubicBezTo>
                  <a:cubicBezTo>
                    <a:pt x="1" y="482"/>
                    <a:pt x="0" y="485"/>
                    <a:pt x="0" y="485"/>
                  </a:cubicBezTo>
                  <a:cubicBezTo>
                    <a:pt x="291" y="486"/>
                    <a:pt x="291" y="486"/>
                    <a:pt x="291" y="486"/>
                  </a:cubicBezTo>
                  <a:cubicBezTo>
                    <a:pt x="287" y="215"/>
                    <a:pt x="287" y="215"/>
                    <a:pt x="287" y="215"/>
                  </a:cubicBezTo>
                  <a:cubicBezTo>
                    <a:pt x="287" y="214"/>
                    <a:pt x="287" y="214"/>
                    <a:pt x="287" y="214"/>
                  </a:cubicBezTo>
                  <a:cubicBezTo>
                    <a:pt x="263" y="21"/>
                    <a:pt x="263" y="21"/>
                    <a:pt x="263" y="21"/>
                  </a:cubicBezTo>
                  <a:cubicBezTo>
                    <a:pt x="263" y="19"/>
                    <a:pt x="261" y="17"/>
                    <a:pt x="259" y="17"/>
                  </a:cubicBezTo>
                  <a:cubicBezTo>
                    <a:pt x="248" y="14"/>
                    <a:pt x="206" y="3"/>
                    <a:pt x="175" y="2"/>
                  </a:cubicBezTo>
                  <a:cubicBezTo>
                    <a:pt x="137" y="0"/>
                    <a:pt x="83" y="8"/>
                    <a:pt x="83" y="8"/>
                  </a:cubicBezTo>
                  <a:cubicBezTo>
                    <a:pt x="83" y="8"/>
                    <a:pt x="51" y="8"/>
                    <a:pt x="25" y="17"/>
                  </a:cubicBezTo>
                  <a:cubicBezTo>
                    <a:pt x="23" y="18"/>
                    <a:pt x="4" y="33"/>
                    <a:pt x="4" y="35"/>
                  </a:cubicBezTo>
                  <a:cubicBezTo>
                    <a:pt x="32" y="202"/>
                    <a:pt x="32" y="202"/>
                    <a:pt x="32" y="202"/>
                  </a:cubicBezTo>
                  <a:cubicBezTo>
                    <a:pt x="63" y="335"/>
                    <a:pt x="63" y="335"/>
                    <a:pt x="63" y="335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6" name="Freeform 57">
              <a:extLst>
                <a:ext uri="{FF2B5EF4-FFF2-40B4-BE49-F238E27FC236}">
                  <a16:creationId xmlns:a16="http://schemas.microsoft.com/office/drawing/2014/main" id="{169B390B-8D88-4035-85E4-87EC4E3B3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660"/>
              <a:ext cx="553" cy="247"/>
            </a:xfrm>
            <a:custGeom>
              <a:avLst/>
              <a:gdLst>
                <a:gd name="T0" fmla="*/ 233 w 233"/>
                <a:gd name="T1" fmla="*/ 0 h 104"/>
                <a:gd name="T2" fmla="*/ 232 w 233"/>
                <a:gd name="T3" fmla="*/ 1 h 104"/>
                <a:gd name="T4" fmla="*/ 231 w 233"/>
                <a:gd name="T5" fmla="*/ 3 h 104"/>
                <a:gd name="T6" fmla="*/ 223 w 233"/>
                <a:gd name="T7" fmla="*/ 11 h 104"/>
                <a:gd name="T8" fmla="*/ 186 w 233"/>
                <a:gd name="T9" fmla="*/ 26 h 104"/>
                <a:gd name="T10" fmla="*/ 173 w 233"/>
                <a:gd name="T11" fmla="*/ 25 h 104"/>
                <a:gd name="T12" fmla="*/ 160 w 233"/>
                <a:gd name="T13" fmla="*/ 18 h 104"/>
                <a:gd name="T14" fmla="*/ 157 w 233"/>
                <a:gd name="T15" fmla="*/ 11 h 104"/>
                <a:gd name="T16" fmla="*/ 160 w 233"/>
                <a:gd name="T17" fmla="*/ 3 h 104"/>
                <a:gd name="T18" fmla="*/ 168 w 233"/>
                <a:gd name="T19" fmla="*/ 0 h 104"/>
                <a:gd name="T20" fmla="*/ 177 w 233"/>
                <a:gd name="T21" fmla="*/ 3 h 104"/>
                <a:gd name="T22" fmla="*/ 191 w 233"/>
                <a:gd name="T23" fmla="*/ 34 h 104"/>
                <a:gd name="T24" fmla="*/ 174 w 233"/>
                <a:gd name="T25" fmla="*/ 67 h 104"/>
                <a:gd name="T26" fmla="*/ 156 w 233"/>
                <a:gd name="T27" fmla="*/ 74 h 104"/>
                <a:gd name="T28" fmla="*/ 137 w 233"/>
                <a:gd name="T29" fmla="*/ 75 h 104"/>
                <a:gd name="T30" fmla="*/ 102 w 233"/>
                <a:gd name="T31" fmla="*/ 70 h 104"/>
                <a:gd name="T32" fmla="*/ 44 w 233"/>
                <a:gd name="T33" fmla="*/ 73 h 104"/>
                <a:gd name="T34" fmla="*/ 10 w 233"/>
                <a:gd name="T35" fmla="*/ 93 h 104"/>
                <a:gd name="T36" fmla="*/ 0 w 233"/>
                <a:gd name="T37" fmla="*/ 104 h 104"/>
                <a:gd name="T38" fmla="*/ 1 w 233"/>
                <a:gd name="T39" fmla="*/ 103 h 104"/>
                <a:gd name="T40" fmla="*/ 2 w 233"/>
                <a:gd name="T41" fmla="*/ 100 h 104"/>
                <a:gd name="T42" fmla="*/ 9 w 233"/>
                <a:gd name="T43" fmla="*/ 92 h 104"/>
                <a:gd name="T44" fmla="*/ 43 w 233"/>
                <a:gd name="T45" fmla="*/ 72 h 104"/>
                <a:gd name="T46" fmla="*/ 102 w 233"/>
                <a:gd name="T47" fmla="*/ 68 h 104"/>
                <a:gd name="T48" fmla="*/ 137 w 233"/>
                <a:gd name="T49" fmla="*/ 73 h 104"/>
                <a:gd name="T50" fmla="*/ 155 w 233"/>
                <a:gd name="T51" fmla="*/ 72 h 104"/>
                <a:gd name="T52" fmla="*/ 172 w 233"/>
                <a:gd name="T53" fmla="*/ 65 h 104"/>
                <a:gd name="T54" fmla="*/ 189 w 233"/>
                <a:gd name="T55" fmla="*/ 34 h 104"/>
                <a:gd name="T56" fmla="*/ 176 w 233"/>
                <a:gd name="T57" fmla="*/ 4 h 104"/>
                <a:gd name="T58" fmla="*/ 168 w 233"/>
                <a:gd name="T59" fmla="*/ 2 h 104"/>
                <a:gd name="T60" fmla="*/ 161 w 233"/>
                <a:gd name="T61" fmla="*/ 4 h 104"/>
                <a:gd name="T62" fmla="*/ 159 w 233"/>
                <a:gd name="T63" fmla="*/ 11 h 104"/>
                <a:gd name="T64" fmla="*/ 161 w 233"/>
                <a:gd name="T65" fmla="*/ 17 h 104"/>
                <a:gd name="T66" fmla="*/ 173 w 233"/>
                <a:gd name="T67" fmla="*/ 23 h 104"/>
                <a:gd name="T68" fmla="*/ 186 w 233"/>
                <a:gd name="T69" fmla="*/ 24 h 104"/>
                <a:gd name="T70" fmla="*/ 223 w 233"/>
                <a:gd name="T71" fmla="*/ 11 h 104"/>
                <a:gd name="T72" fmla="*/ 233 w 233"/>
                <a:gd name="T7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3" h="104">
                  <a:moveTo>
                    <a:pt x="233" y="0"/>
                  </a:moveTo>
                  <a:cubicBezTo>
                    <a:pt x="233" y="0"/>
                    <a:pt x="233" y="1"/>
                    <a:pt x="232" y="1"/>
                  </a:cubicBezTo>
                  <a:cubicBezTo>
                    <a:pt x="232" y="2"/>
                    <a:pt x="231" y="2"/>
                    <a:pt x="231" y="3"/>
                  </a:cubicBezTo>
                  <a:cubicBezTo>
                    <a:pt x="229" y="5"/>
                    <a:pt x="227" y="8"/>
                    <a:pt x="223" y="11"/>
                  </a:cubicBezTo>
                  <a:cubicBezTo>
                    <a:pt x="216" y="17"/>
                    <a:pt x="203" y="25"/>
                    <a:pt x="186" y="26"/>
                  </a:cubicBezTo>
                  <a:cubicBezTo>
                    <a:pt x="182" y="26"/>
                    <a:pt x="178" y="26"/>
                    <a:pt x="173" y="25"/>
                  </a:cubicBezTo>
                  <a:cubicBezTo>
                    <a:pt x="168" y="24"/>
                    <a:pt x="163" y="22"/>
                    <a:pt x="160" y="18"/>
                  </a:cubicBezTo>
                  <a:cubicBezTo>
                    <a:pt x="158" y="16"/>
                    <a:pt x="157" y="14"/>
                    <a:pt x="157" y="11"/>
                  </a:cubicBezTo>
                  <a:cubicBezTo>
                    <a:pt x="157" y="8"/>
                    <a:pt x="158" y="5"/>
                    <a:pt x="160" y="3"/>
                  </a:cubicBezTo>
                  <a:cubicBezTo>
                    <a:pt x="162" y="1"/>
                    <a:pt x="165" y="0"/>
                    <a:pt x="168" y="0"/>
                  </a:cubicBezTo>
                  <a:cubicBezTo>
                    <a:pt x="171" y="0"/>
                    <a:pt x="174" y="1"/>
                    <a:pt x="177" y="3"/>
                  </a:cubicBezTo>
                  <a:cubicBezTo>
                    <a:pt x="186" y="9"/>
                    <a:pt x="191" y="22"/>
                    <a:pt x="191" y="34"/>
                  </a:cubicBezTo>
                  <a:cubicBezTo>
                    <a:pt x="190" y="46"/>
                    <a:pt x="185" y="59"/>
                    <a:pt x="174" y="67"/>
                  </a:cubicBezTo>
                  <a:cubicBezTo>
                    <a:pt x="168" y="71"/>
                    <a:pt x="162" y="73"/>
                    <a:pt x="156" y="74"/>
                  </a:cubicBezTo>
                  <a:cubicBezTo>
                    <a:pt x="149" y="75"/>
                    <a:pt x="143" y="75"/>
                    <a:pt x="137" y="75"/>
                  </a:cubicBezTo>
                  <a:cubicBezTo>
                    <a:pt x="125" y="74"/>
                    <a:pt x="113" y="71"/>
                    <a:pt x="102" y="70"/>
                  </a:cubicBezTo>
                  <a:cubicBezTo>
                    <a:pt x="80" y="68"/>
                    <a:pt x="60" y="69"/>
                    <a:pt x="44" y="73"/>
                  </a:cubicBezTo>
                  <a:cubicBezTo>
                    <a:pt x="28" y="78"/>
                    <a:pt x="16" y="86"/>
                    <a:pt x="10" y="93"/>
                  </a:cubicBezTo>
                  <a:cubicBezTo>
                    <a:pt x="3" y="99"/>
                    <a:pt x="0" y="104"/>
                    <a:pt x="0" y="104"/>
                  </a:cubicBezTo>
                  <a:cubicBezTo>
                    <a:pt x="0" y="104"/>
                    <a:pt x="0" y="103"/>
                    <a:pt x="1" y="103"/>
                  </a:cubicBezTo>
                  <a:cubicBezTo>
                    <a:pt x="1" y="102"/>
                    <a:pt x="1" y="101"/>
                    <a:pt x="2" y="100"/>
                  </a:cubicBezTo>
                  <a:cubicBezTo>
                    <a:pt x="3" y="98"/>
                    <a:pt x="6" y="95"/>
                    <a:pt x="9" y="92"/>
                  </a:cubicBezTo>
                  <a:cubicBezTo>
                    <a:pt x="15" y="85"/>
                    <a:pt x="27" y="77"/>
                    <a:pt x="43" y="72"/>
                  </a:cubicBezTo>
                  <a:cubicBezTo>
                    <a:pt x="60" y="67"/>
                    <a:pt x="80" y="66"/>
                    <a:pt x="102" y="68"/>
                  </a:cubicBezTo>
                  <a:cubicBezTo>
                    <a:pt x="113" y="69"/>
                    <a:pt x="125" y="72"/>
                    <a:pt x="137" y="73"/>
                  </a:cubicBezTo>
                  <a:cubicBezTo>
                    <a:pt x="143" y="73"/>
                    <a:pt x="149" y="73"/>
                    <a:pt x="155" y="72"/>
                  </a:cubicBezTo>
                  <a:cubicBezTo>
                    <a:pt x="161" y="71"/>
                    <a:pt x="167" y="69"/>
                    <a:pt x="172" y="65"/>
                  </a:cubicBezTo>
                  <a:cubicBezTo>
                    <a:pt x="183" y="58"/>
                    <a:pt x="188" y="46"/>
                    <a:pt x="189" y="34"/>
                  </a:cubicBezTo>
                  <a:cubicBezTo>
                    <a:pt x="189" y="22"/>
                    <a:pt x="184" y="10"/>
                    <a:pt x="176" y="4"/>
                  </a:cubicBezTo>
                  <a:cubicBezTo>
                    <a:pt x="173" y="3"/>
                    <a:pt x="171" y="2"/>
                    <a:pt x="168" y="2"/>
                  </a:cubicBezTo>
                  <a:cubicBezTo>
                    <a:pt x="166" y="2"/>
                    <a:pt x="163" y="3"/>
                    <a:pt x="161" y="4"/>
                  </a:cubicBezTo>
                  <a:cubicBezTo>
                    <a:pt x="160" y="6"/>
                    <a:pt x="159" y="8"/>
                    <a:pt x="159" y="11"/>
                  </a:cubicBezTo>
                  <a:cubicBezTo>
                    <a:pt x="159" y="13"/>
                    <a:pt x="160" y="15"/>
                    <a:pt x="161" y="17"/>
                  </a:cubicBezTo>
                  <a:cubicBezTo>
                    <a:pt x="164" y="21"/>
                    <a:pt x="169" y="22"/>
                    <a:pt x="173" y="23"/>
                  </a:cubicBezTo>
                  <a:cubicBezTo>
                    <a:pt x="178" y="24"/>
                    <a:pt x="182" y="24"/>
                    <a:pt x="186" y="24"/>
                  </a:cubicBezTo>
                  <a:cubicBezTo>
                    <a:pt x="203" y="23"/>
                    <a:pt x="215" y="16"/>
                    <a:pt x="223" y="11"/>
                  </a:cubicBezTo>
                  <a:cubicBezTo>
                    <a:pt x="230" y="5"/>
                    <a:pt x="233" y="0"/>
                    <a:pt x="23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7" name="Freeform 58">
              <a:extLst>
                <a:ext uri="{FF2B5EF4-FFF2-40B4-BE49-F238E27FC236}">
                  <a16:creationId xmlns:a16="http://schemas.microsoft.com/office/drawing/2014/main" id="{DC5290AE-B3AB-400D-BFF8-F0FC8EF0D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772"/>
              <a:ext cx="183" cy="118"/>
            </a:xfrm>
            <a:custGeom>
              <a:avLst/>
              <a:gdLst>
                <a:gd name="T0" fmla="*/ 77 w 77"/>
                <a:gd name="T1" fmla="*/ 0 h 50"/>
                <a:gd name="T2" fmla="*/ 75 w 77"/>
                <a:gd name="T3" fmla="*/ 4 h 50"/>
                <a:gd name="T4" fmla="*/ 73 w 77"/>
                <a:gd name="T5" fmla="*/ 8 h 50"/>
                <a:gd name="T6" fmla="*/ 70 w 77"/>
                <a:gd name="T7" fmla="*/ 13 h 50"/>
                <a:gd name="T8" fmla="*/ 66 w 77"/>
                <a:gd name="T9" fmla="*/ 18 h 50"/>
                <a:gd name="T10" fmla="*/ 60 w 77"/>
                <a:gd name="T11" fmla="*/ 25 h 50"/>
                <a:gd name="T12" fmla="*/ 46 w 77"/>
                <a:gd name="T13" fmla="*/ 37 h 50"/>
                <a:gd name="T14" fmla="*/ 29 w 77"/>
                <a:gd name="T15" fmla="*/ 45 h 50"/>
                <a:gd name="T16" fmla="*/ 21 w 77"/>
                <a:gd name="T17" fmla="*/ 48 h 50"/>
                <a:gd name="T18" fmla="*/ 14 w 77"/>
                <a:gd name="T19" fmla="*/ 49 h 50"/>
                <a:gd name="T20" fmla="*/ 8 w 77"/>
                <a:gd name="T21" fmla="*/ 50 h 50"/>
                <a:gd name="T22" fmla="*/ 4 w 77"/>
                <a:gd name="T23" fmla="*/ 50 h 50"/>
                <a:gd name="T24" fmla="*/ 0 w 77"/>
                <a:gd name="T25" fmla="*/ 50 h 50"/>
                <a:gd name="T26" fmla="*/ 14 w 77"/>
                <a:gd name="T27" fmla="*/ 48 h 50"/>
                <a:gd name="T28" fmla="*/ 21 w 77"/>
                <a:gd name="T29" fmla="*/ 47 h 50"/>
                <a:gd name="T30" fmla="*/ 28 w 77"/>
                <a:gd name="T31" fmla="*/ 44 h 50"/>
                <a:gd name="T32" fmla="*/ 45 w 77"/>
                <a:gd name="T33" fmla="*/ 35 h 50"/>
                <a:gd name="T34" fmla="*/ 59 w 77"/>
                <a:gd name="T35" fmla="*/ 24 h 50"/>
                <a:gd name="T36" fmla="*/ 65 w 77"/>
                <a:gd name="T37" fmla="*/ 18 h 50"/>
                <a:gd name="T38" fmla="*/ 69 w 77"/>
                <a:gd name="T39" fmla="*/ 12 h 50"/>
                <a:gd name="T40" fmla="*/ 77 w 77"/>
                <a:gd name="T4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" h="50">
                  <a:moveTo>
                    <a:pt x="77" y="0"/>
                  </a:moveTo>
                  <a:cubicBezTo>
                    <a:pt x="77" y="0"/>
                    <a:pt x="76" y="1"/>
                    <a:pt x="75" y="4"/>
                  </a:cubicBezTo>
                  <a:cubicBezTo>
                    <a:pt x="75" y="5"/>
                    <a:pt x="74" y="6"/>
                    <a:pt x="73" y="8"/>
                  </a:cubicBezTo>
                  <a:cubicBezTo>
                    <a:pt x="72" y="9"/>
                    <a:pt x="71" y="11"/>
                    <a:pt x="70" y="13"/>
                  </a:cubicBezTo>
                  <a:cubicBezTo>
                    <a:pt x="69" y="14"/>
                    <a:pt x="67" y="16"/>
                    <a:pt x="66" y="18"/>
                  </a:cubicBezTo>
                  <a:cubicBezTo>
                    <a:pt x="64" y="20"/>
                    <a:pt x="62" y="22"/>
                    <a:pt x="60" y="25"/>
                  </a:cubicBezTo>
                  <a:cubicBezTo>
                    <a:pt x="56" y="29"/>
                    <a:pt x="51" y="33"/>
                    <a:pt x="46" y="37"/>
                  </a:cubicBezTo>
                  <a:cubicBezTo>
                    <a:pt x="40" y="40"/>
                    <a:pt x="34" y="43"/>
                    <a:pt x="29" y="45"/>
                  </a:cubicBezTo>
                  <a:cubicBezTo>
                    <a:pt x="26" y="46"/>
                    <a:pt x="23" y="47"/>
                    <a:pt x="21" y="48"/>
                  </a:cubicBezTo>
                  <a:cubicBezTo>
                    <a:pt x="18" y="48"/>
                    <a:pt x="16" y="49"/>
                    <a:pt x="14" y="49"/>
                  </a:cubicBezTo>
                  <a:cubicBezTo>
                    <a:pt x="12" y="50"/>
                    <a:pt x="10" y="50"/>
                    <a:pt x="8" y="50"/>
                  </a:cubicBezTo>
                  <a:cubicBezTo>
                    <a:pt x="6" y="50"/>
                    <a:pt x="5" y="50"/>
                    <a:pt x="4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5" y="50"/>
                    <a:pt x="14" y="48"/>
                  </a:cubicBezTo>
                  <a:cubicBezTo>
                    <a:pt x="16" y="48"/>
                    <a:pt x="18" y="47"/>
                    <a:pt x="21" y="47"/>
                  </a:cubicBezTo>
                  <a:cubicBezTo>
                    <a:pt x="23" y="46"/>
                    <a:pt x="26" y="45"/>
                    <a:pt x="28" y="44"/>
                  </a:cubicBezTo>
                  <a:cubicBezTo>
                    <a:pt x="34" y="42"/>
                    <a:pt x="39" y="39"/>
                    <a:pt x="45" y="35"/>
                  </a:cubicBezTo>
                  <a:cubicBezTo>
                    <a:pt x="50" y="32"/>
                    <a:pt x="55" y="28"/>
                    <a:pt x="59" y="24"/>
                  </a:cubicBezTo>
                  <a:cubicBezTo>
                    <a:pt x="61" y="22"/>
                    <a:pt x="63" y="20"/>
                    <a:pt x="65" y="18"/>
                  </a:cubicBezTo>
                  <a:cubicBezTo>
                    <a:pt x="66" y="16"/>
                    <a:pt x="68" y="14"/>
                    <a:pt x="69" y="12"/>
                  </a:cubicBezTo>
                  <a:cubicBezTo>
                    <a:pt x="74" y="5"/>
                    <a:pt x="76" y="0"/>
                    <a:pt x="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8" name="Freeform 59">
              <a:extLst>
                <a:ext uri="{FF2B5EF4-FFF2-40B4-BE49-F238E27FC236}">
                  <a16:creationId xmlns:a16="http://schemas.microsoft.com/office/drawing/2014/main" id="{8206ACE6-7A23-4912-BC97-7F658B9E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" y="2292"/>
              <a:ext cx="472" cy="1033"/>
            </a:xfrm>
            <a:custGeom>
              <a:avLst/>
              <a:gdLst>
                <a:gd name="T0" fmla="*/ 123 w 199"/>
                <a:gd name="T1" fmla="*/ 0 h 435"/>
                <a:gd name="T2" fmla="*/ 33 w 199"/>
                <a:gd name="T3" fmla="*/ 105 h 435"/>
                <a:gd name="T4" fmla="*/ 51 w 199"/>
                <a:gd name="T5" fmla="*/ 392 h 435"/>
                <a:gd name="T6" fmla="*/ 199 w 199"/>
                <a:gd name="T7" fmla="*/ 396 h 435"/>
                <a:gd name="T8" fmla="*/ 189 w 199"/>
                <a:gd name="T9" fmla="*/ 291 h 435"/>
                <a:gd name="T10" fmla="*/ 135 w 199"/>
                <a:gd name="T11" fmla="*/ 291 h 435"/>
                <a:gd name="T12" fmla="*/ 128 w 199"/>
                <a:gd name="T13" fmla="*/ 176 h 435"/>
                <a:gd name="T14" fmla="*/ 123 w 199"/>
                <a:gd name="T15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435">
                  <a:moveTo>
                    <a:pt x="123" y="0"/>
                  </a:moveTo>
                  <a:cubicBezTo>
                    <a:pt x="123" y="0"/>
                    <a:pt x="50" y="22"/>
                    <a:pt x="33" y="105"/>
                  </a:cubicBezTo>
                  <a:cubicBezTo>
                    <a:pt x="26" y="142"/>
                    <a:pt x="0" y="358"/>
                    <a:pt x="51" y="392"/>
                  </a:cubicBezTo>
                  <a:cubicBezTo>
                    <a:pt x="116" y="435"/>
                    <a:pt x="199" y="396"/>
                    <a:pt x="199" y="396"/>
                  </a:cubicBezTo>
                  <a:cubicBezTo>
                    <a:pt x="189" y="291"/>
                    <a:pt x="189" y="291"/>
                    <a:pt x="189" y="291"/>
                  </a:cubicBezTo>
                  <a:cubicBezTo>
                    <a:pt x="135" y="291"/>
                    <a:pt x="135" y="291"/>
                    <a:pt x="135" y="291"/>
                  </a:cubicBezTo>
                  <a:cubicBezTo>
                    <a:pt x="128" y="176"/>
                    <a:pt x="128" y="176"/>
                    <a:pt x="128" y="176"/>
                  </a:cubicBezTo>
                  <a:cubicBezTo>
                    <a:pt x="130" y="184"/>
                    <a:pt x="123" y="0"/>
                    <a:pt x="123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9" name="Freeform 60">
              <a:extLst>
                <a:ext uri="{FF2B5EF4-FFF2-40B4-BE49-F238E27FC236}">
                  <a16:creationId xmlns:a16="http://schemas.microsoft.com/office/drawing/2014/main" id="{C68BB36D-98EF-467C-942D-0D7C91DA2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" y="2294"/>
              <a:ext cx="313" cy="858"/>
            </a:xfrm>
            <a:custGeom>
              <a:avLst/>
              <a:gdLst>
                <a:gd name="T0" fmla="*/ 71 w 132"/>
                <a:gd name="T1" fmla="*/ 361 h 361"/>
                <a:gd name="T2" fmla="*/ 115 w 132"/>
                <a:gd name="T3" fmla="*/ 338 h 361"/>
                <a:gd name="T4" fmla="*/ 132 w 132"/>
                <a:gd name="T5" fmla="*/ 291 h 361"/>
                <a:gd name="T6" fmla="*/ 96 w 132"/>
                <a:gd name="T7" fmla="*/ 141 h 361"/>
                <a:gd name="T8" fmla="*/ 0 w 132"/>
                <a:gd name="T9" fmla="*/ 0 h 361"/>
                <a:gd name="T10" fmla="*/ 25 w 132"/>
                <a:gd name="T11" fmla="*/ 197 h 361"/>
                <a:gd name="T12" fmla="*/ 23 w 132"/>
                <a:gd name="T13" fmla="*/ 238 h 361"/>
                <a:gd name="T14" fmla="*/ 27 w 132"/>
                <a:gd name="T15" fmla="*/ 317 h 361"/>
                <a:gd name="T16" fmla="*/ 71 w 132"/>
                <a:gd name="T17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61">
                  <a:moveTo>
                    <a:pt x="71" y="361"/>
                  </a:moveTo>
                  <a:cubicBezTo>
                    <a:pt x="88" y="359"/>
                    <a:pt x="104" y="351"/>
                    <a:pt x="115" y="338"/>
                  </a:cubicBezTo>
                  <a:cubicBezTo>
                    <a:pt x="126" y="325"/>
                    <a:pt x="132" y="308"/>
                    <a:pt x="132" y="291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73" y="11"/>
                    <a:pt x="0" y="0"/>
                  </a:cubicBezTo>
                  <a:cubicBezTo>
                    <a:pt x="25" y="197"/>
                    <a:pt x="25" y="197"/>
                    <a:pt x="25" y="197"/>
                  </a:cubicBezTo>
                  <a:cubicBezTo>
                    <a:pt x="23" y="238"/>
                    <a:pt x="23" y="238"/>
                    <a:pt x="23" y="238"/>
                  </a:cubicBezTo>
                  <a:cubicBezTo>
                    <a:pt x="23" y="238"/>
                    <a:pt x="24" y="266"/>
                    <a:pt x="27" y="317"/>
                  </a:cubicBezTo>
                  <a:cubicBezTo>
                    <a:pt x="71" y="361"/>
                    <a:pt x="71" y="361"/>
                    <a:pt x="71" y="361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0" name="Freeform 61">
              <a:extLst>
                <a:ext uri="{FF2B5EF4-FFF2-40B4-BE49-F238E27FC236}">
                  <a16:creationId xmlns:a16="http://schemas.microsoft.com/office/drawing/2014/main" id="{57CF1E2C-6799-4AA9-8154-34EC718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926"/>
              <a:ext cx="136" cy="138"/>
            </a:xfrm>
            <a:custGeom>
              <a:avLst/>
              <a:gdLst>
                <a:gd name="T0" fmla="*/ 57 w 57"/>
                <a:gd name="T1" fmla="*/ 1 h 58"/>
                <a:gd name="T2" fmla="*/ 44 w 57"/>
                <a:gd name="T3" fmla="*/ 2 h 58"/>
                <a:gd name="T4" fmla="*/ 16 w 57"/>
                <a:gd name="T5" fmla="*/ 17 h 58"/>
                <a:gd name="T6" fmla="*/ 2 w 57"/>
                <a:gd name="T7" fmla="*/ 45 h 58"/>
                <a:gd name="T8" fmla="*/ 1 w 57"/>
                <a:gd name="T9" fmla="*/ 58 h 58"/>
                <a:gd name="T10" fmla="*/ 0 w 57"/>
                <a:gd name="T11" fmla="*/ 54 h 58"/>
                <a:gd name="T12" fmla="*/ 1 w 57"/>
                <a:gd name="T13" fmla="*/ 44 h 58"/>
                <a:gd name="T14" fmla="*/ 15 w 57"/>
                <a:gd name="T15" fmla="*/ 16 h 58"/>
                <a:gd name="T16" fmla="*/ 43 w 57"/>
                <a:gd name="T17" fmla="*/ 1 h 58"/>
                <a:gd name="T18" fmla="*/ 53 w 57"/>
                <a:gd name="T19" fmla="*/ 0 h 58"/>
                <a:gd name="T20" fmla="*/ 57 w 57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8">
                  <a:moveTo>
                    <a:pt x="57" y="1"/>
                  </a:moveTo>
                  <a:cubicBezTo>
                    <a:pt x="57" y="1"/>
                    <a:pt x="52" y="0"/>
                    <a:pt x="44" y="2"/>
                  </a:cubicBezTo>
                  <a:cubicBezTo>
                    <a:pt x="36" y="4"/>
                    <a:pt x="25" y="8"/>
                    <a:pt x="16" y="17"/>
                  </a:cubicBezTo>
                  <a:cubicBezTo>
                    <a:pt x="8" y="26"/>
                    <a:pt x="3" y="37"/>
                    <a:pt x="2" y="45"/>
                  </a:cubicBezTo>
                  <a:cubicBezTo>
                    <a:pt x="0" y="53"/>
                    <a:pt x="1" y="58"/>
                    <a:pt x="1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52"/>
                    <a:pt x="0" y="48"/>
                    <a:pt x="1" y="44"/>
                  </a:cubicBezTo>
                  <a:cubicBezTo>
                    <a:pt x="2" y="36"/>
                    <a:pt x="6" y="25"/>
                    <a:pt x="15" y="16"/>
                  </a:cubicBezTo>
                  <a:cubicBezTo>
                    <a:pt x="24" y="7"/>
                    <a:pt x="35" y="2"/>
                    <a:pt x="43" y="1"/>
                  </a:cubicBezTo>
                  <a:cubicBezTo>
                    <a:pt x="48" y="0"/>
                    <a:pt x="51" y="0"/>
                    <a:pt x="53" y="0"/>
                  </a:cubicBezTo>
                  <a:cubicBezTo>
                    <a:pt x="55" y="0"/>
                    <a:pt x="57" y="0"/>
                    <a:pt x="5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1" name="Freeform 62">
              <a:extLst>
                <a:ext uri="{FF2B5EF4-FFF2-40B4-BE49-F238E27FC236}">
                  <a16:creationId xmlns:a16="http://schemas.microsoft.com/office/drawing/2014/main" id="{E6DA7B53-F7F9-471A-8976-37F47E3C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539"/>
              <a:ext cx="26" cy="496"/>
            </a:xfrm>
            <a:custGeom>
              <a:avLst/>
              <a:gdLst>
                <a:gd name="T0" fmla="*/ 0 w 11"/>
                <a:gd name="T1" fmla="*/ 0 h 209"/>
                <a:gd name="T2" fmla="*/ 1 w 11"/>
                <a:gd name="T3" fmla="*/ 2 h 209"/>
                <a:gd name="T4" fmla="*/ 1 w 11"/>
                <a:gd name="T5" fmla="*/ 8 h 209"/>
                <a:gd name="T6" fmla="*/ 2 w 11"/>
                <a:gd name="T7" fmla="*/ 31 h 209"/>
                <a:gd name="T8" fmla="*/ 6 w 11"/>
                <a:gd name="T9" fmla="*/ 104 h 209"/>
                <a:gd name="T10" fmla="*/ 10 w 11"/>
                <a:gd name="T11" fmla="*/ 178 h 209"/>
                <a:gd name="T12" fmla="*/ 11 w 11"/>
                <a:gd name="T13" fmla="*/ 200 h 209"/>
                <a:gd name="T14" fmla="*/ 11 w 11"/>
                <a:gd name="T15" fmla="*/ 206 h 209"/>
                <a:gd name="T16" fmla="*/ 11 w 11"/>
                <a:gd name="T17" fmla="*/ 209 h 209"/>
                <a:gd name="T18" fmla="*/ 10 w 11"/>
                <a:gd name="T19" fmla="*/ 206 h 209"/>
                <a:gd name="T20" fmla="*/ 10 w 11"/>
                <a:gd name="T21" fmla="*/ 200 h 209"/>
                <a:gd name="T22" fmla="*/ 9 w 11"/>
                <a:gd name="T23" fmla="*/ 178 h 209"/>
                <a:gd name="T24" fmla="*/ 5 w 11"/>
                <a:gd name="T25" fmla="*/ 104 h 209"/>
                <a:gd name="T26" fmla="*/ 1 w 11"/>
                <a:gd name="T27" fmla="*/ 31 h 209"/>
                <a:gd name="T28" fmla="*/ 0 w 11"/>
                <a:gd name="T29" fmla="*/ 8 h 209"/>
                <a:gd name="T30" fmla="*/ 0 w 11"/>
                <a:gd name="T31" fmla="*/ 2 h 209"/>
                <a:gd name="T32" fmla="*/ 0 w 11"/>
                <a:gd name="T3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209">
                  <a:moveTo>
                    <a:pt x="0" y="0"/>
                  </a:moveTo>
                  <a:cubicBezTo>
                    <a:pt x="1" y="0"/>
                    <a:pt x="1" y="1"/>
                    <a:pt x="1" y="2"/>
                  </a:cubicBezTo>
                  <a:cubicBezTo>
                    <a:pt x="1" y="4"/>
                    <a:pt x="1" y="6"/>
                    <a:pt x="1" y="8"/>
                  </a:cubicBezTo>
                  <a:cubicBezTo>
                    <a:pt x="1" y="14"/>
                    <a:pt x="1" y="21"/>
                    <a:pt x="2" y="31"/>
                  </a:cubicBezTo>
                  <a:cubicBezTo>
                    <a:pt x="2" y="50"/>
                    <a:pt x="4" y="76"/>
                    <a:pt x="6" y="104"/>
                  </a:cubicBezTo>
                  <a:cubicBezTo>
                    <a:pt x="8" y="133"/>
                    <a:pt x="10" y="159"/>
                    <a:pt x="10" y="178"/>
                  </a:cubicBezTo>
                  <a:cubicBezTo>
                    <a:pt x="11" y="187"/>
                    <a:pt x="11" y="195"/>
                    <a:pt x="11" y="200"/>
                  </a:cubicBezTo>
                  <a:cubicBezTo>
                    <a:pt x="11" y="203"/>
                    <a:pt x="11" y="205"/>
                    <a:pt x="11" y="206"/>
                  </a:cubicBezTo>
                  <a:cubicBezTo>
                    <a:pt x="11" y="208"/>
                    <a:pt x="11" y="209"/>
                    <a:pt x="11" y="209"/>
                  </a:cubicBezTo>
                  <a:cubicBezTo>
                    <a:pt x="11" y="209"/>
                    <a:pt x="11" y="208"/>
                    <a:pt x="10" y="206"/>
                  </a:cubicBezTo>
                  <a:cubicBezTo>
                    <a:pt x="10" y="205"/>
                    <a:pt x="10" y="203"/>
                    <a:pt x="10" y="200"/>
                  </a:cubicBezTo>
                  <a:cubicBezTo>
                    <a:pt x="10" y="195"/>
                    <a:pt x="10" y="187"/>
                    <a:pt x="9" y="178"/>
                  </a:cubicBezTo>
                  <a:cubicBezTo>
                    <a:pt x="9" y="159"/>
                    <a:pt x="7" y="133"/>
                    <a:pt x="5" y="104"/>
                  </a:cubicBezTo>
                  <a:cubicBezTo>
                    <a:pt x="3" y="76"/>
                    <a:pt x="1" y="50"/>
                    <a:pt x="1" y="31"/>
                  </a:cubicBezTo>
                  <a:cubicBezTo>
                    <a:pt x="0" y="21"/>
                    <a:pt x="0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2" name="Freeform 63">
              <a:extLst>
                <a:ext uri="{FF2B5EF4-FFF2-40B4-BE49-F238E27FC236}">
                  <a16:creationId xmlns:a16="http://schemas.microsoft.com/office/drawing/2014/main" id="{DA90AED8-D329-48C0-8268-B1FCB2614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4" y="2629"/>
              <a:ext cx="24" cy="354"/>
            </a:xfrm>
            <a:custGeom>
              <a:avLst/>
              <a:gdLst>
                <a:gd name="T0" fmla="*/ 10 w 10"/>
                <a:gd name="T1" fmla="*/ 149 h 149"/>
                <a:gd name="T2" fmla="*/ 10 w 10"/>
                <a:gd name="T3" fmla="*/ 147 h 149"/>
                <a:gd name="T4" fmla="*/ 9 w 10"/>
                <a:gd name="T5" fmla="*/ 143 h 149"/>
                <a:gd name="T6" fmla="*/ 8 w 10"/>
                <a:gd name="T7" fmla="*/ 127 h 149"/>
                <a:gd name="T8" fmla="*/ 5 w 10"/>
                <a:gd name="T9" fmla="*/ 74 h 149"/>
                <a:gd name="T10" fmla="*/ 1 w 10"/>
                <a:gd name="T11" fmla="*/ 22 h 149"/>
                <a:gd name="T12" fmla="*/ 0 w 10"/>
                <a:gd name="T13" fmla="*/ 6 h 149"/>
                <a:gd name="T14" fmla="*/ 0 w 10"/>
                <a:gd name="T15" fmla="*/ 1 h 149"/>
                <a:gd name="T16" fmla="*/ 0 w 10"/>
                <a:gd name="T17" fmla="*/ 0 h 149"/>
                <a:gd name="T18" fmla="*/ 0 w 10"/>
                <a:gd name="T19" fmla="*/ 1 h 149"/>
                <a:gd name="T20" fmla="*/ 1 w 10"/>
                <a:gd name="T21" fmla="*/ 6 h 149"/>
                <a:gd name="T22" fmla="*/ 2 w 10"/>
                <a:gd name="T23" fmla="*/ 22 h 149"/>
                <a:gd name="T24" fmla="*/ 6 w 10"/>
                <a:gd name="T25" fmla="*/ 74 h 149"/>
                <a:gd name="T26" fmla="*/ 9 w 10"/>
                <a:gd name="T27" fmla="*/ 127 h 149"/>
                <a:gd name="T28" fmla="*/ 10 w 10"/>
                <a:gd name="T29" fmla="*/ 143 h 149"/>
                <a:gd name="T30" fmla="*/ 10 w 10"/>
                <a:gd name="T31" fmla="*/ 147 h 149"/>
                <a:gd name="T32" fmla="*/ 10 w 10"/>
                <a:gd name="T3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49">
                  <a:moveTo>
                    <a:pt x="10" y="149"/>
                  </a:moveTo>
                  <a:cubicBezTo>
                    <a:pt x="10" y="149"/>
                    <a:pt x="10" y="148"/>
                    <a:pt x="10" y="147"/>
                  </a:cubicBezTo>
                  <a:cubicBezTo>
                    <a:pt x="10" y="146"/>
                    <a:pt x="9" y="145"/>
                    <a:pt x="9" y="143"/>
                  </a:cubicBezTo>
                  <a:cubicBezTo>
                    <a:pt x="9" y="139"/>
                    <a:pt x="9" y="133"/>
                    <a:pt x="8" y="127"/>
                  </a:cubicBezTo>
                  <a:cubicBezTo>
                    <a:pt x="8" y="113"/>
                    <a:pt x="6" y="95"/>
                    <a:pt x="5" y="74"/>
                  </a:cubicBezTo>
                  <a:cubicBezTo>
                    <a:pt x="4" y="54"/>
                    <a:pt x="2" y="35"/>
                    <a:pt x="1" y="22"/>
                  </a:cubicBezTo>
                  <a:cubicBezTo>
                    <a:pt x="1" y="15"/>
                    <a:pt x="1" y="10"/>
                    <a:pt x="0" y="6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3"/>
                    <a:pt x="1" y="4"/>
                    <a:pt x="1" y="6"/>
                  </a:cubicBezTo>
                  <a:cubicBezTo>
                    <a:pt x="1" y="10"/>
                    <a:pt x="2" y="15"/>
                    <a:pt x="2" y="22"/>
                  </a:cubicBezTo>
                  <a:cubicBezTo>
                    <a:pt x="4" y="35"/>
                    <a:pt x="5" y="54"/>
                    <a:pt x="6" y="74"/>
                  </a:cubicBezTo>
                  <a:cubicBezTo>
                    <a:pt x="8" y="95"/>
                    <a:pt x="9" y="113"/>
                    <a:pt x="9" y="127"/>
                  </a:cubicBezTo>
                  <a:cubicBezTo>
                    <a:pt x="10" y="134"/>
                    <a:pt x="10" y="139"/>
                    <a:pt x="10" y="143"/>
                  </a:cubicBezTo>
                  <a:cubicBezTo>
                    <a:pt x="10" y="144"/>
                    <a:pt x="10" y="146"/>
                    <a:pt x="10" y="147"/>
                  </a:cubicBezTo>
                  <a:cubicBezTo>
                    <a:pt x="10" y="148"/>
                    <a:pt x="10" y="149"/>
                    <a:pt x="10" y="14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3" name="Freeform 64">
              <a:extLst>
                <a:ext uri="{FF2B5EF4-FFF2-40B4-BE49-F238E27FC236}">
                  <a16:creationId xmlns:a16="http://schemas.microsoft.com/office/drawing/2014/main" id="{33E9D696-7DB5-48CB-A9F7-7F52AE1EA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" y="2981"/>
              <a:ext cx="71" cy="83"/>
            </a:xfrm>
            <a:custGeom>
              <a:avLst/>
              <a:gdLst>
                <a:gd name="T0" fmla="*/ 30 w 30"/>
                <a:gd name="T1" fmla="*/ 1 h 35"/>
                <a:gd name="T2" fmla="*/ 23 w 30"/>
                <a:gd name="T3" fmla="*/ 2 h 35"/>
                <a:gd name="T4" fmla="*/ 8 w 30"/>
                <a:gd name="T5" fmla="*/ 12 h 35"/>
                <a:gd name="T6" fmla="*/ 1 w 30"/>
                <a:gd name="T7" fmla="*/ 28 h 35"/>
                <a:gd name="T8" fmla="*/ 1 w 30"/>
                <a:gd name="T9" fmla="*/ 35 h 35"/>
                <a:gd name="T10" fmla="*/ 0 w 30"/>
                <a:gd name="T11" fmla="*/ 33 h 35"/>
                <a:gd name="T12" fmla="*/ 0 w 30"/>
                <a:gd name="T13" fmla="*/ 28 h 35"/>
                <a:gd name="T14" fmla="*/ 7 w 30"/>
                <a:gd name="T15" fmla="*/ 11 h 35"/>
                <a:gd name="T16" fmla="*/ 22 w 30"/>
                <a:gd name="T17" fmla="*/ 1 h 35"/>
                <a:gd name="T18" fmla="*/ 28 w 30"/>
                <a:gd name="T19" fmla="*/ 1 h 35"/>
                <a:gd name="T20" fmla="*/ 30 w 30"/>
                <a:gd name="T21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5">
                  <a:moveTo>
                    <a:pt x="30" y="1"/>
                  </a:moveTo>
                  <a:cubicBezTo>
                    <a:pt x="30" y="1"/>
                    <a:pt x="27" y="1"/>
                    <a:pt x="23" y="2"/>
                  </a:cubicBezTo>
                  <a:cubicBezTo>
                    <a:pt x="19" y="4"/>
                    <a:pt x="13" y="7"/>
                    <a:pt x="8" y="12"/>
                  </a:cubicBezTo>
                  <a:cubicBezTo>
                    <a:pt x="4" y="17"/>
                    <a:pt x="2" y="23"/>
                    <a:pt x="1" y="28"/>
                  </a:cubicBezTo>
                  <a:cubicBezTo>
                    <a:pt x="1" y="32"/>
                    <a:pt x="1" y="35"/>
                    <a:pt x="1" y="35"/>
                  </a:cubicBezTo>
                  <a:cubicBezTo>
                    <a:pt x="1" y="35"/>
                    <a:pt x="1" y="34"/>
                    <a:pt x="0" y="33"/>
                  </a:cubicBezTo>
                  <a:cubicBezTo>
                    <a:pt x="0" y="32"/>
                    <a:pt x="0" y="30"/>
                    <a:pt x="0" y="28"/>
                  </a:cubicBezTo>
                  <a:cubicBezTo>
                    <a:pt x="1" y="23"/>
                    <a:pt x="3" y="17"/>
                    <a:pt x="7" y="11"/>
                  </a:cubicBezTo>
                  <a:cubicBezTo>
                    <a:pt x="12" y="6"/>
                    <a:pt x="18" y="3"/>
                    <a:pt x="22" y="1"/>
                  </a:cubicBezTo>
                  <a:cubicBezTo>
                    <a:pt x="25" y="1"/>
                    <a:pt x="27" y="1"/>
                    <a:pt x="28" y="1"/>
                  </a:cubicBezTo>
                  <a:cubicBezTo>
                    <a:pt x="29" y="0"/>
                    <a:pt x="30" y="1"/>
                    <a:pt x="3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4" name="Freeform 65">
              <a:extLst>
                <a:ext uri="{FF2B5EF4-FFF2-40B4-BE49-F238E27FC236}">
                  <a16:creationId xmlns:a16="http://schemas.microsoft.com/office/drawing/2014/main" id="{740E38A0-D200-4FFA-A982-45E211BCD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" y="3099"/>
              <a:ext cx="415" cy="174"/>
            </a:xfrm>
            <a:custGeom>
              <a:avLst/>
              <a:gdLst>
                <a:gd name="T0" fmla="*/ 175 w 175"/>
                <a:gd name="T1" fmla="*/ 56 h 73"/>
                <a:gd name="T2" fmla="*/ 173 w 175"/>
                <a:gd name="T3" fmla="*/ 56 h 73"/>
                <a:gd name="T4" fmla="*/ 167 w 175"/>
                <a:gd name="T5" fmla="*/ 58 h 73"/>
                <a:gd name="T6" fmla="*/ 145 w 175"/>
                <a:gd name="T7" fmla="*/ 65 h 73"/>
                <a:gd name="T8" fmla="*/ 112 w 175"/>
                <a:gd name="T9" fmla="*/ 72 h 73"/>
                <a:gd name="T10" fmla="*/ 71 w 175"/>
                <a:gd name="T11" fmla="*/ 70 h 73"/>
                <a:gd name="T12" fmla="*/ 50 w 175"/>
                <a:gd name="T13" fmla="*/ 64 h 73"/>
                <a:gd name="T14" fmla="*/ 40 w 175"/>
                <a:gd name="T15" fmla="*/ 60 h 73"/>
                <a:gd name="T16" fmla="*/ 36 w 175"/>
                <a:gd name="T17" fmla="*/ 58 h 73"/>
                <a:gd name="T18" fmla="*/ 34 w 175"/>
                <a:gd name="T19" fmla="*/ 57 h 73"/>
                <a:gd name="T20" fmla="*/ 32 w 175"/>
                <a:gd name="T21" fmla="*/ 56 h 73"/>
                <a:gd name="T22" fmla="*/ 19 w 175"/>
                <a:gd name="T23" fmla="*/ 43 h 73"/>
                <a:gd name="T24" fmla="*/ 11 w 175"/>
                <a:gd name="T25" fmla="*/ 29 h 73"/>
                <a:gd name="T26" fmla="*/ 2 w 175"/>
                <a:gd name="T27" fmla="*/ 8 h 73"/>
                <a:gd name="T28" fmla="*/ 1 w 175"/>
                <a:gd name="T29" fmla="*/ 2 h 73"/>
                <a:gd name="T30" fmla="*/ 0 w 175"/>
                <a:gd name="T31" fmla="*/ 0 h 73"/>
                <a:gd name="T32" fmla="*/ 1 w 175"/>
                <a:gd name="T33" fmla="*/ 2 h 73"/>
                <a:gd name="T34" fmla="*/ 3 w 175"/>
                <a:gd name="T35" fmla="*/ 8 h 73"/>
                <a:gd name="T36" fmla="*/ 11 w 175"/>
                <a:gd name="T37" fmla="*/ 29 h 73"/>
                <a:gd name="T38" fmla="*/ 19 w 175"/>
                <a:gd name="T39" fmla="*/ 42 h 73"/>
                <a:gd name="T40" fmla="*/ 32 w 175"/>
                <a:gd name="T41" fmla="*/ 54 h 73"/>
                <a:gd name="T42" fmla="*/ 34 w 175"/>
                <a:gd name="T43" fmla="*/ 56 h 73"/>
                <a:gd name="T44" fmla="*/ 36 w 175"/>
                <a:gd name="T45" fmla="*/ 57 h 73"/>
                <a:gd name="T46" fmla="*/ 41 w 175"/>
                <a:gd name="T47" fmla="*/ 59 h 73"/>
                <a:gd name="T48" fmla="*/ 50 w 175"/>
                <a:gd name="T49" fmla="*/ 62 h 73"/>
                <a:gd name="T50" fmla="*/ 71 w 175"/>
                <a:gd name="T51" fmla="*/ 68 h 73"/>
                <a:gd name="T52" fmla="*/ 112 w 175"/>
                <a:gd name="T53" fmla="*/ 70 h 73"/>
                <a:gd name="T54" fmla="*/ 145 w 175"/>
                <a:gd name="T55" fmla="*/ 64 h 73"/>
                <a:gd name="T56" fmla="*/ 167 w 175"/>
                <a:gd name="T57" fmla="*/ 58 h 73"/>
                <a:gd name="T58" fmla="*/ 173 w 175"/>
                <a:gd name="T59" fmla="*/ 56 h 73"/>
                <a:gd name="T60" fmla="*/ 175 w 175"/>
                <a:gd name="T61" fmla="*/ 5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5" h="73">
                  <a:moveTo>
                    <a:pt x="175" y="56"/>
                  </a:moveTo>
                  <a:cubicBezTo>
                    <a:pt x="175" y="56"/>
                    <a:pt x="175" y="56"/>
                    <a:pt x="173" y="56"/>
                  </a:cubicBezTo>
                  <a:cubicBezTo>
                    <a:pt x="172" y="57"/>
                    <a:pt x="170" y="57"/>
                    <a:pt x="167" y="58"/>
                  </a:cubicBezTo>
                  <a:cubicBezTo>
                    <a:pt x="162" y="60"/>
                    <a:pt x="155" y="62"/>
                    <a:pt x="145" y="65"/>
                  </a:cubicBezTo>
                  <a:cubicBezTo>
                    <a:pt x="136" y="67"/>
                    <a:pt x="125" y="70"/>
                    <a:pt x="112" y="72"/>
                  </a:cubicBezTo>
                  <a:cubicBezTo>
                    <a:pt x="99" y="73"/>
                    <a:pt x="85" y="73"/>
                    <a:pt x="71" y="70"/>
                  </a:cubicBezTo>
                  <a:cubicBezTo>
                    <a:pt x="63" y="68"/>
                    <a:pt x="57" y="66"/>
                    <a:pt x="50" y="64"/>
                  </a:cubicBezTo>
                  <a:cubicBezTo>
                    <a:pt x="47" y="63"/>
                    <a:pt x="43" y="61"/>
                    <a:pt x="40" y="60"/>
                  </a:cubicBezTo>
                  <a:cubicBezTo>
                    <a:pt x="39" y="59"/>
                    <a:pt x="37" y="59"/>
                    <a:pt x="36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6" y="52"/>
                    <a:pt x="22" y="47"/>
                    <a:pt x="19" y="43"/>
                  </a:cubicBezTo>
                  <a:cubicBezTo>
                    <a:pt x="15" y="38"/>
                    <a:pt x="13" y="33"/>
                    <a:pt x="11" y="29"/>
                  </a:cubicBezTo>
                  <a:cubicBezTo>
                    <a:pt x="6" y="20"/>
                    <a:pt x="4" y="13"/>
                    <a:pt x="2" y="8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2" y="5"/>
                    <a:pt x="3" y="8"/>
                  </a:cubicBezTo>
                  <a:cubicBezTo>
                    <a:pt x="5" y="13"/>
                    <a:pt x="7" y="20"/>
                    <a:pt x="11" y="29"/>
                  </a:cubicBezTo>
                  <a:cubicBezTo>
                    <a:pt x="14" y="33"/>
                    <a:pt x="16" y="38"/>
                    <a:pt x="19" y="42"/>
                  </a:cubicBezTo>
                  <a:cubicBezTo>
                    <a:pt x="23" y="47"/>
                    <a:pt x="27" y="51"/>
                    <a:pt x="32" y="5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8" y="58"/>
                    <a:pt x="39" y="58"/>
                    <a:pt x="41" y="59"/>
                  </a:cubicBezTo>
                  <a:cubicBezTo>
                    <a:pt x="44" y="60"/>
                    <a:pt x="47" y="61"/>
                    <a:pt x="50" y="62"/>
                  </a:cubicBezTo>
                  <a:cubicBezTo>
                    <a:pt x="57" y="65"/>
                    <a:pt x="64" y="67"/>
                    <a:pt x="71" y="68"/>
                  </a:cubicBezTo>
                  <a:cubicBezTo>
                    <a:pt x="85" y="71"/>
                    <a:pt x="99" y="72"/>
                    <a:pt x="112" y="70"/>
                  </a:cubicBezTo>
                  <a:cubicBezTo>
                    <a:pt x="125" y="69"/>
                    <a:pt x="136" y="66"/>
                    <a:pt x="145" y="64"/>
                  </a:cubicBezTo>
                  <a:cubicBezTo>
                    <a:pt x="154" y="61"/>
                    <a:pt x="162" y="59"/>
                    <a:pt x="167" y="58"/>
                  </a:cubicBezTo>
                  <a:cubicBezTo>
                    <a:pt x="170" y="57"/>
                    <a:pt x="172" y="56"/>
                    <a:pt x="173" y="56"/>
                  </a:cubicBezTo>
                  <a:cubicBezTo>
                    <a:pt x="175" y="56"/>
                    <a:pt x="175" y="56"/>
                    <a:pt x="175" y="5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5" name="Freeform 66">
              <a:extLst>
                <a:ext uri="{FF2B5EF4-FFF2-40B4-BE49-F238E27FC236}">
                  <a16:creationId xmlns:a16="http://schemas.microsoft.com/office/drawing/2014/main" id="{AA22F681-ABA8-4A89-9242-64308262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874"/>
              <a:ext cx="150" cy="121"/>
            </a:xfrm>
            <a:custGeom>
              <a:avLst/>
              <a:gdLst>
                <a:gd name="T0" fmla="*/ 41 w 63"/>
                <a:gd name="T1" fmla="*/ 0 h 51"/>
                <a:gd name="T2" fmla="*/ 28 w 63"/>
                <a:gd name="T3" fmla="*/ 2 h 51"/>
                <a:gd name="T4" fmla="*/ 7 w 63"/>
                <a:gd name="T5" fmla="*/ 23 h 51"/>
                <a:gd name="T6" fmla="*/ 0 w 63"/>
                <a:gd name="T7" fmla="*/ 50 h 51"/>
                <a:gd name="T8" fmla="*/ 0 w 63"/>
                <a:gd name="T9" fmla="*/ 51 h 51"/>
                <a:gd name="T10" fmla="*/ 0 w 63"/>
                <a:gd name="T11" fmla="*/ 51 h 51"/>
                <a:gd name="T12" fmla="*/ 46 w 63"/>
                <a:gd name="T13" fmla="*/ 22 h 51"/>
                <a:gd name="T14" fmla="*/ 48 w 63"/>
                <a:gd name="T15" fmla="*/ 22 h 51"/>
                <a:gd name="T16" fmla="*/ 52 w 63"/>
                <a:gd name="T17" fmla="*/ 22 h 51"/>
                <a:gd name="T18" fmla="*/ 60 w 63"/>
                <a:gd name="T19" fmla="*/ 19 h 51"/>
                <a:gd name="T20" fmla="*/ 62 w 63"/>
                <a:gd name="T21" fmla="*/ 11 h 51"/>
                <a:gd name="T22" fmla="*/ 56 w 63"/>
                <a:gd name="T23" fmla="*/ 4 h 51"/>
                <a:gd name="T24" fmla="*/ 41 w 63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51">
                  <a:moveTo>
                    <a:pt x="41" y="0"/>
                  </a:moveTo>
                  <a:cubicBezTo>
                    <a:pt x="36" y="0"/>
                    <a:pt x="32" y="1"/>
                    <a:pt x="28" y="2"/>
                  </a:cubicBezTo>
                  <a:cubicBezTo>
                    <a:pt x="19" y="6"/>
                    <a:pt x="12" y="14"/>
                    <a:pt x="7" y="23"/>
                  </a:cubicBezTo>
                  <a:cubicBezTo>
                    <a:pt x="3" y="32"/>
                    <a:pt x="1" y="41"/>
                    <a:pt x="0" y="50"/>
                  </a:cubicBezTo>
                  <a:cubicBezTo>
                    <a:pt x="0" y="50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33"/>
                    <a:pt x="27" y="22"/>
                    <a:pt x="46" y="22"/>
                  </a:cubicBezTo>
                  <a:cubicBezTo>
                    <a:pt x="47" y="22"/>
                    <a:pt x="47" y="22"/>
                    <a:pt x="48" y="22"/>
                  </a:cubicBezTo>
                  <a:cubicBezTo>
                    <a:pt x="49" y="22"/>
                    <a:pt x="51" y="22"/>
                    <a:pt x="52" y="22"/>
                  </a:cubicBezTo>
                  <a:cubicBezTo>
                    <a:pt x="55" y="22"/>
                    <a:pt x="58" y="21"/>
                    <a:pt x="60" y="19"/>
                  </a:cubicBezTo>
                  <a:cubicBezTo>
                    <a:pt x="63" y="17"/>
                    <a:pt x="63" y="14"/>
                    <a:pt x="62" y="11"/>
                  </a:cubicBezTo>
                  <a:cubicBezTo>
                    <a:pt x="61" y="8"/>
                    <a:pt x="59" y="6"/>
                    <a:pt x="56" y="4"/>
                  </a:cubicBezTo>
                  <a:cubicBezTo>
                    <a:pt x="52" y="1"/>
                    <a:pt x="46" y="0"/>
                    <a:pt x="41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6" name="Freeform 67">
              <a:extLst>
                <a:ext uri="{FF2B5EF4-FFF2-40B4-BE49-F238E27FC236}">
                  <a16:creationId xmlns:a16="http://schemas.microsoft.com/office/drawing/2014/main" id="{F0CE9A06-C85F-4561-8132-37877D91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993"/>
              <a:ext cx="0" cy="4"/>
            </a:xfrm>
            <a:custGeom>
              <a:avLst/>
              <a:gdLst>
                <a:gd name="T0" fmla="*/ 0 h 2"/>
                <a:gd name="T1" fmla="*/ 2 h 2"/>
                <a:gd name="T2" fmla="*/ 1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7" name="Freeform 68">
              <a:extLst>
                <a:ext uri="{FF2B5EF4-FFF2-40B4-BE49-F238E27FC236}">
                  <a16:creationId xmlns:a16="http://schemas.microsoft.com/office/drawing/2014/main" id="{D5438FA6-BF14-4B36-9BDE-988B00F08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2781"/>
              <a:ext cx="45" cy="202"/>
            </a:xfrm>
            <a:custGeom>
              <a:avLst/>
              <a:gdLst>
                <a:gd name="T0" fmla="*/ 0 w 19"/>
                <a:gd name="T1" fmla="*/ 0 h 85"/>
                <a:gd name="T2" fmla="*/ 19 w 19"/>
                <a:gd name="T3" fmla="*/ 85 h 85"/>
                <a:gd name="T4" fmla="*/ 19 w 19"/>
                <a:gd name="T5" fmla="*/ 84 h 85"/>
                <a:gd name="T6" fmla="*/ 0 w 19"/>
                <a:gd name="T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85">
                  <a:moveTo>
                    <a:pt x="0" y="0"/>
                  </a:moveTo>
                  <a:cubicBezTo>
                    <a:pt x="6" y="30"/>
                    <a:pt x="14" y="62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8" name="Freeform 69">
              <a:extLst>
                <a:ext uri="{FF2B5EF4-FFF2-40B4-BE49-F238E27FC236}">
                  <a16:creationId xmlns:a16="http://schemas.microsoft.com/office/drawing/2014/main" id="{6E1C42A5-B1C1-4345-BAF2-92DD55F3A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655"/>
              <a:ext cx="104" cy="326"/>
            </a:xfrm>
            <a:custGeom>
              <a:avLst/>
              <a:gdLst>
                <a:gd name="T0" fmla="*/ 0 w 44"/>
                <a:gd name="T1" fmla="*/ 0 h 137"/>
                <a:gd name="T2" fmla="*/ 0 w 44"/>
                <a:gd name="T3" fmla="*/ 13 h 137"/>
                <a:gd name="T4" fmla="*/ 7 w 44"/>
                <a:gd name="T5" fmla="*/ 53 h 137"/>
                <a:gd name="T6" fmla="*/ 26 w 44"/>
                <a:gd name="T7" fmla="*/ 137 h 137"/>
                <a:gd name="T8" fmla="*/ 36 w 44"/>
                <a:gd name="T9" fmla="*/ 136 h 137"/>
                <a:gd name="T10" fmla="*/ 39 w 44"/>
                <a:gd name="T11" fmla="*/ 86 h 137"/>
                <a:gd name="T12" fmla="*/ 29 w 44"/>
                <a:gd name="T13" fmla="*/ 95 h 137"/>
                <a:gd name="T14" fmla="*/ 19 w 44"/>
                <a:gd name="T15" fmla="*/ 106 h 137"/>
                <a:gd name="T16" fmla="*/ 19 w 44"/>
                <a:gd name="T17" fmla="*/ 106 h 137"/>
                <a:gd name="T18" fmla="*/ 20 w 44"/>
                <a:gd name="T19" fmla="*/ 105 h 137"/>
                <a:gd name="T20" fmla="*/ 21 w 44"/>
                <a:gd name="T21" fmla="*/ 102 h 137"/>
                <a:gd name="T22" fmla="*/ 28 w 44"/>
                <a:gd name="T23" fmla="*/ 94 h 137"/>
                <a:gd name="T24" fmla="*/ 39 w 44"/>
                <a:gd name="T25" fmla="*/ 85 h 137"/>
                <a:gd name="T26" fmla="*/ 34 w 44"/>
                <a:gd name="T27" fmla="*/ 71 h 137"/>
                <a:gd name="T28" fmla="*/ 0 w 44"/>
                <a:gd name="T2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137">
                  <a:moveTo>
                    <a:pt x="0" y="0"/>
                  </a:moveTo>
                  <a:cubicBezTo>
                    <a:pt x="0" y="5"/>
                    <a:pt x="0" y="9"/>
                    <a:pt x="0" y="13"/>
                  </a:cubicBezTo>
                  <a:cubicBezTo>
                    <a:pt x="2" y="26"/>
                    <a:pt x="4" y="39"/>
                    <a:pt x="7" y="53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4" y="121"/>
                    <a:pt x="44" y="103"/>
                    <a:pt x="39" y="86"/>
                  </a:cubicBezTo>
                  <a:cubicBezTo>
                    <a:pt x="35" y="89"/>
                    <a:pt x="31" y="92"/>
                    <a:pt x="29" y="95"/>
                  </a:cubicBezTo>
                  <a:cubicBezTo>
                    <a:pt x="22" y="101"/>
                    <a:pt x="19" y="106"/>
                    <a:pt x="19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06"/>
                    <a:pt x="19" y="105"/>
                    <a:pt x="20" y="105"/>
                  </a:cubicBezTo>
                  <a:cubicBezTo>
                    <a:pt x="20" y="104"/>
                    <a:pt x="20" y="103"/>
                    <a:pt x="21" y="102"/>
                  </a:cubicBezTo>
                  <a:cubicBezTo>
                    <a:pt x="22" y="100"/>
                    <a:pt x="25" y="97"/>
                    <a:pt x="28" y="94"/>
                  </a:cubicBezTo>
                  <a:cubicBezTo>
                    <a:pt x="31" y="91"/>
                    <a:pt x="34" y="88"/>
                    <a:pt x="39" y="85"/>
                  </a:cubicBezTo>
                  <a:cubicBezTo>
                    <a:pt x="38" y="80"/>
                    <a:pt x="36" y="76"/>
                    <a:pt x="34" y="71"/>
                  </a:cubicBezTo>
                  <a:cubicBezTo>
                    <a:pt x="27" y="52"/>
                    <a:pt x="7" y="21"/>
                    <a:pt x="0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9" name="Freeform 70">
              <a:extLst>
                <a:ext uri="{FF2B5EF4-FFF2-40B4-BE49-F238E27FC236}">
                  <a16:creationId xmlns:a16="http://schemas.microsoft.com/office/drawing/2014/main" id="{3FDA43A0-17AB-4581-B408-056E4008D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7"/>
              <a:ext cx="47" cy="50"/>
            </a:xfrm>
            <a:custGeom>
              <a:avLst/>
              <a:gdLst>
                <a:gd name="T0" fmla="*/ 20 w 20"/>
                <a:gd name="T1" fmla="*/ 0 h 21"/>
                <a:gd name="T2" fmla="*/ 9 w 20"/>
                <a:gd name="T3" fmla="*/ 9 h 21"/>
                <a:gd name="T4" fmla="*/ 2 w 20"/>
                <a:gd name="T5" fmla="*/ 17 h 21"/>
                <a:gd name="T6" fmla="*/ 1 w 20"/>
                <a:gd name="T7" fmla="*/ 20 h 21"/>
                <a:gd name="T8" fmla="*/ 0 w 20"/>
                <a:gd name="T9" fmla="*/ 21 h 21"/>
                <a:gd name="T10" fmla="*/ 0 w 20"/>
                <a:gd name="T11" fmla="*/ 21 h 21"/>
                <a:gd name="T12" fmla="*/ 10 w 20"/>
                <a:gd name="T13" fmla="*/ 10 h 21"/>
                <a:gd name="T14" fmla="*/ 20 w 20"/>
                <a:gd name="T15" fmla="*/ 1 h 21"/>
                <a:gd name="T16" fmla="*/ 20 w 2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1">
                  <a:moveTo>
                    <a:pt x="20" y="0"/>
                  </a:moveTo>
                  <a:cubicBezTo>
                    <a:pt x="15" y="3"/>
                    <a:pt x="12" y="6"/>
                    <a:pt x="9" y="9"/>
                  </a:cubicBezTo>
                  <a:cubicBezTo>
                    <a:pt x="6" y="12"/>
                    <a:pt x="3" y="15"/>
                    <a:pt x="2" y="17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3" y="16"/>
                    <a:pt x="10" y="10"/>
                  </a:cubicBezTo>
                  <a:cubicBezTo>
                    <a:pt x="12" y="7"/>
                    <a:pt x="16" y="4"/>
                    <a:pt x="20" y="1"/>
                  </a:cubicBezTo>
                  <a:cubicBezTo>
                    <a:pt x="20" y="1"/>
                    <a:pt x="20" y="0"/>
                    <a:pt x="20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0" name="Freeform 71">
              <a:extLst>
                <a:ext uri="{FF2B5EF4-FFF2-40B4-BE49-F238E27FC236}">
                  <a16:creationId xmlns:a16="http://schemas.microsoft.com/office/drawing/2014/main" id="{F21ACA15-0D7B-46CB-9CEA-8D184938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5" cy="43"/>
            </a:xfrm>
            <a:custGeom>
              <a:avLst/>
              <a:gdLst>
                <a:gd name="T0" fmla="*/ 0 w 2"/>
                <a:gd name="T1" fmla="*/ 0 h 18"/>
                <a:gd name="T2" fmla="*/ 0 w 2"/>
                <a:gd name="T3" fmla="*/ 0 h 18"/>
                <a:gd name="T4" fmla="*/ 1 w 2"/>
                <a:gd name="T5" fmla="*/ 11 h 18"/>
                <a:gd name="T6" fmla="*/ 2 w 2"/>
                <a:gd name="T7" fmla="*/ 18 h 18"/>
                <a:gd name="T8" fmla="*/ 2 w 2"/>
                <a:gd name="T9" fmla="*/ 5 h 18"/>
                <a:gd name="T10" fmla="*/ 0 w 2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6"/>
                    <a:pt x="1" y="11"/>
                  </a:cubicBezTo>
                  <a:cubicBezTo>
                    <a:pt x="1" y="13"/>
                    <a:pt x="2" y="16"/>
                    <a:pt x="2" y="18"/>
                  </a:cubicBezTo>
                  <a:cubicBezTo>
                    <a:pt x="2" y="14"/>
                    <a:pt x="2" y="10"/>
                    <a:pt x="2" y="5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BA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1" name="Freeform 72">
              <a:extLst>
                <a:ext uri="{FF2B5EF4-FFF2-40B4-BE49-F238E27FC236}">
                  <a16:creationId xmlns:a16="http://schemas.microsoft.com/office/drawing/2014/main" id="{9D792E85-6C0E-4959-A7FB-1378B9617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2" cy="26"/>
            </a:xfrm>
            <a:custGeom>
              <a:avLst/>
              <a:gdLst>
                <a:gd name="T0" fmla="*/ 0 w 1"/>
                <a:gd name="T1" fmla="*/ 0 h 11"/>
                <a:gd name="T2" fmla="*/ 1 w 1"/>
                <a:gd name="T3" fmla="*/ 11 h 11"/>
                <a:gd name="T4" fmla="*/ 0 w 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3"/>
                    <a:pt x="1" y="7"/>
                    <a:pt x="1" y="11"/>
                  </a:cubicBez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2" name="Freeform 73">
              <a:extLst>
                <a:ext uri="{FF2B5EF4-FFF2-40B4-BE49-F238E27FC236}">
                  <a16:creationId xmlns:a16="http://schemas.microsoft.com/office/drawing/2014/main" id="{802E1D99-92E9-47FA-9262-92E760927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" y="2282"/>
              <a:ext cx="719" cy="349"/>
            </a:xfrm>
            <a:custGeom>
              <a:avLst/>
              <a:gdLst>
                <a:gd name="T0" fmla="*/ 303 w 303"/>
                <a:gd name="T1" fmla="*/ 0 h 147"/>
                <a:gd name="T2" fmla="*/ 303 w 303"/>
                <a:gd name="T3" fmla="*/ 2 h 147"/>
                <a:gd name="T4" fmla="*/ 302 w 303"/>
                <a:gd name="T5" fmla="*/ 5 h 147"/>
                <a:gd name="T6" fmla="*/ 299 w 303"/>
                <a:gd name="T7" fmla="*/ 19 h 147"/>
                <a:gd name="T8" fmla="*/ 278 w 303"/>
                <a:gd name="T9" fmla="*/ 65 h 147"/>
                <a:gd name="T10" fmla="*/ 253 w 303"/>
                <a:gd name="T11" fmla="*/ 90 h 147"/>
                <a:gd name="T12" fmla="*/ 214 w 303"/>
                <a:gd name="T13" fmla="*/ 103 h 147"/>
                <a:gd name="T14" fmla="*/ 170 w 303"/>
                <a:gd name="T15" fmla="*/ 98 h 147"/>
                <a:gd name="T16" fmla="*/ 123 w 303"/>
                <a:gd name="T17" fmla="*/ 88 h 147"/>
                <a:gd name="T18" fmla="*/ 99 w 303"/>
                <a:gd name="T19" fmla="*/ 88 h 147"/>
                <a:gd name="T20" fmla="*/ 77 w 303"/>
                <a:gd name="T21" fmla="*/ 95 h 147"/>
                <a:gd name="T22" fmla="*/ 60 w 303"/>
                <a:gd name="T23" fmla="*/ 109 h 147"/>
                <a:gd name="T24" fmla="*/ 54 w 303"/>
                <a:gd name="T25" fmla="*/ 119 h 147"/>
                <a:gd name="T26" fmla="*/ 52 w 303"/>
                <a:gd name="T27" fmla="*/ 129 h 147"/>
                <a:gd name="T28" fmla="*/ 54 w 303"/>
                <a:gd name="T29" fmla="*/ 139 h 147"/>
                <a:gd name="T30" fmla="*/ 61 w 303"/>
                <a:gd name="T31" fmla="*/ 144 h 147"/>
                <a:gd name="T32" fmla="*/ 70 w 303"/>
                <a:gd name="T33" fmla="*/ 141 h 147"/>
                <a:gd name="T34" fmla="*/ 75 w 303"/>
                <a:gd name="T35" fmla="*/ 134 h 147"/>
                <a:gd name="T36" fmla="*/ 75 w 303"/>
                <a:gd name="T37" fmla="*/ 125 h 147"/>
                <a:gd name="T38" fmla="*/ 73 w 303"/>
                <a:gd name="T39" fmla="*/ 116 h 147"/>
                <a:gd name="T40" fmla="*/ 64 w 303"/>
                <a:gd name="T41" fmla="*/ 103 h 147"/>
                <a:gd name="T42" fmla="*/ 38 w 303"/>
                <a:gd name="T43" fmla="*/ 92 h 147"/>
                <a:gd name="T44" fmla="*/ 17 w 303"/>
                <a:gd name="T45" fmla="*/ 94 h 147"/>
                <a:gd name="T46" fmla="*/ 4 w 303"/>
                <a:gd name="T47" fmla="*/ 99 h 147"/>
                <a:gd name="T48" fmla="*/ 0 w 303"/>
                <a:gd name="T49" fmla="*/ 101 h 147"/>
                <a:gd name="T50" fmla="*/ 1 w 303"/>
                <a:gd name="T51" fmla="*/ 101 h 147"/>
                <a:gd name="T52" fmla="*/ 4 w 303"/>
                <a:gd name="T53" fmla="*/ 99 h 147"/>
                <a:gd name="T54" fmla="*/ 17 w 303"/>
                <a:gd name="T55" fmla="*/ 93 h 147"/>
                <a:gd name="T56" fmla="*/ 38 w 303"/>
                <a:gd name="T57" fmla="*/ 91 h 147"/>
                <a:gd name="T58" fmla="*/ 65 w 303"/>
                <a:gd name="T59" fmla="*/ 102 h 147"/>
                <a:gd name="T60" fmla="*/ 75 w 303"/>
                <a:gd name="T61" fmla="*/ 116 h 147"/>
                <a:gd name="T62" fmla="*/ 77 w 303"/>
                <a:gd name="T63" fmla="*/ 125 h 147"/>
                <a:gd name="T64" fmla="*/ 76 w 303"/>
                <a:gd name="T65" fmla="*/ 134 h 147"/>
                <a:gd name="T66" fmla="*/ 71 w 303"/>
                <a:gd name="T67" fmla="*/ 143 h 147"/>
                <a:gd name="T68" fmla="*/ 61 w 303"/>
                <a:gd name="T69" fmla="*/ 146 h 147"/>
                <a:gd name="T70" fmla="*/ 53 w 303"/>
                <a:gd name="T71" fmla="*/ 139 h 147"/>
                <a:gd name="T72" fmla="*/ 50 w 303"/>
                <a:gd name="T73" fmla="*/ 129 h 147"/>
                <a:gd name="T74" fmla="*/ 53 w 303"/>
                <a:gd name="T75" fmla="*/ 118 h 147"/>
                <a:gd name="T76" fmla="*/ 58 w 303"/>
                <a:gd name="T77" fmla="*/ 108 h 147"/>
                <a:gd name="T78" fmla="*/ 76 w 303"/>
                <a:gd name="T79" fmla="*/ 93 h 147"/>
                <a:gd name="T80" fmla="*/ 99 w 303"/>
                <a:gd name="T81" fmla="*/ 86 h 147"/>
                <a:gd name="T82" fmla="*/ 123 w 303"/>
                <a:gd name="T83" fmla="*/ 85 h 147"/>
                <a:gd name="T84" fmla="*/ 170 w 303"/>
                <a:gd name="T85" fmla="*/ 96 h 147"/>
                <a:gd name="T86" fmla="*/ 214 w 303"/>
                <a:gd name="T87" fmla="*/ 101 h 147"/>
                <a:gd name="T88" fmla="*/ 252 w 303"/>
                <a:gd name="T89" fmla="*/ 88 h 147"/>
                <a:gd name="T90" fmla="*/ 277 w 303"/>
                <a:gd name="T91" fmla="*/ 64 h 147"/>
                <a:gd name="T92" fmla="*/ 298 w 303"/>
                <a:gd name="T93" fmla="*/ 18 h 147"/>
                <a:gd name="T94" fmla="*/ 302 w 303"/>
                <a:gd name="T95" fmla="*/ 5 h 147"/>
                <a:gd name="T96" fmla="*/ 303 w 303"/>
                <a:gd name="T97" fmla="*/ 1 h 147"/>
                <a:gd name="T98" fmla="*/ 303 w 303"/>
                <a:gd name="T9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" h="147">
                  <a:moveTo>
                    <a:pt x="303" y="0"/>
                  </a:moveTo>
                  <a:cubicBezTo>
                    <a:pt x="303" y="0"/>
                    <a:pt x="303" y="1"/>
                    <a:pt x="303" y="2"/>
                  </a:cubicBezTo>
                  <a:cubicBezTo>
                    <a:pt x="303" y="2"/>
                    <a:pt x="303" y="4"/>
                    <a:pt x="302" y="5"/>
                  </a:cubicBezTo>
                  <a:cubicBezTo>
                    <a:pt x="302" y="8"/>
                    <a:pt x="301" y="13"/>
                    <a:pt x="299" y="19"/>
                  </a:cubicBezTo>
                  <a:cubicBezTo>
                    <a:pt x="296" y="30"/>
                    <a:pt x="290" y="47"/>
                    <a:pt x="278" y="65"/>
                  </a:cubicBezTo>
                  <a:cubicBezTo>
                    <a:pt x="271" y="74"/>
                    <a:pt x="263" y="83"/>
                    <a:pt x="253" y="90"/>
                  </a:cubicBezTo>
                  <a:cubicBezTo>
                    <a:pt x="242" y="97"/>
                    <a:pt x="229" y="102"/>
                    <a:pt x="214" y="103"/>
                  </a:cubicBezTo>
                  <a:cubicBezTo>
                    <a:pt x="200" y="104"/>
                    <a:pt x="185" y="101"/>
                    <a:pt x="170" y="98"/>
                  </a:cubicBezTo>
                  <a:cubicBezTo>
                    <a:pt x="155" y="94"/>
                    <a:pt x="139" y="89"/>
                    <a:pt x="123" y="88"/>
                  </a:cubicBezTo>
                  <a:cubicBezTo>
                    <a:pt x="115" y="87"/>
                    <a:pt x="107" y="87"/>
                    <a:pt x="99" y="88"/>
                  </a:cubicBezTo>
                  <a:cubicBezTo>
                    <a:pt x="91" y="89"/>
                    <a:pt x="84" y="91"/>
                    <a:pt x="77" y="95"/>
                  </a:cubicBezTo>
                  <a:cubicBezTo>
                    <a:pt x="70" y="99"/>
                    <a:pt x="64" y="103"/>
                    <a:pt x="60" y="109"/>
                  </a:cubicBezTo>
                  <a:cubicBezTo>
                    <a:pt x="58" y="112"/>
                    <a:pt x="56" y="115"/>
                    <a:pt x="54" y="119"/>
                  </a:cubicBezTo>
                  <a:cubicBezTo>
                    <a:pt x="53" y="122"/>
                    <a:pt x="52" y="125"/>
                    <a:pt x="52" y="129"/>
                  </a:cubicBezTo>
                  <a:cubicBezTo>
                    <a:pt x="52" y="132"/>
                    <a:pt x="53" y="136"/>
                    <a:pt x="54" y="139"/>
                  </a:cubicBezTo>
                  <a:cubicBezTo>
                    <a:pt x="56" y="141"/>
                    <a:pt x="58" y="144"/>
                    <a:pt x="61" y="144"/>
                  </a:cubicBezTo>
                  <a:cubicBezTo>
                    <a:pt x="64" y="145"/>
                    <a:pt x="67" y="144"/>
                    <a:pt x="70" y="141"/>
                  </a:cubicBezTo>
                  <a:cubicBezTo>
                    <a:pt x="72" y="139"/>
                    <a:pt x="74" y="137"/>
                    <a:pt x="75" y="134"/>
                  </a:cubicBezTo>
                  <a:cubicBezTo>
                    <a:pt x="75" y="131"/>
                    <a:pt x="76" y="128"/>
                    <a:pt x="75" y="125"/>
                  </a:cubicBezTo>
                  <a:cubicBezTo>
                    <a:pt x="75" y="122"/>
                    <a:pt x="74" y="119"/>
                    <a:pt x="73" y="116"/>
                  </a:cubicBezTo>
                  <a:cubicBezTo>
                    <a:pt x="71" y="111"/>
                    <a:pt x="68" y="106"/>
                    <a:pt x="64" y="103"/>
                  </a:cubicBezTo>
                  <a:cubicBezTo>
                    <a:pt x="56" y="95"/>
                    <a:pt x="47" y="92"/>
                    <a:pt x="38" y="92"/>
                  </a:cubicBezTo>
                  <a:cubicBezTo>
                    <a:pt x="30" y="91"/>
                    <a:pt x="23" y="93"/>
                    <a:pt x="17" y="94"/>
                  </a:cubicBezTo>
                  <a:cubicBezTo>
                    <a:pt x="11" y="96"/>
                    <a:pt x="7" y="98"/>
                    <a:pt x="4" y="99"/>
                  </a:cubicBezTo>
                  <a:cubicBezTo>
                    <a:pt x="1" y="101"/>
                    <a:pt x="0" y="102"/>
                    <a:pt x="0" y="101"/>
                  </a:cubicBezTo>
                  <a:cubicBezTo>
                    <a:pt x="0" y="101"/>
                    <a:pt x="0" y="101"/>
                    <a:pt x="1" y="101"/>
                  </a:cubicBezTo>
                  <a:cubicBezTo>
                    <a:pt x="1" y="100"/>
                    <a:pt x="2" y="100"/>
                    <a:pt x="4" y="99"/>
                  </a:cubicBezTo>
                  <a:cubicBezTo>
                    <a:pt x="7" y="97"/>
                    <a:pt x="11" y="95"/>
                    <a:pt x="17" y="93"/>
                  </a:cubicBezTo>
                  <a:cubicBezTo>
                    <a:pt x="22" y="92"/>
                    <a:pt x="30" y="90"/>
                    <a:pt x="38" y="91"/>
                  </a:cubicBezTo>
                  <a:cubicBezTo>
                    <a:pt x="47" y="91"/>
                    <a:pt x="57" y="94"/>
                    <a:pt x="65" y="102"/>
                  </a:cubicBezTo>
                  <a:cubicBezTo>
                    <a:pt x="69" y="105"/>
                    <a:pt x="73" y="110"/>
                    <a:pt x="75" y="116"/>
                  </a:cubicBezTo>
                  <a:cubicBezTo>
                    <a:pt x="76" y="119"/>
                    <a:pt x="77" y="122"/>
                    <a:pt x="77" y="125"/>
                  </a:cubicBezTo>
                  <a:cubicBezTo>
                    <a:pt x="77" y="128"/>
                    <a:pt x="77" y="131"/>
                    <a:pt x="76" y="134"/>
                  </a:cubicBezTo>
                  <a:cubicBezTo>
                    <a:pt x="75" y="137"/>
                    <a:pt x="73" y="140"/>
                    <a:pt x="71" y="143"/>
                  </a:cubicBezTo>
                  <a:cubicBezTo>
                    <a:pt x="68" y="145"/>
                    <a:pt x="65" y="147"/>
                    <a:pt x="61" y="146"/>
                  </a:cubicBezTo>
                  <a:cubicBezTo>
                    <a:pt x="57" y="145"/>
                    <a:pt x="54" y="143"/>
                    <a:pt x="53" y="139"/>
                  </a:cubicBezTo>
                  <a:cubicBezTo>
                    <a:pt x="51" y="136"/>
                    <a:pt x="50" y="132"/>
                    <a:pt x="50" y="129"/>
                  </a:cubicBezTo>
                  <a:cubicBezTo>
                    <a:pt x="50" y="125"/>
                    <a:pt x="51" y="121"/>
                    <a:pt x="53" y="118"/>
                  </a:cubicBezTo>
                  <a:cubicBezTo>
                    <a:pt x="54" y="114"/>
                    <a:pt x="56" y="111"/>
                    <a:pt x="58" y="108"/>
                  </a:cubicBezTo>
                  <a:cubicBezTo>
                    <a:pt x="63" y="102"/>
                    <a:pt x="69" y="97"/>
                    <a:pt x="76" y="93"/>
                  </a:cubicBezTo>
                  <a:cubicBezTo>
                    <a:pt x="83" y="89"/>
                    <a:pt x="90" y="87"/>
                    <a:pt x="99" y="86"/>
                  </a:cubicBezTo>
                  <a:cubicBezTo>
                    <a:pt x="107" y="84"/>
                    <a:pt x="115" y="85"/>
                    <a:pt x="123" y="85"/>
                  </a:cubicBezTo>
                  <a:cubicBezTo>
                    <a:pt x="140" y="87"/>
                    <a:pt x="155" y="92"/>
                    <a:pt x="170" y="96"/>
                  </a:cubicBezTo>
                  <a:cubicBezTo>
                    <a:pt x="185" y="99"/>
                    <a:pt x="200" y="102"/>
                    <a:pt x="214" y="101"/>
                  </a:cubicBezTo>
                  <a:cubicBezTo>
                    <a:pt x="228" y="100"/>
                    <a:pt x="241" y="95"/>
                    <a:pt x="252" y="88"/>
                  </a:cubicBezTo>
                  <a:cubicBezTo>
                    <a:pt x="262" y="81"/>
                    <a:pt x="270" y="73"/>
                    <a:pt x="277" y="64"/>
                  </a:cubicBezTo>
                  <a:cubicBezTo>
                    <a:pt x="289" y="47"/>
                    <a:pt x="295" y="30"/>
                    <a:pt x="298" y="18"/>
                  </a:cubicBezTo>
                  <a:cubicBezTo>
                    <a:pt x="300" y="13"/>
                    <a:pt x="301" y="8"/>
                    <a:pt x="302" y="5"/>
                  </a:cubicBezTo>
                  <a:cubicBezTo>
                    <a:pt x="302" y="4"/>
                    <a:pt x="303" y="2"/>
                    <a:pt x="303" y="1"/>
                  </a:cubicBezTo>
                  <a:cubicBezTo>
                    <a:pt x="303" y="1"/>
                    <a:pt x="303" y="0"/>
                    <a:pt x="30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3" name="Freeform 74">
              <a:extLst>
                <a:ext uri="{FF2B5EF4-FFF2-40B4-BE49-F238E27FC236}">
                  <a16:creationId xmlns:a16="http://schemas.microsoft.com/office/drawing/2014/main" id="{38200C4E-8F70-417B-AD46-A147F6156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" y="2755"/>
              <a:ext cx="204" cy="59"/>
            </a:xfrm>
            <a:custGeom>
              <a:avLst/>
              <a:gdLst>
                <a:gd name="T0" fmla="*/ 85 w 86"/>
                <a:gd name="T1" fmla="*/ 7 h 25"/>
                <a:gd name="T2" fmla="*/ 72 w 86"/>
                <a:gd name="T3" fmla="*/ 4 h 25"/>
                <a:gd name="T4" fmla="*/ 58 w 86"/>
                <a:gd name="T5" fmla="*/ 2 h 25"/>
                <a:gd name="T6" fmla="*/ 40 w 86"/>
                <a:gd name="T7" fmla="*/ 4 h 25"/>
                <a:gd name="T8" fmla="*/ 23 w 86"/>
                <a:gd name="T9" fmla="*/ 9 h 25"/>
                <a:gd name="T10" fmla="*/ 10 w 86"/>
                <a:gd name="T11" fmla="*/ 17 h 25"/>
                <a:gd name="T12" fmla="*/ 0 w 86"/>
                <a:gd name="T13" fmla="*/ 25 h 25"/>
                <a:gd name="T14" fmla="*/ 2 w 86"/>
                <a:gd name="T15" fmla="*/ 22 h 25"/>
                <a:gd name="T16" fmla="*/ 10 w 86"/>
                <a:gd name="T17" fmla="*/ 16 h 25"/>
                <a:gd name="T18" fmla="*/ 22 w 86"/>
                <a:gd name="T19" fmla="*/ 8 h 25"/>
                <a:gd name="T20" fmla="*/ 40 w 86"/>
                <a:gd name="T21" fmla="*/ 2 h 25"/>
                <a:gd name="T22" fmla="*/ 58 w 86"/>
                <a:gd name="T23" fmla="*/ 0 h 25"/>
                <a:gd name="T24" fmla="*/ 73 w 86"/>
                <a:gd name="T25" fmla="*/ 2 h 25"/>
                <a:gd name="T26" fmla="*/ 82 w 86"/>
                <a:gd name="T27" fmla="*/ 5 h 25"/>
                <a:gd name="T28" fmla="*/ 85 w 86"/>
                <a:gd name="T2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25">
                  <a:moveTo>
                    <a:pt x="85" y="7"/>
                  </a:moveTo>
                  <a:cubicBezTo>
                    <a:pt x="85" y="7"/>
                    <a:pt x="80" y="5"/>
                    <a:pt x="72" y="4"/>
                  </a:cubicBezTo>
                  <a:cubicBezTo>
                    <a:pt x="68" y="3"/>
                    <a:pt x="63" y="2"/>
                    <a:pt x="58" y="2"/>
                  </a:cubicBezTo>
                  <a:cubicBezTo>
                    <a:pt x="52" y="2"/>
                    <a:pt x="46" y="2"/>
                    <a:pt x="40" y="4"/>
                  </a:cubicBezTo>
                  <a:cubicBezTo>
                    <a:pt x="34" y="5"/>
                    <a:pt x="28" y="7"/>
                    <a:pt x="23" y="9"/>
                  </a:cubicBezTo>
                  <a:cubicBezTo>
                    <a:pt x="18" y="12"/>
                    <a:pt x="14" y="14"/>
                    <a:pt x="10" y="17"/>
                  </a:cubicBezTo>
                  <a:cubicBezTo>
                    <a:pt x="4" y="22"/>
                    <a:pt x="0" y="25"/>
                    <a:pt x="0" y="25"/>
                  </a:cubicBezTo>
                  <a:cubicBezTo>
                    <a:pt x="0" y="25"/>
                    <a:pt x="0" y="24"/>
                    <a:pt x="2" y="22"/>
                  </a:cubicBezTo>
                  <a:cubicBezTo>
                    <a:pt x="4" y="21"/>
                    <a:pt x="6" y="18"/>
                    <a:pt x="10" y="16"/>
                  </a:cubicBezTo>
                  <a:cubicBezTo>
                    <a:pt x="13" y="13"/>
                    <a:pt x="17" y="10"/>
                    <a:pt x="22" y="8"/>
                  </a:cubicBezTo>
                  <a:cubicBezTo>
                    <a:pt x="27" y="5"/>
                    <a:pt x="33" y="3"/>
                    <a:pt x="40" y="2"/>
                  </a:cubicBezTo>
                  <a:cubicBezTo>
                    <a:pt x="46" y="0"/>
                    <a:pt x="52" y="0"/>
                    <a:pt x="58" y="0"/>
                  </a:cubicBezTo>
                  <a:cubicBezTo>
                    <a:pt x="63" y="0"/>
                    <a:pt x="68" y="1"/>
                    <a:pt x="73" y="2"/>
                  </a:cubicBezTo>
                  <a:cubicBezTo>
                    <a:pt x="77" y="3"/>
                    <a:pt x="80" y="4"/>
                    <a:pt x="82" y="5"/>
                  </a:cubicBezTo>
                  <a:cubicBezTo>
                    <a:pt x="84" y="6"/>
                    <a:pt x="86" y="7"/>
                    <a:pt x="85" y="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4" name="Freeform 75">
              <a:extLst>
                <a:ext uri="{FF2B5EF4-FFF2-40B4-BE49-F238E27FC236}">
                  <a16:creationId xmlns:a16="http://schemas.microsoft.com/office/drawing/2014/main" id="{5DFE1552-7B50-460F-82A7-7E5836DA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2862"/>
              <a:ext cx="259" cy="85"/>
            </a:xfrm>
            <a:custGeom>
              <a:avLst/>
              <a:gdLst>
                <a:gd name="T0" fmla="*/ 109 w 109"/>
                <a:gd name="T1" fmla="*/ 0 h 36"/>
                <a:gd name="T2" fmla="*/ 107 w 109"/>
                <a:gd name="T3" fmla="*/ 4 h 36"/>
                <a:gd name="T4" fmla="*/ 99 w 109"/>
                <a:gd name="T5" fmla="*/ 15 h 36"/>
                <a:gd name="T6" fmla="*/ 60 w 109"/>
                <a:gd name="T7" fmla="*/ 34 h 36"/>
                <a:gd name="T8" fmla="*/ 17 w 109"/>
                <a:gd name="T9" fmla="*/ 32 h 36"/>
                <a:gd name="T10" fmla="*/ 4 w 109"/>
                <a:gd name="T11" fmla="*/ 29 h 36"/>
                <a:gd name="T12" fmla="*/ 0 w 109"/>
                <a:gd name="T13" fmla="*/ 27 h 36"/>
                <a:gd name="T14" fmla="*/ 5 w 109"/>
                <a:gd name="T15" fmla="*/ 28 h 36"/>
                <a:gd name="T16" fmla="*/ 17 w 109"/>
                <a:gd name="T17" fmla="*/ 30 h 36"/>
                <a:gd name="T18" fmla="*/ 60 w 109"/>
                <a:gd name="T19" fmla="*/ 32 h 36"/>
                <a:gd name="T20" fmla="*/ 98 w 109"/>
                <a:gd name="T21" fmla="*/ 14 h 36"/>
                <a:gd name="T22" fmla="*/ 109 w 109"/>
                <a:gd name="T2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6">
                  <a:moveTo>
                    <a:pt x="109" y="0"/>
                  </a:moveTo>
                  <a:cubicBezTo>
                    <a:pt x="109" y="0"/>
                    <a:pt x="108" y="2"/>
                    <a:pt x="107" y="4"/>
                  </a:cubicBezTo>
                  <a:cubicBezTo>
                    <a:pt x="105" y="7"/>
                    <a:pt x="103" y="11"/>
                    <a:pt x="99" y="15"/>
                  </a:cubicBezTo>
                  <a:cubicBezTo>
                    <a:pt x="91" y="23"/>
                    <a:pt x="77" y="31"/>
                    <a:pt x="60" y="34"/>
                  </a:cubicBezTo>
                  <a:cubicBezTo>
                    <a:pt x="43" y="36"/>
                    <a:pt x="28" y="34"/>
                    <a:pt x="17" y="32"/>
                  </a:cubicBezTo>
                  <a:cubicBezTo>
                    <a:pt x="12" y="31"/>
                    <a:pt x="7" y="30"/>
                    <a:pt x="4" y="29"/>
                  </a:cubicBezTo>
                  <a:cubicBezTo>
                    <a:pt x="1" y="28"/>
                    <a:pt x="0" y="27"/>
                    <a:pt x="0" y="27"/>
                  </a:cubicBezTo>
                  <a:cubicBezTo>
                    <a:pt x="0" y="27"/>
                    <a:pt x="1" y="27"/>
                    <a:pt x="5" y="28"/>
                  </a:cubicBezTo>
                  <a:cubicBezTo>
                    <a:pt x="8" y="29"/>
                    <a:pt x="12" y="29"/>
                    <a:pt x="17" y="30"/>
                  </a:cubicBezTo>
                  <a:cubicBezTo>
                    <a:pt x="28" y="32"/>
                    <a:pt x="43" y="34"/>
                    <a:pt x="60" y="32"/>
                  </a:cubicBezTo>
                  <a:cubicBezTo>
                    <a:pt x="76" y="29"/>
                    <a:pt x="90" y="21"/>
                    <a:pt x="98" y="14"/>
                  </a:cubicBezTo>
                  <a:cubicBezTo>
                    <a:pt x="106" y="6"/>
                    <a:pt x="109" y="0"/>
                    <a:pt x="109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5" name="Freeform 76">
              <a:extLst>
                <a:ext uri="{FF2B5EF4-FFF2-40B4-BE49-F238E27FC236}">
                  <a16:creationId xmlns:a16="http://schemas.microsoft.com/office/drawing/2014/main" id="{AC409A7A-8371-466C-850C-6CCFBF9A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7" y="2985"/>
              <a:ext cx="214" cy="259"/>
            </a:xfrm>
            <a:custGeom>
              <a:avLst/>
              <a:gdLst>
                <a:gd name="T0" fmla="*/ 90 w 90"/>
                <a:gd name="T1" fmla="*/ 0 h 109"/>
                <a:gd name="T2" fmla="*/ 89 w 90"/>
                <a:gd name="T3" fmla="*/ 2 h 109"/>
                <a:gd name="T4" fmla="*/ 86 w 90"/>
                <a:gd name="T5" fmla="*/ 8 h 109"/>
                <a:gd name="T6" fmla="*/ 70 w 90"/>
                <a:gd name="T7" fmla="*/ 25 h 109"/>
                <a:gd name="T8" fmla="*/ 45 w 90"/>
                <a:gd name="T9" fmla="*/ 49 h 109"/>
                <a:gd name="T10" fmla="*/ 40 w 90"/>
                <a:gd name="T11" fmla="*/ 68 h 109"/>
                <a:gd name="T12" fmla="*/ 43 w 90"/>
                <a:gd name="T13" fmla="*/ 77 h 109"/>
                <a:gd name="T14" fmla="*/ 52 w 90"/>
                <a:gd name="T15" fmla="*/ 82 h 109"/>
                <a:gd name="T16" fmla="*/ 59 w 90"/>
                <a:gd name="T17" fmla="*/ 75 h 109"/>
                <a:gd name="T18" fmla="*/ 57 w 90"/>
                <a:gd name="T19" fmla="*/ 66 h 109"/>
                <a:gd name="T20" fmla="*/ 49 w 90"/>
                <a:gd name="T21" fmla="*/ 60 h 109"/>
                <a:gd name="T22" fmla="*/ 40 w 90"/>
                <a:gd name="T23" fmla="*/ 60 h 109"/>
                <a:gd name="T24" fmla="*/ 23 w 90"/>
                <a:gd name="T25" fmla="*/ 68 h 109"/>
                <a:gd name="T26" fmla="*/ 12 w 90"/>
                <a:gd name="T27" fmla="*/ 80 h 109"/>
                <a:gd name="T28" fmla="*/ 2 w 90"/>
                <a:gd name="T29" fmla="*/ 101 h 109"/>
                <a:gd name="T30" fmla="*/ 0 w 90"/>
                <a:gd name="T31" fmla="*/ 109 h 109"/>
                <a:gd name="T32" fmla="*/ 0 w 90"/>
                <a:gd name="T33" fmla="*/ 107 h 109"/>
                <a:gd name="T34" fmla="*/ 1 w 90"/>
                <a:gd name="T35" fmla="*/ 100 h 109"/>
                <a:gd name="T36" fmla="*/ 11 w 90"/>
                <a:gd name="T37" fmla="*/ 79 h 109"/>
                <a:gd name="T38" fmla="*/ 22 w 90"/>
                <a:gd name="T39" fmla="*/ 67 h 109"/>
                <a:gd name="T40" fmla="*/ 39 w 90"/>
                <a:gd name="T41" fmla="*/ 58 h 109"/>
                <a:gd name="T42" fmla="*/ 59 w 90"/>
                <a:gd name="T43" fmla="*/ 64 h 109"/>
                <a:gd name="T44" fmla="*/ 61 w 90"/>
                <a:gd name="T45" fmla="*/ 70 h 109"/>
                <a:gd name="T46" fmla="*/ 61 w 90"/>
                <a:gd name="T47" fmla="*/ 76 h 109"/>
                <a:gd name="T48" fmla="*/ 58 w 90"/>
                <a:gd name="T49" fmla="*/ 81 h 109"/>
                <a:gd name="T50" fmla="*/ 52 w 90"/>
                <a:gd name="T51" fmla="*/ 84 h 109"/>
                <a:gd name="T52" fmla="*/ 42 w 90"/>
                <a:gd name="T53" fmla="*/ 79 h 109"/>
                <a:gd name="T54" fmla="*/ 38 w 90"/>
                <a:gd name="T55" fmla="*/ 68 h 109"/>
                <a:gd name="T56" fmla="*/ 44 w 90"/>
                <a:gd name="T57" fmla="*/ 48 h 109"/>
                <a:gd name="T58" fmla="*/ 69 w 90"/>
                <a:gd name="T59" fmla="*/ 23 h 109"/>
                <a:gd name="T60" fmla="*/ 86 w 90"/>
                <a:gd name="T61" fmla="*/ 7 h 109"/>
                <a:gd name="T62" fmla="*/ 90 w 90"/>
                <a:gd name="T6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" h="109">
                  <a:moveTo>
                    <a:pt x="90" y="0"/>
                  </a:moveTo>
                  <a:cubicBezTo>
                    <a:pt x="90" y="0"/>
                    <a:pt x="90" y="1"/>
                    <a:pt x="89" y="2"/>
                  </a:cubicBezTo>
                  <a:cubicBezTo>
                    <a:pt x="89" y="3"/>
                    <a:pt x="88" y="5"/>
                    <a:pt x="86" y="8"/>
                  </a:cubicBezTo>
                  <a:cubicBezTo>
                    <a:pt x="83" y="12"/>
                    <a:pt x="78" y="18"/>
                    <a:pt x="70" y="25"/>
                  </a:cubicBezTo>
                  <a:cubicBezTo>
                    <a:pt x="62" y="31"/>
                    <a:pt x="52" y="38"/>
                    <a:pt x="45" y="49"/>
                  </a:cubicBezTo>
                  <a:cubicBezTo>
                    <a:pt x="42" y="54"/>
                    <a:pt x="39" y="61"/>
                    <a:pt x="40" y="68"/>
                  </a:cubicBezTo>
                  <a:cubicBezTo>
                    <a:pt x="40" y="71"/>
                    <a:pt x="41" y="75"/>
                    <a:pt x="43" y="77"/>
                  </a:cubicBezTo>
                  <a:cubicBezTo>
                    <a:pt x="45" y="80"/>
                    <a:pt x="49" y="82"/>
                    <a:pt x="52" y="82"/>
                  </a:cubicBezTo>
                  <a:cubicBezTo>
                    <a:pt x="56" y="81"/>
                    <a:pt x="58" y="78"/>
                    <a:pt x="59" y="75"/>
                  </a:cubicBezTo>
                  <a:cubicBezTo>
                    <a:pt x="60" y="72"/>
                    <a:pt x="59" y="68"/>
                    <a:pt x="57" y="66"/>
                  </a:cubicBezTo>
                  <a:cubicBezTo>
                    <a:pt x="55" y="63"/>
                    <a:pt x="52" y="61"/>
                    <a:pt x="49" y="60"/>
                  </a:cubicBezTo>
                  <a:cubicBezTo>
                    <a:pt x="46" y="60"/>
                    <a:pt x="43" y="60"/>
                    <a:pt x="40" y="60"/>
                  </a:cubicBezTo>
                  <a:cubicBezTo>
                    <a:pt x="33" y="62"/>
                    <a:pt x="28" y="65"/>
                    <a:pt x="23" y="68"/>
                  </a:cubicBezTo>
                  <a:cubicBezTo>
                    <a:pt x="19" y="72"/>
                    <a:pt x="15" y="76"/>
                    <a:pt x="12" y="80"/>
                  </a:cubicBezTo>
                  <a:cubicBezTo>
                    <a:pt x="6" y="88"/>
                    <a:pt x="3" y="95"/>
                    <a:pt x="2" y="101"/>
                  </a:cubicBezTo>
                  <a:cubicBezTo>
                    <a:pt x="0" y="106"/>
                    <a:pt x="0" y="109"/>
                    <a:pt x="0" y="109"/>
                  </a:cubicBezTo>
                  <a:cubicBezTo>
                    <a:pt x="0" y="109"/>
                    <a:pt x="0" y="108"/>
                    <a:pt x="0" y="107"/>
                  </a:cubicBezTo>
                  <a:cubicBezTo>
                    <a:pt x="0" y="105"/>
                    <a:pt x="0" y="103"/>
                    <a:pt x="1" y="100"/>
                  </a:cubicBezTo>
                  <a:cubicBezTo>
                    <a:pt x="2" y="95"/>
                    <a:pt x="5" y="87"/>
                    <a:pt x="11" y="79"/>
                  </a:cubicBezTo>
                  <a:cubicBezTo>
                    <a:pt x="14" y="75"/>
                    <a:pt x="18" y="71"/>
                    <a:pt x="22" y="67"/>
                  </a:cubicBezTo>
                  <a:cubicBezTo>
                    <a:pt x="27" y="64"/>
                    <a:pt x="33" y="60"/>
                    <a:pt x="39" y="58"/>
                  </a:cubicBezTo>
                  <a:cubicBezTo>
                    <a:pt x="46" y="57"/>
                    <a:pt x="54" y="58"/>
                    <a:pt x="59" y="64"/>
                  </a:cubicBezTo>
                  <a:cubicBezTo>
                    <a:pt x="60" y="66"/>
                    <a:pt x="61" y="68"/>
                    <a:pt x="61" y="70"/>
                  </a:cubicBezTo>
                  <a:cubicBezTo>
                    <a:pt x="62" y="72"/>
                    <a:pt x="62" y="74"/>
                    <a:pt x="61" y="76"/>
                  </a:cubicBezTo>
                  <a:cubicBezTo>
                    <a:pt x="60" y="78"/>
                    <a:pt x="59" y="79"/>
                    <a:pt x="58" y="81"/>
                  </a:cubicBezTo>
                  <a:cubicBezTo>
                    <a:pt x="56" y="82"/>
                    <a:pt x="54" y="83"/>
                    <a:pt x="52" y="84"/>
                  </a:cubicBezTo>
                  <a:cubicBezTo>
                    <a:pt x="48" y="84"/>
                    <a:pt x="44" y="82"/>
                    <a:pt x="42" y="79"/>
                  </a:cubicBezTo>
                  <a:cubicBezTo>
                    <a:pt x="39" y="75"/>
                    <a:pt x="38" y="72"/>
                    <a:pt x="38" y="68"/>
                  </a:cubicBezTo>
                  <a:cubicBezTo>
                    <a:pt x="37" y="60"/>
                    <a:pt x="40" y="53"/>
                    <a:pt x="44" y="48"/>
                  </a:cubicBezTo>
                  <a:cubicBezTo>
                    <a:pt x="51" y="37"/>
                    <a:pt x="61" y="30"/>
                    <a:pt x="69" y="23"/>
                  </a:cubicBezTo>
                  <a:cubicBezTo>
                    <a:pt x="77" y="17"/>
                    <a:pt x="82" y="12"/>
                    <a:pt x="86" y="7"/>
                  </a:cubicBezTo>
                  <a:cubicBezTo>
                    <a:pt x="89" y="3"/>
                    <a:pt x="90" y="0"/>
                    <a:pt x="90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6" name="Freeform 77">
              <a:extLst>
                <a:ext uri="{FF2B5EF4-FFF2-40B4-BE49-F238E27FC236}">
                  <a16:creationId xmlns:a16="http://schemas.microsoft.com/office/drawing/2014/main" id="{5790C8F1-F25B-4972-96C4-3985B1DD0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" y="3140"/>
              <a:ext cx="390" cy="109"/>
            </a:xfrm>
            <a:custGeom>
              <a:avLst/>
              <a:gdLst>
                <a:gd name="T0" fmla="*/ 149 w 164"/>
                <a:gd name="T1" fmla="*/ 0 h 46"/>
                <a:gd name="T2" fmla="*/ 147 w 164"/>
                <a:gd name="T3" fmla="*/ 0 h 46"/>
                <a:gd name="T4" fmla="*/ 0 w 164"/>
                <a:gd name="T5" fmla="*/ 12 h 46"/>
                <a:gd name="T6" fmla="*/ 1 w 164"/>
                <a:gd name="T7" fmla="*/ 23 h 46"/>
                <a:gd name="T8" fmla="*/ 15 w 164"/>
                <a:gd name="T9" fmla="*/ 33 h 46"/>
                <a:gd name="T10" fmla="*/ 31 w 164"/>
                <a:gd name="T11" fmla="*/ 46 h 46"/>
                <a:gd name="T12" fmla="*/ 76 w 164"/>
                <a:gd name="T13" fmla="*/ 38 h 46"/>
                <a:gd name="T14" fmla="*/ 147 w 164"/>
                <a:gd name="T15" fmla="*/ 25 h 46"/>
                <a:gd name="T16" fmla="*/ 160 w 164"/>
                <a:gd name="T17" fmla="*/ 18 h 46"/>
                <a:gd name="T18" fmla="*/ 161 w 164"/>
                <a:gd name="T19" fmla="*/ 4 h 46"/>
                <a:gd name="T20" fmla="*/ 149 w 164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46">
                  <a:moveTo>
                    <a:pt x="149" y="0"/>
                  </a:moveTo>
                  <a:cubicBezTo>
                    <a:pt x="148" y="0"/>
                    <a:pt x="147" y="0"/>
                    <a:pt x="147" y="0"/>
                  </a:cubicBezTo>
                  <a:cubicBezTo>
                    <a:pt x="96" y="2"/>
                    <a:pt x="48" y="5"/>
                    <a:pt x="0" y="1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6" y="26"/>
                    <a:pt x="11" y="29"/>
                    <a:pt x="15" y="33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45" y="40"/>
                    <a:pt x="61" y="39"/>
                    <a:pt x="76" y="38"/>
                  </a:cubicBezTo>
                  <a:cubicBezTo>
                    <a:pt x="100" y="37"/>
                    <a:pt x="125" y="34"/>
                    <a:pt x="147" y="25"/>
                  </a:cubicBezTo>
                  <a:cubicBezTo>
                    <a:pt x="152" y="24"/>
                    <a:pt x="156" y="22"/>
                    <a:pt x="160" y="18"/>
                  </a:cubicBezTo>
                  <a:cubicBezTo>
                    <a:pt x="163" y="14"/>
                    <a:pt x="164" y="8"/>
                    <a:pt x="161" y="4"/>
                  </a:cubicBezTo>
                  <a:cubicBezTo>
                    <a:pt x="158" y="1"/>
                    <a:pt x="153" y="0"/>
                    <a:pt x="149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7" name="Freeform 78">
              <a:extLst>
                <a:ext uri="{FF2B5EF4-FFF2-40B4-BE49-F238E27FC236}">
                  <a16:creationId xmlns:a16="http://schemas.microsoft.com/office/drawing/2014/main" id="{6DACC2F0-D833-4572-885D-9F694302B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7" y="3168"/>
              <a:ext cx="41" cy="26"/>
            </a:xfrm>
            <a:custGeom>
              <a:avLst/>
              <a:gdLst>
                <a:gd name="T0" fmla="*/ 16 w 17"/>
                <a:gd name="T1" fmla="*/ 0 h 11"/>
                <a:gd name="T2" fmla="*/ 0 w 17"/>
                <a:gd name="T3" fmla="*/ 3 h 11"/>
                <a:gd name="T4" fmla="*/ 17 w 17"/>
                <a:gd name="T5" fmla="*/ 11 h 11"/>
                <a:gd name="T6" fmla="*/ 16 w 17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1">
                  <a:moveTo>
                    <a:pt x="16" y="0"/>
                  </a:moveTo>
                  <a:cubicBezTo>
                    <a:pt x="10" y="1"/>
                    <a:pt x="5" y="2"/>
                    <a:pt x="0" y="3"/>
                  </a:cubicBezTo>
                  <a:cubicBezTo>
                    <a:pt x="6" y="5"/>
                    <a:pt x="11" y="8"/>
                    <a:pt x="17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8" name="Freeform 79">
              <a:extLst>
                <a:ext uri="{FF2B5EF4-FFF2-40B4-BE49-F238E27FC236}">
                  <a16:creationId xmlns:a16="http://schemas.microsoft.com/office/drawing/2014/main" id="{8A6E2A1B-4E20-4688-A999-C8B4C3A63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978"/>
              <a:ext cx="168" cy="252"/>
            </a:xfrm>
            <a:custGeom>
              <a:avLst/>
              <a:gdLst>
                <a:gd name="T0" fmla="*/ 71 w 71"/>
                <a:gd name="T1" fmla="*/ 106 h 106"/>
                <a:gd name="T2" fmla="*/ 70 w 71"/>
                <a:gd name="T3" fmla="*/ 104 h 106"/>
                <a:gd name="T4" fmla="*/ 70 w 71"/>
                <a:gd name="T5" fmla="*/ 100 h 106"/>
                <a:gd name="T6" fmla="*/ 68 w 71"/>
                <a:gd name="T7" fmla="*/ 82 h 106"/>
                <a:gd name="T8" fmla="*/ 62 w 71"/>
                <a:gd name="T9" fmla="*/ 24 h 106"/>
                <a:gd name="T10" fmla="*/ 59 w 71"/>
                <a:gd name="T11" fmla="*/ 1 h 106"/>
                <a:gd name="T12" fmla="*/ 60 w 71"/>
                <a:gd name="T13" fmla="*/ 2 h 106"/>
                <a:gd name="T14" fmla="*/ 17 w 71"/>
                <a:gd name="T15" fmla="*/ 1 h 106"/>
                <a:gd name="T16" fmla="*/ 4 w 71"/>
                <a:gd name="T17" fmla="*/ 1 h 106"/>
                <a:gd name="T18" fmla="*/ 1 w 71"/>
                <a:gd name="T19" fmla="*/ 1 h 106"/>
                <a:gd name="T20" fmla="*/ 0 w 71"/>
                <a:gd name="T21" fmla="*/ 1 h 106"/>
                <a:gd name="T22" fmla="*/ 1 w 71"/>
                <a:gd name="T23" fmla="*/ 1 h 106"/>
                <a:gd name="T24" fmla="*/ 4 w 71"/>
                <a:gd name="T25" fmla="*/ 1 h 106"/>
                <a:gd name="T26" fmla="*/ 17 w 71"/>
                <a:gd name="T27" fmla="*/ 1 h 106"/>
                <a:gd name="T28" fmla="*/ 60 w 71"/>
                <a:gd name="T29" fmla="*/ 0 h 106"/>
                <a:gd name="T30" fmla="*/ 61 w 71"/>
                <a:gd name="T31" fmla="*/ 0 h 106"/>
                <a:gd name="T32" fmla="*/ 61 w 71"/>
                <a:gd name="T33" fmla="*/ 1 h 106"/>
                <a:gd name="T34" fmla="*/ 63 w 71"/>
                <a:gd name="T35" fmla="*/ 23 h 106"/>
                <a:gd name="T36" fmla="*/ 69 w 71"/>
                <a:gd name="T37" fmla="*/ 82 h 106"/>
                <a:gd name="T38" fmla="*/ 70 w 71"/>
                <a:gd name="T39" fmla="*/ 99 h 106"/>
                <a:gd name="T40" fmla="*/ 71 w 71"/>
                <a:gd name="T41" fmla="*/ 104 h 106"/>
                <a:gd name="T42" fmla="*/ 71 w 71"/>
                <a:gd name="T4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" h="106">
                  <a:moveTo>
                    <a:pt x="71" y="106"/>
                  </a:moveTo>
                  <a:cubicBezTo>
                    <a:pt x="71" y="106"/>
                    <a:pt x="71" y="105"/>
                    <a:pt x="70" y="104"/>
                  </a:cubicBezTo>
                  <a:cubicBezTo>
                    <a:pt x="70" y="103"/>
                    <a:pt x="70" y="101"/>
                    <a:pt x="70" y="100"/>
                  </a:cubicBezTo>
                  <a:cubicBezTo>
                    <a:pt x="69" y="95"/>
                    <a:pt x="69" y="89"/>
                    <a:pt x="68" y="82"/>
                  </a:cubicBezTo>
                  <a:cubicBezTo>
                    <a:pt x="66" y="67"/>
                    <a:pt x="64" y="46"/>
                    <a:pt x="62" y="24"/>
                  </a:cubicBezTo>
                  <a:cubicBezTo>
                    <a:pt x="61" y="16"/>
                    <a:pt x="60" y="8"/>
                    <a:pt x="59" y="1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43" y="2"/>
                    <a:pt x="28" y="1"/>
                    <a:pt x="17" y="1"/>
                  </a:cubicBezTo>
                  <a:cubicBezTo>
                    <a:pt x="12" y="1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8" y="0"/>
                    <a:pt x="43" y="0"/>
                    <a:pt x="6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8"/>
                    <a:pt x="62" y="16"/>
                    <a:pt x="63" y="23"/>
                  </a:cubicBezTo>
                  <a:cubicBezTo>
                    <a:pt x="65" y="46"/>
                    <a:pt x="67" y="67"/>
                    <a:pt x="69" y="82"/>
                  </a:cubicBezTo>
                  <a:cubicBezTo>
                    <a:pt x="69" y="89"/>
                    <a:pt x="70" y="95"/>
                    <a:pt x="70" y="99"/>
                  </a:cubicBezTo>
                  <a:cubicBezTo>
                    <a:pt x="70" y="101"/>
                    <a:pt x="71" y="103"/>
                    <a:pt x="71" y="104"/>
                  </a:cubicBezTo>
                  <a:cubicBezTo>
                    <a:pt x="71" y="105"/>
                    <a:pt x="71" y="106"/>
                    <a:pt x="71" y="10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9" name="Freeform 80">
              <a:extLst>
                <a:ext uri="{FF2B5EF4-FFF2-40B4-BE49-F238E27FC236}">
                  <a16:creationId xmlns:a16="http://schemas.microsoft.com/office/drawing/2014/main" id="{F41F4483-1144-4A16-8B27-66F1EEF30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03"/>
              <a:ext cx="221" cy="168"/>
            </a:xfrm>
            <a:custGeom>
              <a:avLst/>
              <a:gdLst>
                <a:gd name="T0" fmla="*/ 5 w 93"/>
                <a:gd name="T1" fmla="*/ 19 h 71"/>
                <a:gd name="T2" fmla="*/ 68 w 93"/>
                <a:gd name="T3" fmla="*/ 71 h 71"/>
                <a:gd name="T4" fmla="*/ 93 w 93"/>
                <a:gd name="T5" fmla="*/ 67 h 71"/>
                <a:gd name="T6" fmla="*/ 17 w 93"/>
                <a:gd name="T7" fmla="*/ 3 h 71"/>
                <a:gd name="T8" fmla="*/ 4 w 93"/>
                <a:gd name="T9" fmla="*/ 4 h 71"/>
                <a:gd name="T10" fmla="*/ 5 w 93"/>
                <a:gd name="T11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71">
                  <a:moveTo>
                    <a:pt x="5" y="19"/>
                  </a:moveTo>
                  <a:cubicBezTo>
                    <a:pt x="24" y="34"/>
                    <a:pt x="68" y="71"/>
                    <a:pt x="68" y="71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3" y="0"/>
                    <a:pt x="7" y="0"/>
                    <a:pt x="4" y="4"/>
                  </a:cubicBezTo>
                  <a:cubicBezTo>
                    <a:pt x="0" y="8"/>
                    <a:pt x="0" y="15"/>
                    <a:pt x="5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0" name="Freeform 81">
              <a:extLst>
                <a:ext uri="{FF2B5EF4-FFF2-40B4-BE49-F238E27FC236}">
                  <a16:creationId xmlns:a16="http://schemas.microsoft.com/office/drawing/2014/main" id="{C512DE4A-5E89-490A-B933-C563C2669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" y="2686"/>
              <a:ext cx="43" cy="40"/>
            </a:xfrm>
            <a:custGeom>
              <a:avLst/>
              <a:gdLst>
                <a:gd name="T0" fmla="*/ 12 w 18"/>
                <a:gd name="T1" fmla="*/ 17 h 17"/>
                <a:gd name="T2" fmla="*/ 2 w 18"/>
                <a:gd name="T3" fmla="*/ 9 h 17"/>
                <a:gd name="T4" fmla="*/ 1 w 18"/>
                <a:gd name="T5" fmla="*/ 2 h 17"/>
                <a:gd name="T6" fmla="*/ 8 w 18"/>
                <a:gd name="T7" fmla="*/ 2 h 17"/>
                <a:gd name="T8" fmla="*/ 18 w 18"/>
                <a:gd name="T9" fmla="*/ 10 h 17"/>
                <a:gd name="T10" fmla="*/ 12 w 1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12" y="17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18" y="10"/>
                    <a:pt x="18" y="10"/>
                    <a:pt x="18" y="10"/>
                  </a:cubicBezTo>
                  <a:lnTo>
                    <a:pt x="12" y="17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1" name="Freeform 82">
              <a:extLst>
                <a:ext uri="{FF2B5EF4-FFF2-40B4-BE49-F238E27FC236}">
                  <a16:creationId xmlns:a16="http://schemas.microsoft.com/office/drawing/2014/main" id="{3D31DF23-A54B-4788-873E-B564507CC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738"/>
              <a:ext cx="33" cy="34"/>
            </a:xfrm>
            <a:custGeom>
              <a:avLst/>
              <a:gdLst>
                <a:gd name="T0" fmla="*/ 14 w 14"/>
                <a:gd name="T1" fmla="*/ 0 h 14"/>
                <a:gd name="T2" fmla="*/ 8 w 14"/>
                <a:gd name="T3" fmla="*/ 8 h 14"/>
                <a:gd name="T4" fmla="*/ 1 w 14"/>
                <a:gd name="T5" fmla="*/ 14 h 14"/>
                <a:gd name="T6" fmla="*/ 7 w 14"/>
                <a:gd name="T7" fmla="*/ 7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1" y="4"/>
                    <a:pt x="8" y="8"/>
                  </a:cubicBezTo>
                  <a:cubicBezTo>
                    <a:pt x="4" y="11"/>
                    <a:pt x="1" y="14"/>
                    <a:pt x="1" y="14"/>
                  </a:cubicBezTo>
                  <a:cubicBezTo>
                    <a:pt x="0" y="14"/>
                    <a:pt x="3" y="10"/>
                    <a:pt x="7" y="7"/>
                  </a:cubicBezTo>
                  <a:cubicBezTo>
                    <a:pt x="10" y="3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2" name="Freeform 83">
              <a:extLst>
                <a:ext uri="{FF2B5EF4-FFF2-40B4-BE49-F238E27FC236}">
                  <a16:creationId xmlns:a16="http://schemas.microsoft.com/office/drawing/2014/main" id="{1C0AD131-F253-4656-A61A-BA36B01C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2707"/>
              <a:ext cx="81" cy="105"/>
            </a:xfrm>
            <a:custGeom>
              <a:avLst/>
              <a:gdLst>
                <a:gd name="T0" fmla="*/ 34 w 34"/>
                <a:gd name="T1" fmla="*/ 44 h 44"/>
                <a:gd name="T2" fmla="*/ 26 w 34"/>
                <a:gd name="T3" fmla="*/ 39 h 44"/>
                <a:gd name="T4" fmla="*/ 9 w 34"/>
                <a:gd name="T5" fmla="*/ 26 h 44"/>
                <a:gd name="T6" fmla="*/ 1 w 34"/>
                <a:gd name="T7" fmla="*/ 17 h 44"/>
                <a:gd name="T8" fmla="*/ 1 w 34"/>
                <a:gd name="T9" fmla="*/ 7 h 44"/>
                <a:gd name="T10" fmla="*/ 5 w 34"/>
                <a:gd name="T11" fmla="*/ 1 h 44"/>
                <a:gd name="T12" fmla="*/ 7 w 34"/>
                <a:gd name="T13" fmla="*/ 0 h 44"/>
                <a:gd name="T14" fmla="*/ 5 w 34"/>
                <a:gd name="T15" fmla="*/ 2 h 44"/>
                <a:gd name="T16" fmla="*/ 2 w 34"/>
                <a:gd name="T17" fmla="*/ 7 h 44"/>
                <a:gd name="T18" fmla="*/ 2 w 34"/>
                <a:gd name="T19" fmla="*/ 16 h 44"/>
                <a:gd name="T20" fmla="*/ 10 w 34"/>
                <a:gd name="T21" fmla="*/ 25 h 44"/>
                <a:gd name="T22" fmla="*/ 27 w 34"/>
                <a:gd name="T23" fmla="*/ 38 h 44"/>
                <a:gd name="T24" fmla="*/ 34 w 34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4">
                  <a:moveTo>
                    <a:pt x="34" y="44"/>
                  </a:moveTo>
                  <a:cubicBezTo>
                    <a:pt x="33" y="44"/>
                    <a:pt x="30" y="43"/>
                    <a:pt x="26" y="39"/>
                  </a:cubicBezTo>
                  <a:cubicBezTo>
                    <a:pt x="21" y="36"/>
                    <a:pt x="15" y="31"/>
                    <a:pt x="9" y="26"/>
                  </a:cubicBezTo>
                  <a:cubicBezTo>
                    <a:pt x="6" y="23"/>
                    <a:pt x="3" y="20"/>
                    <a:pt x="1" y="17"/>
                  </a:cubicBezTo>
                  <a:cubicBezTo>
                    <a:pt x="0" y="13"/>
                    <a:pt x="0" y="9"/>
                    <a:pt x="1" y="7"/>
                  </a:cubicBezTo>
                  <a:cubicBezTo>
                    <a:pt x="2" y="4"/>
                    <a:pt x="4" y="2"/>
                    <a:pt x="5" y="1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6" y="1"/>
                    <a:pt x="5" y="2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10"/>
                    <a:pt x="1" y="13"/>
                    <a:pt x="2" y="16"/>
                  </a:cubicBezTo>
                  <a:cubicBezTo>
                    <a:pt x="4" y="19"/>
                    <a:pt x="7" y="22"/>
                    <a:pt x="10" y="25"/>
                  </a:cubicBezTo>
                  <a:cubicBezTo>
                    <a:pt x="16" y="30"/>
                    <a:pt x="22" y="35"/>
                    <a:pt x="27" y="38"/>
                  </a:cubicBezTo>
                  <a:cubicBezTo>
                    <a:pt x="31" y="42"/>
                    <a:pt x="34" y="44"/>
                    <a:pt x="34" y="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3" name="Freeform 84">
              <a:extLst>
                <a:ext uri="{FF2B5EF4-FFF2-40B4-BE49-F238E27FC236}">
                  <a16:creationId xmlns:a16="http://schemas.microsoft.com/office/drawing/2014/main" id="{496CBB66-18F8-4BB7-995D-9458D2A6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857"/>
              <a:ext cx="430" cy="352"/>
            </a:xfrm>
            <a:custGeom>
              <a:avLst/>
              <a:gdLst>
                <a:gd name="T0" fmla="*/ 0 w 181"/>
                <a:gd name="T1" fmla="*/ 60 h 148"/>
                <a:gd name="T2" fmla="*/ 55 w 181"/>
                <a:gd name="T3" fmla="*/ 52 h 148"/>
                <a:gd name="T4" fmla="*/ 72 w 181"/>
                <a:gd name="T5" fmla="*/ 44 h 148"/>
                <a:gd name="T6" fmla="*/ 85 w 181"/>
                <a:gd name="T7" fmla="*/ 26 h 148"/>
                <a:gd name="T8" fmla="*/ 146 w 181"/>
                <a:gd name="T9" fmla="*/ 1 h 148"/>
                <a:gd name="T10" fmla="*/ 162 w 181"/>
                <a:gd name="T11" fmla="*/ 1 h 148"/>
                <a:gd name="T12" fmla="*/ 173 w 181"/>
                <a:gd name="T13" fmla="*/ 11 h 148"/>
                <a:gd name="T14" fmla="*/ 166 w 181"/>
                <a:gd name="T15" fmla="*/ 23 h 148"/>
                <a:gd name="T16" fmla="*/ 176 w 181"/>
                <a:gd name="T17" fmla="*/ 33 h 148"/>
                <a:gd name="T18" fmla="*/ 176 w 181"/>
                <a:gd name="T19" fmla="*/ 48 h 148"/>
                <a:gd name="T20" fmla="*/ 181 w 181"/>
                <a:gd name="T21" fmla="*/ 69 h 148"/>
                <a:gd name="T22" fmla="*/ 164 w 181"/>
                <a:gd name="T23" fmla="*/ 90 h 148"/>
                <a:gd name="T24" fmla="*/ 136 w 181"/>
                <a:gd name="T25" fmla="*/ 95 h 148"/>
                <a:gd name="T26" fmla="*/ 10 w 181"/>
                <a:gd name="T2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1" h="148">
                  <a:moveTo>
                    <a:pt x="0" y="60"/>
                  </a:moveTo>
                  <a:cubicBezTo>
                    <a:pt x="18" y="54"/>
                    <a:pt x="37" y="58"/>
                    <a:pt x="55" y="52"/>
                  </a:cubicBezTo>
                  <a:cubicBezTo>
                    <a:pt x="61" y="50"/>
                    <a:pt x="67" y="48"/>
                    <a:pt x="72" y="44"/>
                  </a:cubicBezTo>
                  <a:cubicBezTo>
                    <a:pt x="77" y="39"/>
                    <a:pt x="80" y="32"/>
                    <a:pt x="85" y="26"/>
                  </a:cubicBezTo>
                  <a:cubicBezTo>
                    <a:pt x="98" y="7"/>
                    <a:pt x="124" y="3"/>
                    <a:pt x="146" y="1"/>
                  </a:cubicBezTo>
                  <a:cubicBezTo>
                    <a:pt x="151" y="1"/>
                    <a:pt x="157" y="0"/>
                    <a:pt x="162" y="1"/>
                  </a:cubicBezTo>
                  <a:cubicBezTo>
                    <a:pt x="167" y="3"/>
                    <a:pt x="172" y="6"/>
                    <a:pt x="173" y="11"/>
                  </a:cubicBezTo>
                  <a:cubicBezTo>
                    <a:pt x="175" y="16"/>
                    <a:pt x="172" y="23"/>
                    <a:pt x="166" y="23"/>
                  </a:cubicBezTo>
                  <a:cubicBezTo>
                    <a:pt x="171" y="24"/>
                    <a:pt x="175" y="29"/>
                    <a:pt x="176" y="33"/>
                  </a:cubicBezTo>
                  <a:cubicBezTo>
                    <a:pt x="177" y="38"/>
                    <a:pt x="176" y="43"/>
                    <a:pt x="176" y="48"/>
                  </a:cubicBezTo>
                  <a:cubicBezTo>
                    <a:pt x="177" y="55"/>
                    <a:pt x="181" y="62"/>
                    <a:pt x="181" y="69"/>
                  </a:cubicBezTo>
                  <a:cubicBezTo>
                    <a:pt x="181" y="78"/>
                    <a:pt x="173" y="86"/>
                    <a:pt x="164" y="90"/>
                  </a:cubicBezTo>
                  <a:cubicBezTo>
                    <a:pt x="155" y="93"/>
                    <a:pt x="145" y="94"/>
                    <a:pt x="136" y="95"/>
                  </a:cubicBezTo>
                  <a:cubicBezTo>
                    <a:pt x="90" y="102"/>
                    <a:pt x="54" y="128"/>
                    <a:pt x="10" y="148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4" name="Freeform 85">
              <a:extLst>
                <a:ext uri="{FF2B5EF4-FFF2-40B4-BE49-F238E27FC236}">
                  <a16:creationId xmlns:a16="http://schemas.microsoft.com/office/drawing/2014/main" id="{AA75600C-8DFC-4EF9-A555-CB7FDDEB5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9" y="2876"/>
              <a:ext cx="76" cy="86"/>
            </a:xfrm>
            <a:custGeom>
              <a:avLst/>
              <a:gdLst>
                <a:gd name="T0" fmla="*/ 19 w 32"/>
                <a:gd name="T1" fmla="*/ 32 h 36"/>
                <a:gd name="T2" fmla="*/ 28 w 32"/>
                <a:gd name="T3" fmla="*/ 34 h 36"/>
                <a:gd name="T4" fmla="*/ 32 w 32"/>
                <a:gd name="T5" fmla="*/ 24 h 36"/>
                <a:gd name="T6" fmla="*/ 27 w 32"/>
                <a:gd name="T7" fmla="*/ 15 h 36"/>
                <a:gd name="T8" fmla="*/ 14 w 32"/>
                <a:gd name="T9" fmla="*/ 0 h 36"/>
                <a:gd name="T10" fmla="*/ 0 w 32"/>
                <a:gd name="T11" fmla="*/ 13 h 36"/>
                <a:gd name="T12" fmla="*/ 19 w 32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6">
                  <a:moveTo>
                    <a:pt x="19" y="32"/>
                  </a:moveTo>
                  <a:cubicBezTo>
                    <a:pt x="21" y="35"/>
                    <a:pt x="25" y="36"/>
                    <a:pt x="28" y="34"/>
                  </a:cubicBezTo>
                  <a:cubicBezTo>
                    <a:pt x="31" y="32"/>
                    <a:pt x="32" y="28"/>
                    <a:pt x="32" y="24"/>
                  </a:cubicBezTo>
                  <a:cubicBezTo>
                    <a:pt x="31" y="21"/>
                    <a:pt x="29" y="18"/>
                    <a:pt x="27" y="15"/>
                  </a:cubicBezTo>
                  <a:cubicBezTo>
                    <a:pt x="23" y="10"/>
                    <a:pt x="19" y="5"/>
                    <a:pt x="14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5" name="Freeform 86">
              <a:extLst>
                <a:ext uri="{FF2B5EF4-FFF2-40B4-BE49-F238E27FC236}">
                  <a16:creationId xmlns:a16="http://schemas.microsoft.com/office/drawing/2014/main" id="{D26238CD-5CE2-4A89-B88E-980A0F2B6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2912"/>
              <a:ext cx="93" cy="16"/>
            </a:xfrm>
            <a:custGeom>
              <a:avLst/>
              <a:gdLst>
                <a:gd name="T0" fmla="*/ 39 w 39"/>
                <a:gd name="T1" fmla="*/ 1 h 7"/>
                <a:gd name="T2" fmla="*/ 19 w 39"/>
                <a:gd name="T3" fmla="*/ 3 h 7"/>
                <a:gd name="T4" fmla="*/ 0 w 39"/>
                <a:gd name="T5" fmla="*/ 7 h 7"/>
                <a:gd name="T6" fmla="*/ 6 w 39"/>
                <a:gd name="T7" fmla="*/ 5 h 7"/>
                <a:gd name="T8" fmla="*/ 19 w 39"/>
                <a:gd name="T9" fmla="*/ 1 h 7"/>
                <a:gd name="T10" fmla="*/ 33 w 39"/>
                <a:gd name="T11" fmla="*/ 0 h 7"/>
                <a:gd name="T12" fmla="*/ 39 w 39"/>
                <a:gd name="T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7">
                  <a:moveTo>
                    <a:pt x="39" y="1"/>
                  </a:moveTo>
                  <a:cubicBezTo>
                    <a:pt x="39" y="2"/>
                    <a:pt x="30" y="1"/>
                    <a:pt x="19" y="3"/>
                  </a:cubicBezTo>
                  <a:cubicBezTo>
                    <a:pt x="9" y="4"/>
                    <a:pt x="1" y="7"/>
                    <a:pt x="0" y="7"/>
                  </a:cubicBezTo>
                  <a:cubicBezTo>
                    <a:pt x="0" y="7"/>
                    <a:pt x="2" y="6"/>
                    <a:pt x="6" y="5"/>
                  </a:cubicBezTo>
                  <a:cubicBezTo>
                    <a:pt x="9" y="3"/>
                    <a:pt x="14" y="2"/>
                    <a:pt x="19" y="1"/>
                  </a:cubicBezTo>
                  <a:cubicBezTo>
                    <a:pt x="25" y="0"/>
                    <a:pt x="30" y="0"/>
                    <a:pt x="33" y="0"/>
                  </a:cubicBezTo>
                  <a:cubicBezTo>
                    <a:pt x="37" y="1"/>
                    <a:pt x="39" y="1"/>
                    <a:pt x="39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6" name="Freeform 87">
              <a:extLst>
                <a:ext uri="{FF2B5EF4-FFF2-40B4-BE49-F238E27FC236}">
                  <a16:creationId xmlns:a16="http://schemas.microsoft.com/office/drawing/2014/main" id="{863C6728-760B-4E5B-8660-ED156F833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976"/>
              <a:ext cx="79" cy="9"/>
            </a:xfrm>
            <a:custGeom>
              <a:avLst/>
              <a:gdLst>
                <a:gd name="T0" fmla="*/ 33 w 33"/>
                <a:gd name="T1" fmla="*/ 2 h 4"/>
                <a:gd name="T2" fmla="*/ 17 w 33"/>
                <a:gd name="T3" fmla="*/ 1 h 4"/>
                <a:gd name="T4" fmla="*/ 0 w 33"/>
                <a:gd name="T5" fmla="*/ 3 h 4"/>
                <a:gd name="T6" fmla="*/ 17 w 33"/>
                <a:gd name="T7" fmla="*/ 0 h 4"/>
                <a:gd name="T8" fmla="*/ 33 w 3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">
                  <a:moveTo>
                    <a:pt x="33" y="2"/>
                  </a:moveTo>
                  <a:cubicBezTo>
                    <a:pt x="33" y="3"/>
                    <a:pt x="26" y="1"/>
                    <a:pt x="17" y="1"/>
                  </a:cubicBezTo>
                  <a:cubicBezTo>
                    <a:pt x="8" y="2"/>
                    <a:pt x="0" y="4"/>
                    <a:pt x="0" y="3"/>
                  </a:cubicBezTo>
                  <a:cubicBezTo>
                    <a:pt x="0" y="3"/>
                    <a:pt x="7" y="0"/>
                    <a:pt x="17" y="0"/>
                  </a:cubicBezTo>
                  <a:cubicBezTo>
                    <a:pt x="26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7" name="Freeform 88">
              <a:extLst>
                <a:ext uri="{FF2B5EF4-FFF2-40B4-BE49-F238E27FC236}">
                  <a16:creationId xmlns:a16="http://schemas.microsoft.com/office/drawing/2014/main" id="{71148717-6051-4BB1-8582-957200E1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2879"/>
              <a:ext cx="16" cy="83"/>
            </a:xfrm>
            <a:custGeom>
              <a:avLst/>
              <a:gdLst>
                <a:gd name="T0" fmla="*/ 7 w 7"/>
                <a:gd name="T1" fmla="*/ 35 h 35"/>
                <a:gd name="T2" fmla="*/ 6 w 7"/>
                <a:gd name="T3" fmla="*/ 30 h 35"/>
                <a:gd name="T4" fmla="*/ 2 w 7"/>
                <a:gd name="T5" fmla="*/ 18 h 35"/>
                <a:gd name="T6" fmla="*/ 0 w 7"/>
                <a:gd name="T7" fmla="*/ 15 h 35"/>
                <a:gd name="T8" fmla="*/ 0 w 7"/>
                <a:gd name="T9" fmla="*/ 15 h 35"/>
                <a:gd name="T10" fmla="*/ 0 w 7"/>
                <a:gd name="T11" fmla="*/ 14 h 35"/>
                <a:gd name="T12" fmla="*/ 4 w 7"/>
                <a:gd name="T13" fmla="*/ 5 h 35"/>
                <a:gd name="T14" fmla="*/ 3 w 7"/>
                <a:gd name="T15" fmla="*/ 0 h 35"/>
                <a:gd name="T16" fmla="*/ 5 w 7"/>
                <a:gd name="T17" fmla="*/ 5 h 35"/>
                <a:gd name="T18" fmla="*/ 1 w 7"/>
                <a:gd name="T19" fmla="*/ 15 h 35"/>
                <a:gd name="T20" fmla="*/ 1 w 7"/>
                <a:gd name="T21" fmla="*/ 14 h 35"/>
                <a:gd name="T22" fmla="*/ 3 w 7"/>
                <a:gd name="T23" fmla="*/ 17 h 35"/>
                <a:gd name="T24" fmla="*/ 7 w 7"/>
                <a:gd name="T25" fmla="*/ 29 h 35"/>
                <a:gd name="T26" fmla="*/ 7 w 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35">
                  <a:moveTo>
                    <a:pt x="7" y="35"/>
                  </a:moveTo>
                  <a:cubicBezTo>
                    <a:pt x="6" y="35"/>
                    <a:pt x="7" y="33"/>
                    <a:pt x="6" y="30"/>
                  </a:cubicBezTo>
                  <a:cubicBezTo>
                    <a:pt x="6" y="26"/>
                    <a:pt x="5" y="22"/>
                    <a:pt x="2" y="18"/>
                  </a:cubicBezTo>
                  <a:cubicBezTo>
                    <a:pt x="1" y="17"/>
                    <a:pt x="1" y="16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1"/>
                    <a:pt x="4" y="7"/>
                    <a:pt x="4" y="5"/>
                  </a:cubicBezTo>
                  <a:cubicBezTo>
                    <a:pt x="4" y="2"/>
                    <a:pt x="3" y="0"/>
                    <a:pt x="3" y="0"/>
                  </a:cubicBezTo>
                  <a:cubicBezTo>
                    <a:pt x="3" y="0"/>
                    <a:pt x="4" y="2"/>
                    <a:pt x="5" y="5"/>
                  </a:cubicBezTo>
                  <a:cubicBezTo>
                    <a:pt x="5" y="7"/>
                    <a:pt x="4" y="12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5"/>
                    <a:pt x="2" y="16"/>
                    <a:pt x="3" y="17"/>
                  </a:cubicBezTo>
                  <a:cubicBezTo>
                    <a:pt x="6" y="21"/>
                    <a:pt x="7" y="26"/>
                    <a:pt x="7" y="29"/>
                  </a:cubicBezTo>
                  <a:cubicBezTo>
                    <a:pt x="7" y="33"/>
                    <a:pt x="7" y="35"/>
                    <a:pt x="7" y="3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8" name="Freeform 89">
              <a:extLst>
                <a:ext uri="{FF2B5EF4-FFF2-40B4-BE49-F238E27FC236}">
                  <a16:creationId xmlns:a16="http://schemas.microsoft.com/office/drawing/2014/main" id="{4C84C405-CD4B-4ACD-B6AF-75F88E354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2" y="2947"/>
              <a:ext cx="66" cy="86"/>
            </a:xfrm>
            <a:custGeom>
              <a:avLst/>
              <a:gdLst>
                <a:gd name="T0" fmla="*/ 1 w 28"/>
                <a:gd name="T1" fmla="*/ 0 h 36"/>
                <a:gd name="T2" fmla="*/ 25 w 28"/>
                <a:gd name="T3" fmla="*/ 22 h 36"/>
                <a:gd name="T4" fmla="*/ 28 w 28"/>
                <a:gd name="T5" fmla="*/ 36 h 36"/>
                <a:gd name="T6" fmla="*/ 6 w 28"/>
                <a:gd name="T7" fmla="*/ 31 h 36"/>
                <a:gd name="T8" fmla="*/ 1 w 28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6">
                  <a:moveTo>
                    <a:pt x="1" y="0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" y="20"/>
                    <a:pt x="0" y="9"/>
                    <a:pt x="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9" name="Freeform 90">
              <a:extLst>
                <a:ext uri="{FF2B5EF4-FFF2-40B4-BE49-F238E27FC236}">
                  <a16:creationId xmlns:a16="http://schemas.microsoft.com/office/drawing/2014/main" id="{B4AE3CB5-F1B9-4961-9973-5C7A40A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00"/>
              <a:ext cx="688" cy="197"/>
            </a:xfrm>
            <a:custGeom>
              <a:avLst/>
              <a:gdLst>
                <a:gd name="T0" fmla="*/ 127 w 290"/>
                <a:gd name="T1" fmla="*/ 6 h 83"/>
                <a:gd name="T2" fmla="*/ 0 w 290"/>
                <a:gd name="T3" fmla="*/ 70 h 83"/>
                <a:gd name="T4" fmla="*/ 0 w 290"/>
                <a:gd name="T5" fmla="*/ 83 h 83"/>
                <a:gd name="T6" fmla="*/ 129 w 290"/>
                <a:gd name="T7" fmla="*/ 16 h 83"/>
                <a:gd name="T8" fmla="*/ 290 w 290"/>
                <a:gd name="T9" fmla="*/ 10 h 83"/>
                <a:gd name="T10" fmla="*/ 290 w 290"/>
                <a:gd name="T11" fmla="*/ 0 h 83"/>
                <a:gd name="T12" fmla="*/ 127 w 290"/>
                <a:gd name="T13" fmla="*/ 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83">
                  <a:moveTo>
                    <a:pt x="127" y="6"/>
                  </a:moveTo>
                  <a:cubicBezTo>
                    <a:pt x="127" y="7"/>
                    <a:pt x="0" y="70"/>
                    <a:pt x="0" y="7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290" y="10"/>
                    <a:pt x="290" y="10"/>
                    <a:pt x="290" y="10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127" y="6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0" name="Freeform 91">
              <a:extLst>
                <a:ext uri="{FF2B5EF4-FFF2-40B4-BE49-F238E27FC236}">
                  <a16:creationId xmlns:a16="http://schemas.microsoft.com/office/drawing/2014/main" id="{5D6F1019-3F0A-4B23-BA1F-11C1B0736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23"/>
              <a:ext cx="688" cy="179"/>
            </a:xfrm>
            <a:custGeom>
              <a:avLst/>
              <a:gdLst>
                <a:gd name="T0" fmla="*/ 0 w 290"/>
                <a:gd name="T1" fmla="*/ 75 h 75"/>
                <a:gd name="T2" fmla="*/ 140 w 290"/>
                <a:gd name="T3" fmla="*/ 62 h 75"/>
                <a:gd name="T4" fmla="*/ 290 w 290"/>
                <a:gd name="T5" fmla="*/ 0 h 75"/>
                <a:gd name="T6" fmla="*/ 129 w 290"/>
                <a:gd name="T7" fmla="*/ 6 h 75"/>
                <a:gd name="T8" fmla="*/ 0 w 290"/>
                <a:gd name="T9" fmla="*/ 73 h 75"/>
                <a:gd name="T10" fmla="*/ 0 w 290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0" h="75">
                  <a:moveTo>
                    <a:pt x="0" y="75"/>
                  </a:moveTo>
                  <a:cubicBezTo>
                    <a:pt x="1" y="74"/>
                    <a:pt x="140" y="62"/>
                    <a:pt x="140" y="62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0" y="73"/>
                    <a:pt x="0" y="73"/>
                    <a:pt x="0" y="73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1" name="Freeform 92">
              <a:extLst>
                <a:ext uri="{FF2B5EF4-FFF2-40B4-BE49-F238E27FC236}">
                  <a16:creationId xmlns:a16="http://schemas.microsoft.com/office/drawing/2014/main" id="{549F44CB-99A8-450F-A07B-90F42C7B0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0" y="3047"/>
              <a:ext cx="290" cy="150"/>
            </a:xfrm>
            <a:custGeom>
              <a:avLst/>
              <a:gdLst>
                <a:gd name="T0" fmla="*/ 1 w 122"/>
                <a:gd name="T1" fmla="*/ 32 h 63"/>
                <a:gd name="T2" fmla="*/ 14 w 122"/>
                <a:gd name="T3" fmla="*/ 16 h 63"/>
                <a:gd name="T4" fmla="*/ 36 w 122"/>
                <a:gd name="T5" fmla="*/ 14 h 63"/>
                <a:gd name="T6" fmla="*/ 49 w 122"/>
                <a:gd name="T7" fmla="*/ 9 h 63"/>
                <a:gd name="T8" fmla="*/ 119 w 122"/>
                <a:gd name="T9" fmla="*/ 0 h 63"/>
                <a:gd name="T10" fmla="*/ 114 w 122"/>
                <a:gd name="T11" fmla="*/ 18 h 63"/>
                <a:gd name="T12" fmla="*/ 113 w 122"/>
                <a:gd name="T13" fmla="*/ 36 h 63"/>
                <a:gd name="T14" fmla="*/ 103 w 122"/>
                <a:gd name="T15" fmla="*/ 51 h 63"/>
                <a:gd name="T16" fmla="*/ 92 w 122"/>
                <a:gd name="T17" fmla="*/ 61 h 63"/>
                <a:gd name="T18" fmla="*/ 77 w 122"/>
                <a:gd name="T19" fmla="*/ 63 h 63"/>
                <a:gd name="T20" fmla="*/ 31 w 122"/>
                <a:gd name="T21" fmla="*/ 54 h 63"/>
                <a:gd name="T22" fmla="*/ 1 w 122"/>
                <a:gd name="T23" fmla="*/ 32 h 63"/>
                <a:gd name="T24" fmla="*/ 4 w 122"/>
                <a:gd name="T25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63">
                  <a:moveTo>
                    <a:pt x="1" y="32"/>
                  </a:moveTo>
                  <a:cubicBezTo>
                    <a:pt x="0" y="25"/>
                    <a:pt x="7" y="18"/>
                    <a:pt x="14" y="16"/>
                  </a:cubicBezTo>
                  <a:cubicBezTo>
                    <a:pt x="21" y="14"/>
                    <a:pt x="29" y="15"/>
                    <a:pt x="36" y="14"/>
                  </a:cubicBezTo>
                  <a:cubicBezTo>
                    <a:pt x="41" y="13"/>
                    <a:pt x="45" y="10"/>
                    <a:pt x="49" y="9"/>
                  </a:cubicBezTo>
                  <a:cubicBezTo>
                    <a:pt x="71" y="0"/>
                    <a:pt x="96" y="0"/>
                    <a:pt x="119" y="0"/>
                  </a:cubicBezTo>
                  <a:cubicBezTo>
                    <a:pt x="122" y="6"/>
                    <a:pt x="120" y="14"/>
                    <a:pt x="114" y="18"/>
                  </a:cubicBezTo>
                  <a:cubicBezTo>
                    <a:pt x="116" y="24"/>
                    <a:pt x="116" y="30"/>
                    <a:pt x="113" y="36"/>
                  </a:cubicBezTo>
                  <a:cubicBezTo>
                    <a:pt x="111" y="41"/>
                    <a:pt x="107" y="46"/>
                    <a:pt x="103" y="51"/>
                  </a:cubicBezTo>
                  <a:cubicBezTo>
                    <a:pt x="100" y="55"/>
                    <a:pt x="96" y="59"/>
                    <a:pt x="92" y="61"/>
                  </a:cubicBezTo>
                  <a:cubicBezTo>
                    <a:pt x="87" y="63"/>
                    <a:pt x="82" y="63"/>
                    <a:pt x="77" y="63"/>
                  </a:cubicBezTo>
                  <a:cubicBezTo>
                    <a:pt x="61" y="63"/>
                    <a:pt x="44" y="63"/>
                    <a:pt x="31" y="54"/>
                  </a:cubicBezTo>
                  <a:cubicBezTo>
                    <a:pt x="20" y="47"/>
                    <a:pt x="13" y="36"/>
                    <a:pt x="1" y="32"/>
                  </a:cubicBezTo>
                  <a:cubicBezTo>
                    <a:pt x="2" y="32"/>
                    <a:pt x="3" y="32"/>
                    <a:pt x="4" y="32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2" name="Freeform 93">
              <a:extLst>
                <a:ext uri="{FF2B5EF4-FFF2-40B4-BE49-F238E27FC236}">
                  <a16:creationId xmlns:a16="http://schemas.microsoft.com/office/drawing/2014/main" id="{5A26B954-F441-4CDE-B231-1055EC994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071"/>
              <a:ext cx="159" cy="33"/>
            </a:xfrm>
            <a:custGeom>
              <a:avLst/>
              <a:gdLst>
                <a:gd name="T0" fmla="*/ 67 w 67"/>
                <a:gd name="T1" fmla="*/ 13 h 14"/>
                <a:gd name="T2" fmla="*/ 64 w 67"/>
                <a:gd name="T3" fmla="*/ 13 h 14"/>
                <a:gd name="T4" fmla="*/ 56 w 67"/>
                <a:gd name="T5" fmla="*/ 14 h 14"/>
                <a:gd name="T6" fmla="*/ 28 w 67"/>
                <a:gd name="T7" fmla="*/ 14 h 14"/>
                <a:gd name="T8" fmla="*/ 13 w 67"/>
                <a:gd name="T9" fmla="*/ 14 h 14"/>
                <a:gd name="T10" fmla="*/ 7 w 67"/>
                <a:gd name="T11" fmla="*/ 13 h 14"/>
                <a:gd name="T12" fmla="*/ 2 w 67"/>
                <a:gd name="T13" fmla="*/ 9 h 14"/>
                <a:gd name="T14" fmla="*/ 1 w 67"/>
                <a:gd name="T15" fmla="*/ 5 h 14"/>
                <a:gd name="T16" fmla="*/ 2 w 67"/>
                <a:gd name="T17" fmla="*/ 1 h 14"/>
                <a:gd name="T18" fmla="*/ 5 w 67"/>
                <a:gd name="T19" fmla="*/ 0 h 14"/>
                <a:gd name="T20" fmla="*/ 3 w 67"/>
                <a:gd name="T21" fmla="*/ 2 h 14"/>
                <a:gd name="T22" fmla="*/ 3 w 67"/>
                <a:gd name="T23" fmla="*/ 9 h 14"/>
                <a:gd name="T24" fmla="*/ 7 w 67"/>
                <a:gd name="T25" fmla="*/ 12 h 14"/>
                <a:gd name="T26" fmla="*/ 13 w 67"/>
                <a:gd name="T27" fmla="*/ 13 h 14"/>
                <a:gd name="T28" fmla="*/ 28 w 67"/>
                <a:gd name="T29" fmla="*/ 12 h 14"/>
                <a:gd name="T30" fmla="*/ 56 w 67"/>
                <a:gd name="T31" fmla="*/ 13 h 14"/>
                <a:gd name="T32" fmla="*/ 64 w 67"/>
                <a:gd name="T33" fmla="*/ 13 h 14"/>
                <a:gd name="T34" fmla="*/ 67 w 67"/>
                <a:gd name="T3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14">
                  <a:moveTo>
                    <a:pt x="67" y="13"/>
                  </a:moveTo>
                  <a:cubicBezTo>
                    <a:pt x="67" y="13"/>
                    <a:pt x="66" y="13"/>
                    <a:pt x="64" y="13"/>
                  </a:cubicBezTo>
                  <a:cubicBezTo>
                    <a:pt x="62" y="13"/>
                    <a:pt x="59" y="13"/>
                    <a:pt x="56" y="14"/>
                  </a:cubicBezTo>
                  <a:cubicBezTo>
                    <a:pt x="49" y="14"/>
                    <a:pt x="39" y="14"/>
                    <a:pt x="28" y="14"/>
                  </a:cubicBezTo>
                  <a:cubicBezTo>
                    <a:pt x="23" y="14"/>
                    <a:pt x="18" y="14"/>
                    <a:pt x="13" y="14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2"/>
                    <a:pt x="3" y="11"/>
                    <a:pt x="2" y="9"/>
                  </a:cubicBez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4" y="0"/>
                    <a:pt x="3" y="2"/>
                  </a:cubicBezTo>
                  <a:cubicBezTo>
                    <a:pt x="1" y="3"/>
                    <a:pt x="0" y="6"/>
                    <a:pt x="3" y="9"/>
                  </a:cubicBezTo>
                  <a:cubicBezTo>
                    <a:pt x="4" y="10"/>
                    <a:pt x="5" y="11"/>
                    <a:pt x="7" y="12"/>
                  </a:cubicBezTo>
                  <a:cubicBezTo>
                    <a:pt x="9" y="12"/>
                    <a:pt x="11" y="13"/>
                    <a:pt x="13" y="13"/>
                  </a:cubicBezTo>
                  <a:cubicBezTo>
                    <a:pt x="18" y="13"/>
                    <a:pt x="23" y="13"/>
                    <a:pt x="28" y="12"/>
                  </a:cubicBezTo>
                  <a:cubicBezTo>
                    <a:pt x="39" y="12"/>
                    <a:pt x="49" y="12"/>
                    <a:pt x="56" y="13"/>
                  </a:cubicBezTo>
                  <a:cubicBezTo>
                    <a:pt x="59" y="13"/>
                    <a:pt x="62" y="13"/>
                    <a:pt x="64" y="13"/>
                  </a:cubicBezTo>
                  <a:cubicBezTo>
                    <a:pt x="66" y="13"/>
                    <a:pt x="67" y="13"/>
                    <a:pt x="67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3" name="Freeform 94">
              <a:extLst>
                <a:ext uri="{FF2B5EF4-FFF2-40B4-BE49-F238E27FC236}">
                  <a16:creationId xmlns:a16="http://schemas.microsoft.com/office/drawing/2014/main" id="{4C7011E2-3852-4C02-BDD3-28D48E13A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" y="3118"/>
              <a:ext cx="232" cy="22"/>
            </a:xfrm>
            <a:custGeom>
              <a:avLst/>
              <a:gdLst>
                <a:gd name="T0" fmla="*/ 98 w 98"/>
                <a:gd name="T1" fmla="*/ 6 h 9"/>
                <a:gd name="T2" fmla="*/ 94 w 98"/>
                <a:gd name="T3" fmla="*/ 7 h 9"/>
                <a:gd name="T4" fmla="*/ 84 w 98"/>
                <a:gd name="T5" fmla="*/ 8 h 9"/>
                <a:gd name="T6" fmla="*/ 68 w 98"/>
                <a:gd name="T7" fmla="*/ 9 h 9"/>
                <a:gd name="T8" fmla="*/ 49 w 98"/>
                <a:gd name="T9" fmla="*/ 6 h 9"/>
                <a:gd name="T10" fmla="*/ 14 w 98"/>
                <a:gd name="T11" fmla="*/ 1 h 9"/>
                <a:gd name="T12" fmla="*/ 4 w 98"/>
                <a:gd name="T13" fmla="*/ 2 h 9"/>
                <a:gd name="T14" fmla="*/ 0 w 98"/>
                <a:gd name="T15" fmla="*/ 2 h 9"/>
                <a:gd name="T16" fmla="*/ 4 w 98"/>
                <a:gd name="T17" fmla="*/ 1 h 9"/>
                <a:gd name="T18" fmla="*/ 14 w 98"/>
                <a:gd name="T19" fmla="*/ 0 h 9"/>
                <a:gd name="T20" fmla="*/ 49 w 98"/>
                <a:gd name="T21" fmla="*/ 4 h 9"/>
                <a:gd name="T22" fmla="*/ 68 w 98"/>
                <a:gd name="T23" fmla="*/ 7 h 9"/>
                <a:gd name="T24" fmla="*/ 84 w 98"/>
                <a:gd name="T25" fmla="*/ 7 h 9"/>
                <a:gd name="T26" fmla="*/ 94 w 98"/>
                <a:gd name="T27" fmla="*/ 7 h 9"/>
                <a:gd name="T28" fmla="*/ 98 w 98"/>
                <a:gd name="T2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">
                  <a:moveTo>
                    <a:pt x="98" y="6"/>
                  </a:moveTo>
                  <a:cubicBezTo>
                    <a:pt x="98" y="6"/>
                    <a:pt x="97" y="7"/>
                    <a:pt x="94" y="7"/>
                  </a:cubicBezTo>
                  <a:cubicBezTo>
                    <a:pt x="92" y="7"/>
                    <a:pt x="88" y="8"/>
                    <a:pt x="84" y="8"/>
                  </a:cubicBezTo>
                  <a:cubicBezTo>
                    <a:pt x="79" y="9"/>
                    <a:pt x="74" y="9"/>
                    <a:pt x="68" y="9"/>
                  </a:cubicBezTo>
                  <a:cubicBezTo>
                    <a:pt x="62" y="8"/>
                    <a:pt x="56" y="7"/>
                    <a:pt x="49" y="6"/>
                  </a:cubicBezTo>
                  <a:cubicBezTo>
                    <a:pt x="36" y="2"/>
                    <a:pt x="23" y="1"/>
                    <a:pt x="14" y="1"/>
                  </a:cubicBezTo>
                  <a:cubicBezTo>
                    <a:pt x="10" y="1"/>
                    <a:pt x="6" y="1"/>
                    <a:pt x="4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1"/>
                    <a:pt x="10" y="0"/>
                    <a:pt x="14" y="0"/>
                  </a:cubicBezTo>
                  <a:cubicBezTo>
                    <a:pt x="23" y="0"/>
                    <a:pt x="36" y="1"/>
                    <a:pt x="49" y="4"/>
                  </a:cubicBezTo>
                  <a:cubicBezTo>
                    <a:pt x="56" y="6"/>
                    <a:pt x="62" y="7"/>
                    <a:pt x="68" y="7"/>
                  </a:cubicBezTo>
                  <a:cubicBezTo>
                    <a:pt x="74" y="8"/>
                    <a:pt x="79" y="8"/>
                    <a:pt x="84" y="7"/>
                  </a:cubicBezTo>
                  <a:cubicBezTo>
                    <a:pt x="88" y="7"/>
                    <a:pt x="92" y="7"/>
                    <a:pt x="94" y="7"/>
                  </a:cubicBezTo>
                  <a:cubicBezTo>
                    <a:pt x="97" y="6"/>
                    <a:pt x="98" y="6"/>
                    <a:pt x="98" y="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4" name="Freeform 95">
              <a:extLst>
                <a:ext uri="{FF2B5EF4-FFF2-40B4-BE49-F238E27FC236}">
                  <a16:creationId xmlns:a16="http://schemas.microsoft.com/office/drawing/2014/main" id="{61D3C201-2B2A-43A2-9A16-8FB00999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" y="3137"/>
              <a:ext cx="178" cy="36"/>
            </a:xfrm>
            <a:custGeom>
              <a:avLst/>
              <a:gdLst>
                <a:gd name="T0" fmla="*/ 75 w 75"/>
                <a:gd name="T1" fmla="*/ 13 h 15"/>
                <a:gd name="T2" fmla="*/ 72 w 75"/>
                <a:gd name="T3" fmla="*/ 13 h 15"/>
                <a:gd name="T4" fmla="*/ 64 w 75"/>
                <a:gd name="T5" fmla="*/ 14 h 15"/>
                <a:gd name="T6" fmla="*/ 36 w 75"/>
                <a:gd name="T7" fmla="*/ 13 h 15"/>
                <a:gd name="T8" fmla="*/ 11 w 75"/>
                <a:gd name="T9" fmla="*/ 3 h 15"/>
                <a:gd name="T10" fmla="*/ 1 w 75"/>
                <a:gd name="T11" fmla="*/ 0 h 15"/>
                <a:gd name="T12" fmla="*/ 4 w 75"/>
                <a:gd name="T13" fmla="*/ 0 h 15"/>
                <a:gd name="T14" fmla="*/ 12 w 75"/>
                <a:gd name="T15" fmla="*/ 2 h 15"/>
                <a:gd name="T16" fmla="*/ 37 w 75"/>
                <a:gd name="T17" fmla="*/ 12 h 15"/>
                <a:gd name="T18" fmla="*/ 64 w 75"/>
                <a:gd name="T19" fmla="*/ 13 h 15"/>
                <a:gd name="T20" fmla="*/ 72 w 75"/>
                <a:gd name="T21" fmla="*/ 13 h 15"/>
                <a:gd name="T22" fmla="*/ 75 w 75"/>
                <a:gd name="T23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5">
                  <a:moveTo>
                    <a:pt x="75" y="13"/>
                  </a:moveTo>
                  <a:cubicBezTo>
                    <a:pt x="75" y="13"/>
                    <a:pt x="74" y="13"/>
                    <a:pt x="72" y="13"/>
                  </a:cubicBezTo>
                  <a:cubicBezTo>
                    <a:pt x="70" y="13"/>
                    <a:pt x="67" y="14"/>
                    <a:pt x="64" y="14"/>
                  </a:cubicBezTo>
                  <a:cubicBezTo>
                    <a:pt x="57" y="15"/>
                    <a:pt x="47" y="15"/>
                    <a:pt x="36" y="13"/>
                  </a:cubicBezTo>
                  <a:cubicBezTo>
                    <a:pt x="26" y="11"/>
                    <a:pt x="18" y="6"/>
                    <a:pt x="11" y="3"/>
                  </a:cubicBezTo>
                  <a:cubicBezTo>
                    <a:pt x="5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8" y="1"/>
                    <a:pt x="12" y="2"/>
                  </a:cubicBezTo>
                  <a:cubicBezTo>
                    <a:pt x="18" y="5"/>
                    <a:pt x="26" y="10"/>
                    <a:pt x="37" y="12"/>
                  </a:cubicBezTo>
                  <a:cubicBezTo>
                    <a:pt x="47" y="14"/>
                    <a:pt x="57" y="13"/>
                    <a:pt x="64" y="13"/>
                  </a:cubicBezTo>
                  <a:cubicBezTo>
                    <a:pt x="67" y="13"/>
                    <a:pt x="70" y="13"/>
                    <a:pt x="72" y="13"/>
                  </a:cubicBezTo>
                  <a:cubicBezTo>
                    <a:pt x="74" y="12"/>
                    <a:pt x="75" y="12"/>
                    <a:pt x="75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5" name="Freeform 96">
              <a:extLst>
                <a:ext uri="{FF2B5EF4-FFF2-40B4-BE49-F238E27FC236}">
                  <a16:creationId xmlns:a16="http://schemas.microsoft.com/office/drawing/2014/main" id="{DB8C3C29-B959-4331-8C68-05AC42318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3270"/>
              <a:ext cx="639" cy="114"/>
            </a:xfrm>
            <a:custGeom>
              <a:avLst/>
              <a:gdLst>
                <a:gd name="T0" fmla="*/ 269 w 269"/>
                <a:gd name="T1" fmla="*/ 20 h 48"/>
                <a:gd name="T2" fmla="*/ 265 w 269"/>
                <a:gd name="T3" fmla="*/ 19 h 48"/>
                <a:gd name="T4" fmla="*/ 256 w 269"/>
                <a:gd name="T5" fmla="*/ 16 h 48"/>
                <a:gd name="T6" fmla="*/ 220 w 269"/>
                <a:gd name="T7" fmla="*/ 11 h 48"/>
                <a:gd name="T8" fmla="*/ 166 w 269"/>
                <a:gd name="T9" fmla="*/ 11 h 48"/>
                <a:gd name="T10" fmla="*/ 135 w 269"/>
                <a:gd name="T11" fmla="*/ 18 h 48"/>
                <a:gd name="T12" fmla="*/ 122 w 269"/>
                <a:gd name="T13" fmla="*/ 27 h 48"/>
                <a:gd name="T14" fmla="*/ 118 w 269"/>
                <a:gd name="T15" fmla="*/ 34 h 48"/>
                <a:gd name="T16" fmla="*/ 118 w 269"/>
                <a:gd name="T17" fmla="*/ 42 h 48"/>
                <a:gd name="T18" fmla="*/ 124 w 269"/>
                <a:gd name="T19" fmla="*/ 46 h 48"/>
                <a:gd name="T20" fmla="*/ 130 w 269"/>
                <a:gd name="T21" fmla="*/ 41 h 48"/>
                <a:gd name="T22" fmla="*/ 131 w 269"/>
                <a:gd name="T23" fmla="*/ 34 h 48"/>
                <a:gd name="T24" fmla="*/ 127 w 269"/>
                <a:gd name="T25" fmla="*/ 27 h 48"/>
                <a:gd name="T26" fmla="*/ 102 w 269"/>
                <a:gd name="T27" fmla="*/ 9 h 48"/>
                <a:gd name="T28" fmla="*/ 49 w 269"/>
                <a:gd name="T29" fmla="*/ 3 h 48"/>
                <a:gd name="T30" fmla="*/ 13 w 269"/>
                <a:gd name="T31" fmla="*/ 10 h 48"/>
                <a:gd name="T32" fmla="*/ 3 w 269"/>
                <a:gd name="T33" fmla="*/ 12 h 48"/>
                <a:gd name="T34" fmla="*/ 0 w 269"/>
                <a:gd name="T35" fmla="*/ 12 h 48"/>
                <a:gd name="T36" fmla="*/ 3 w 269"/>
                <a:gd name="T37" fmla="*/ 11 h 48"/>
                <a:gd name="T38" fmla="*/ 13 w 269"/>
                <a:gd name="T39" fmla="*/ 9 h 48"/>
                <a:gd name="T40" fmla="*/ 49 w 269"/>
                <a:gd name="T41" fmla="*/ 2 h 48"/>
                <a:gd name="T42" fmla="*/ 102 w 269"/>
                <a:gd name="T43" fmla="*/ 8 h 48"/>
                <a:gd name="T44" fmla="*/ 129 w 269"/>
                <a:gd name="T45" fmla="*/ 25 h 48"/>
                <a:gd name="T46" fmla="*/ 133 w 269"/>
                <a:gd name="T47" fmla="*/ 33 h 48"/>
                <a:gd name="T48" fmla="*/ 132 w 269"/>
                <a:gd name="T49" fmla="*/ 42 h 48"/>
                <a:gd name="T50" fmla="*/ 125 w 269"/>
                <a:gd name="T51" fmla="*/ 48 h 48"/>
                <a:gd name="T52" fmla="*/ 117 w 269"/>
                <a:gd name="T53" fmla="*/ 43 h 48"/>
                <a:gd name="T54" fmla="*/ 121 w 269"/>
                <a:gd name="T55" fmla="*/ 26 h 48"/>
                <a:gd name="T56" fmla="*/ 135 w 269"/>
                <a:gd name="T57" fmla="*/ 16 h 48"/>
                <a:gd name="T58" fmla="*/ 166 w 269"/>
                <a:gd name="T59" fmla="*/ 9 h 48"/>
                <a:gd name="T60" fmla="*/ 220 w 269"/>
                <a:gd name="T61" fmla="*/ 9 h 48"/>
                <a:gd name="T62" fmla="*/ 256 w 269"/>
                <a:gd name="T63" fmla="*/ 16 h 48"/>
                <a:gd name="T64" fmla="*/ 265 w 269"/>
                <a:gd name="T65" fmla="*/ 18 h 48"/>
                <a:gd name="T66" fmla="*/ 269 w 269"/>
                <a:gd name="T67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9" h="48">
                  <a:moveTo>
                    <a:pt x="269" y="20"/>
                  </a:moveTo>
                  <a:cubicBezTo>
                    <a:pt x="269" y="20"/>
                    <a:pt x="267" y="19"/>
                    <a:pt x="265" y="19"/>
                  </a:cubicBezTo>
                  <a:cubicBezTo>
                    <a:pt x="263" y="18"/>
                    <a:pt x="260" y="17"/>
                    <a:pt x="256" y="16"/>
                  </a:cubicBezTo>
                  <a:cubicBezTo>
                    <a:pt x="247" y="14"/>
                    <a:pt x="235" y="12"/>
                    <a:pt x="220" y="11"/>
                  </a:cubicBezTo>
                  <a:cubicBezTo>
                    <a:pt x="205" y="9"/>
                    <a:pt x="186" y="9"/>
                    <a:pt x="166" y="11"/>
                  </a:cubicBezTo>
                  <a:cubicBezTo>
                    <a:pt x="156" y="12"/>
                    <a:pt x="145" y="14"/>
                    <a:pt x="135" y="18"/>
                  </a:cubicBezTo>
                  <a:cubicBezTo>
                    <a:pt x="130" y="20"/>
                    <a:pt x="126" y="23"/>
                    <a:pt x="122" y="27"/>
                  </a:cubicBezTo>
                  <a:cubicBezTo>
                    <a:pt x="120" y="30"/>
                    <a:pt x="119" y="32"/>
                    <a:pt x="118" y="34"/>
                  </a:cubicBezTo>
                  <a:cubicBezTo>
                    <a:pt x="117" y="37"/>
                    <a:pt x="117" y="40"/>
                    <a:pt x="118" y="42"/>
                  </a:cubicBezTo>
                  <a:cubicBezTo>
                    <a:pt x="119" y="45"/>
                    <a:pt x="122" y="46"/>
                    <a:pt x="124" y="46"/>
                  </a:cubicBezTo>
                  <a:cubicBezTo>
                    <a:pt x="127" y="45"/>
                    <a:pt x="129" y="43"/>
                    <a:pt x="130" y="41"/>
                  </a:cubicBezTo>
                  <a:cubicBezTo>
                    <a:pt x="132" y="39"/>
                    <a:pt x="132" y="36"/>
                    <a:pt x="131" y="34"/>
                  </a:cubicBezTo>
                  <a:cubicBezTo>
                    <a:pt x="131" y="31"/>
                    <a:pt x="129" y="29"/>
                    <a:pt x="127" y="27"/>
                  </a:cubicBezTo>
                  <a:cubicBezTo>
                    <a:pt x="120" y="19"/>
                    <a:pt x="111" y="13"/>
                    <a:pt x="102" y="9"/>
                  </a:cubicBezTo>
                  <a:cubicBezTo>
                    <a:pt x="83" y="2"/>
                    <a:pt x="64" y="2"/>
                    <a:pt x="49" y="3"/>
                  </a:cubicBezTo>
                  <a:cubicBezTo>
                    <a:pt x="34" y="5"/>
                    <a:pt x="22" y="8"/>
                    <a:pt x="13" y="10"/>
                  </a:cubicBezTo>
                  <a:cubicBezTo>
                    <a:pt x="9" y="10"/>
                    <a:pt x="6" y="11"/>
                    <a:pt x="3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1" y="12"/>
                    <a:pt x="3" y="11"/>
                  </a:cubicBezTo>
                  <a:cubicBezTo>
                    <a:pt x="6" y="11"/>
                    <a:pt x="9" y="10"/>
                    <a:pt x="13" y="9"/>
                  </a:cubicBezTo>
                  <a:cubicBezTo>
                    <a:pt x="21" y="7"/>
                    <a:pt x="33" y="4"/>
                    <a:pt x="49" y="2"/>
                  </a:cubicBezTo>
                  <a:cubicBezTo>
                    <a:pt x="64" y="0"/>
                    <a:pt x="83" y="0"/>
                    <a:pt x="102" y="8"/>
                  </a:cubicBezTo>
                  <a:cubicBezTo>
                    <a:pt x="112" y="11"/>
                    <a:pt x="121" y="17"/>
                    <a:pt x="129" y="25"/>
                  </a:cubicBezTo>
                  <a:cubicBezTo>
                    <a:pt x="131" y="28"/>
                    <a:pt x="132" y="30"/>
                    <a:pt x="133" y="33"/>
                  </a:cubicBezTo>
                  <a:cubicBezTo>
                    <a:pt x="134" y="36"/>
                    <a:pt x="134" y="39"/>
                    <a:pt x="132" y="42"/>
                  </a:cubicBezTo>
                  <a:cubicBezTo>
                    <a:pt x="131" y="45"/>
                    <a:pt x="128" y="47"/>
                    <a:pt x="125" y="48"/>
                  </a:cubicBezTo>
                  <a:cubicBezTo>
                    <a:pt x="121" y="48"/>
                    <a:pt x="118" y="46"/>
                    <a:pt x="117" y="43"/>
                  </a:cubicBezTo>
                  <a:cubicBezTo>
                    <a:pt x="114" y="37"/>
                    <a:pt x="117" y="30"/>
                    <a:pt x="121" y="26"/>
                  </a:cubicBezTo>
                  <a:cubicBezTo>
                    <a:pt x="124" y="21"/>
                    <a:pt x="129" y="18"/>
                    <a:pt x="135" y="16"/>
                  </a:cubicBezTo>
                  <a:cubicBezTo>
                    <a:pt x="145" y="12"/>
                    <a:pt x="156" y="10"/>
                    <a:pt x="166" y="9"/>
                  </a:cubicBezTo>
                  <a:cubicBezTo>
                    <a:pt x="186" y="7"/>
                    <a:pt x="205" y="8"/>
                    <a:pt x="220" y="9"/>
                  </a:cubicBezTo>
                  <a:cubicBezTo>
                    <a:pt x="235" y="11"/>
                    <a:pt x="248" y="13"/>
                    <a:pt x="256" y="16"/>
                  </a:cubicBezTo>
                  <a:cubicBezTo>
                    <a:pt x="260" y="17"/>
                    <a:pt x="263" y="18"/>
                    <a:pt x="265" y="18"/>
                  </a:cubicBezTo>
                  <a:cubicBezTo>
                    <a:pt x="268" y="19"/>
                    <a:pt x="269" y="19"/>
                    <a:pt x="269" y="2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6" name="Freeform 97">
              <a:extLst>
                <a:ext uri="{FF2B5EF4-FFF2-40B4-BE49-F238E27FC236}">
                  <a16:creationId xmlns:a16="http://schemas.microsoft.com/office/drawing/2014/main" id="{925D01CC-A1C0-4965-A222-70D5C0CE5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748"/>
              <a:ext cx="487" cy="221"/>
            </a:xfrm>
            <a:custGeom>
              <a:avLst/>
              <a:gdLst>
                <a:gd name="T0" fmla="*/ 31 w 205"/>
                <a:gd name="T1" fmla="*/ 2 h 93"/>
                <a:gd name="T2" fmla="*/ 103 w 205"/>
                <a:gd name="T3" fmla="*/ 5 h 93"/>
                <a:gd name="T4" fmla="*/ 205 w 205"/>
                <a:gd name="T5" fmla="*/ 47 h 93"/>
                <a:gd name="T6" fmla="*/ 74 w 205"/>
                <a:gd name="T7" fmla="*/ 74 h 93"/>
                <a:gd name="T8" fmla="*/ 0 w 205"/>
                <a:gd name="T9" fmla="*/ 60 h 93"/>
                <a:gd name="T10" fmla="*/ 31 w 205"/>
                <a:gd name="T11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" h="93">
                  <a:moveTo>
                    <a:pt x="31" y="2"/>
                  </a:moveTo>
                  <a:cubicBezTo>
                    <a:pt x="31" y="2"/>
                    <a:pt x="69" y="10"/>
                    <a:pt x="103" y="5"/>
                  </a:cubicBezTo>
                  <a:cubicBezTo>
                    <a:pt x="134" y="0"/>
                    <a:pt x="205" y="5"/>
                    <a:pt x="205" y="47"/>
                  </a:cubicBezTo>
                  <a:cubicBezTo>
                    <a:pt x="205" y="93"/>
                    <a:pt x="111" y="82"/>
                    <a:pt x="74" y="74"/>
                  </a:cubicBezTo>
                  <a:cubicBezTo>
                    <a:pt x="37" y="67"/>
                    <a:pt x="0" y="60"/>
                    <a:pt x="0" y="60"/>
                  </a:cubicBezTo>
                  <a:cubicBezTo>
                    <a:pt x="31" y="2"/>
                    <a:pt x="31" y="2"/>
                    <a:pt x="31" y="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7" name="Freeform 98">
              <a:extLst>
                <a:ext uri="{FF2B5EF4-FFF2-40B4-BE49-F238E27FC236}">
                  <a16:creationId xmlns:a16="http://schemas.microsoft.com/office/drawing/2014/main" id="{8206BC7E-4697-45F3-83F4-E608C977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3814"/>
              <a:ext cx="22" cy="79"/>
            </a:xfrm>
            <a:custGeom>
              <a:avLst/>
              <a:gdLst>
                <a:gd name="T0" fmla="*/ 1 w 9"/>
                <a:gd name="T1" fmla="*/ 33 h 33"/>
                <a:gd name="T2" fmla="*/ 5 w 9"/>
                <a:gd name="T3" fmla="*/ 17 h 33"/>
                <a:gd name="T4" fmla="*/ 8 w 9"/>
                <a:gd name="T5" fmla="*/ 0 h 33"/>
                <a:gd name="T6" fmla="*/ 4 w 9"/>
                <a:gd name="T7" fmla="*/ 17 h 33"/>
                <a:gd name="T8" fmla="*/ 1 w 9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3">
                  <a:moveTo>
                    <a:pt x="1" y="33"/>
                  </a:moveTo>
                  <a:cubicBezTo>
                    <a:pt x="1" y="33"/>
                    <a:pt x="3" y="26"/>
                    <a:pt x="5" y="17"/>
                  </a:cubicBezTo>
                  <a:cubicBezTo>
                    <a:pt x="8" y="8"/>
                    <a:pt x="9" y="1"/>
                    <a:pt x="8" y="0"/>
                  </a:cubicBezTo>
                  <a:cubicBezTo>
                    <a:pt x="8" y="0"/>
                    <a:pt x="6" y="8"/>
                    <a:pt x="4" y="17"/>
                  </a:cubicBezTo>
                  <a:cubicBezTo>
                    <a:pt x="2" y="26"/>
                    <a:pt x="0" y="33"/>
                    <a:pt x="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8" name="Freeform 99">
              <a:extLst>
                <a:ext uri="{FF2B5EF4-FFF2-40B4-BE49-F238E27FC236}">
                  <a16:creationId xmlns:a16="http://schemas.microsoft.com/office/drawing/2014/main" id="{A04B7465-CA4D-41BF-9029-966BA2388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3" y="3814"/>
              <a:ext cx="12" cy="81"/>
            </a:xfrm>
            <a:custGeom>
              <a:avLst/>
              <a:gdLst>
                <a:gd name="T0" fmla="*/ 0 w 5"/>
                <a:gd name="T1" fmla="*/ 34 h 34"/>
                <a:gd name="T2" fmla="*/ 3 w 5"/>
                <a:gd name="T3" fmla="*/ 17 h 34"/>
                <a:gd name="T4" fmla="*/ 5 w 5"/>
                <a:gd name="T5" fmla="*/ 0 h 34"/>
                <a:gd name="T6" fmla="*/ 1 w 5"/>
                <a:gd name="T7" fmla="*/ 17 h 34"/>
                <a:gd name="T8" fmla="*/ 0 w 5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cubicBezTo>
                    <a:pt x="1" y="34"/>
                    <a:pt x="2" y="27"/>
                    <a:pt x="3" y="17"/>
                  </a:cubicBezTo>
                  <a:cubicBezTo>
                    <a:pt x="4" y="8"/>
                    <a:pt x="5" y="0"/>
                    <a:pt x="5" y="0"/>
                  </a:cubicBezTo>
                  <a:cubicBezTo>
                    <a:pt x="4" y="0"/>
                    <a:pt x="3" y="8"/>
                    <a:pt x="1" y="17"/>
                  </a:cubicBezTo>
                  <a:cubicBezTo>
                    <a:pt x="0" y="26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9" name="Freeform 100">
              <a:extLst>
                <a:ext uri="{FF2B5EF4-FFF2-40B4-BE49-F238E27FC236}">
                  <a16:creationId xmlns:a16="http://schemas.microsoft.com/office/drawing/2014/main" id="{9B372141-10DD-428E-AE23-BD589443F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3814"/>
              <a:ext cx="12" cy="69"/>
            </a:xfrm>
            <a:custGeom>
              <a:avLst/>
              <a:gdLst>
                <a:gd name="T0" fmla="*/ 1 w 5"/>
                <a:gd name="T1" fmla="*/ 29 h 29"/>
                <a:gd name="T2" fmla="*/ 3 w 5"/>
                <a:gd name="T3" fmla="*/ 15 h 29"/>
                <a:gd name="T4" fmla="*/ 4 w 5"/>
                <a:gd name="T5" fmla="*/ 0 h 29"/>
                <a:gd name="T6" fmla="*/ 1 w 5"/>
                <a:gd name="T7" fmla="*/ 14 h 29"/>
                <a:gd name="T8" fmla="*/ 1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1" y="29"/>
                  </a:moveTo>
                  <a:cubicBezTo>
                    <a:pt x="1" y="29"/>
                    <a:pt x="2" y="23"/>
                    <a:pt x="3" y="15"/>
                  </a:cubicBezTo>
                  <a:cubicBezTo>
                    <a:pt x="4" y="6"/>
                    <a:pt x="5" y="0"/>
                    <a:pt x="4" y="0"/>
                  </a:cubicBezTo>
                  <a:cubicBezTo>
                    <a:pt x="4" y="0"/>
                    <a:pt x="2" y="6"/>
                    <a:pt x="1" y="14"/>
                  </a:cubicBezTo>
                  <a:cubicBezTo>
                    <a:pt x="0" y="22"/>
                    <a:pt x="0" y="29"/>
                    <a:pt x="1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0" name="Freeform 101">
              <a:extLst>
                <a:ext uri="{FF2B5EF4-FFF2-40B4-BE49-F238E27FC236}">
                  <a16:creationId xmlns:a16="http://schemas.microsoft.com/office/drawing/2014/main" id="{7588CEC9-3E57-42DF-8A17-E8F60C62F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" y="3810"/>
              <a:ext cx="16" cy="61"/>
            </a:xfrm>
            <a:custGeom>
              <a:avLst/>
              <a:gdLst>
                <a:gd name="T0" fmla="*/ 0 w 7"/>
                <a:gd name="T1" fmla="*/ 26 h 26"/>
                <a:gd name="T2" fmla="*/ 5 w 7"/>
                <a:gd name="T3" fmla="*/ 14 h 26"/>
                <a:gd name="T4" fmla="*/ 6 w 7"/>
                <a:gd name="T5" fmla="*/ 0 h 26"/>
                <a:gd name="T6" fmla="*/ 3 w 7"/>
                <a:gd name="T7" fmla="*/ 13 h 26"/>
                <a:gd name="T8" fmla="*/ 0 w 7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0" y="26"/>
                  </a:moveTo>
                  <a:cubicBezTo>
                    <a:pt x="0" y="26"/>
                    <a:pt x="3" y="21"/>
                    <a:pt x="5" y="14"/>
                  </a:cubicBezTo>
                  <a:cubicBezTo>
                    <a:pt x="7" y="6"/>
                    <a:pt x="7" y="0"/>
                    <a:pt x="6" y="0"/>
                  </a:cubicBezTo>
                  <a:cubicBezTo>
                    <a:pt x="6" y="0"/>
                    <a:pt x="5" y="6"/>
                    <a:pt x="3" y="13"/>
                  </a:cubicBezTo>
                  <a:cubicBezTo>
                    <a:pt x="1" y="20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1" name="Freeform 102">
              <a:extLst>
                <a:ext uri="{FF2B5EF4-FFF2-40B4-BE49-F238E27FC236}">
                  <a16:creationId xmlns:a16="http://schemas.microsoft.com/office/drawing/2014/main" id="{8E0896AC-DF80-44AF-8FBE-3AC87A79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" y="3762"/>
              <a:ext cx="62" cy="107"/>
            </a:xfrm>
            <a:custGeom>
              <a:avLst/>
              <a:gdLst>
                <a:gd name="T0" fmla="*/ 25 w 26"/>
                <a:gd name="T1" fmla="*/ 29 h 45"/>
                <a:gd name="T2" fmla="*/ 20 w 26"/>
                <a:gd name="T3" fmla="*/ 29 h 45"/>
                <a:gd name="T4" fmla="*/ 7 w 26"/>
                <a:gd name="T5" fmla="*/ 31 h 45"/>
                <a:gd name="T6" fmla="*/ 3 w 26"/>
                <a:gd name="T7" fmla="*/ 34 h 45"/>
                <a:gd name="T8" fmla="*/ 0 w 26"/>
                <a:gd name="T9" fmla="*/ 38 h 45"/>
                <a:gd name="T10" fmla="*/ 9 w 26"/>
                <a:gd name="T11" fmla="*/ 44 h 45"/>
                <a:gd name="T12" fmla="*/ 18 w 26"/>
                <a:gd name="T13" fmla="*/ 37 h 45"/>
                <a:gd name="T14" fmla="*/ 24 w 26"/>
                <a:gd name="T15" fmla="*/ 26 h 45"/>
                <a:gd name="T16" fmla="*/ 20 w 26"/>
                <a:gd name="T17" fmla="*/ 2 h 45"/>
                <a:gd name="T18" fmla="*/ 17 w 26"/>
                <a:gd name="T19" fmla="*/ 0 h 45"/>
                <a:gd name="T20" fmla="*/ 14 w 26"/>
                <a:gd name="T21" fmla="*/ 1 h 45"/>
                <a:gd name="T22" fmla="*/ 11 w 26"/>
                <a:gd name="T23" fmla="*/ 6 h 45"/>
                <a:gd name="T24" fmla="*/ 12 w 26"/>
                <a:gd name="T25" fmla="*/ 16 h 45"/>
                <a:gd name="T26" fmla="*/ 18 w 26"/>
                <a:gd name="T27" fmla="*/ 27 h 45"/>
                <a:gd name="T28" fmla="*/ 21 w 26"/>
                <a:gd name="T29" fmla="*/ 30 h 45"/>
                <a:gd name="T30" fmla="*/ 22 w 26"/>
                <a:gd name="T31" fmla="*/ 31 h 45"/>
                <a:gd name="T32" fmla="*/ 19 w 26"/>
                <a:gd name="T33" fmla="*/ 27 h 45"/>
                <a:gd name="T34" fmla="*/ 13 w 26"/>
                <a:gd name="T35" fmla="*/ 15 h 45"/>
                <a:gd name="T36" fmla="*/ 13 w 26"/>
                <a:gd name="T37" fmla="*/ 6 h 45"/>
                <a:gd name="T38" fmla="*/ 15 w 26"/>
                <a:gd name="T39" fmla="*/ 2 h 45"/>
                <a:gd name="T40" fmla="*/ 19 w 26"/>
                <a:gd name="T41" fmla="*/ 3 h 45"/>
                <a:gd name="T42" fmla="*/ 22 w 26"/>
                <a:gd name="T43" fmla="*/ 25 h 45"/>
                <a:gd name="T44" fmla="*/ 17 w 26"/>
                <a:gd name="T45" fmla="*/ 36 h 45"/>
                <a:gd name="T46" fmla="*/ 8 w 26"/>
                <a:gd name="T47" fmla="*/ 43 h 45"/>
                <a:gd name="T48" fmla="*/ 1 w 26"/>
                <a:gd name="T49" fmla="*/ 38 h 45"/>
                <a:gd name="T50" fmla="*/ 3 w 26"/>
                <a:gd name="T51" fmla="*/ 35 h 45"/>
                <a:gd name="T52" fmla="*/ 7 w 26"/>
                <a:gd name="T53" fmla="*/ 33 h 45"/>
                <a:gd name="T54" fmla="*/ 20 w 26"/>
                <a:gd name="T55" fmla="*/ 30 h 45"/>
                <a:gd name="T56" fmla="*/ 25 w 26"/>
                <a:gd name="T57" fmla="*/ 2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5">
                  <a:moveTo>
                    <a:pt x="25" y="29"/>
                  </a:moveTo>
                  <a:cubicBezTo>
                    <a:pt x="25" y="29"/>
                    <a:pt x="23" y="29"/>
                    <a:pt x="20" y="29"/>
                  </a:cubicBezTo>
                  <a:cubicBezTo>
                    <a:pt x="17" y="29"/>
                    <a:pt x="12" y="29"/>
                    <a:pt x="7" y="31"/>
                  </a:cubicBezTo>
                  <a:cubicBezTo>
                    <a:pt x="5" y="32"/>
                    <a:pt x="4" y="33"/>
                    <a:pt x="3" y="34"/>
                  </a:cubicBezTo>
                  <a:cubicBezTo>
                    <a:pt x="1" y="35"/>
                    <a:pt x="0" y="36"/>
                    <a:pt x="0" y="38"/>
                  </a:cubicBezTo>
                  <a:cubicBezTo>
                    <a:pt x="0" y="42"/>
                    <a:pt x="4" y="45"/>
                    <a:pt x="9" y="44"/>
                  </a:cubicBezTo>
                  <a:cubicBezTo>
                    <a:pt x="13" y="44"/>
                    <a:pt x="16" y="41"/>
                    <a:pt x="18" y="37"/>
                  </a:cubicBezTo>
                  <a:cubicBezTo>
                    <a:pt x="21" y="34"/>
                    <a:pt x="23" y="30"/>
                    <a:pt x="24" y="26"/>
                  </a:cubicBezTo>
                  <a:cubicBezTo>
                    <a:pt x="26" y="17"/>
                    <a:pt x="24" y="8"/>
                    <a:pt x="20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11" y="9"/>
                    <a:pt x="11" y="13"/>
                    <a:pt x="12" y="16"/>
                  </a:cubicBezTo>
                  <a:cubicBezTo>
                    <a:pt x="13" y="21"/>
                    <a:pt x="16" y="25"/>
                    <a:pt x="18" y="27"/>
                  </a:cubicBezTo>
                  <a:cubicBezTo>
                    <a:pt x="19" y="29"/>
                    <a:pt x="20" y="29"/>
                    <a:pt x="21" y="30"/>
                  </a:cubicBezTo>
                  <a:cubicBezTo>
                    <a:pt x="22" y="30"/>
                    <a:pt x="22" y="31"/>
                    <a:pt x="22" y="31"/>
                  </a:cubicBezTo>
                  <a:cubicBezTo>
                    <a:pt x="22" y="30"/>
                    <a:pt x="21" y="29"/>
                    <a:pt x="19" y="27"/>
                  </a:cubicBezTo>
                  <a:cubicBezTo>
                    <a:pt x="17" y="25"/>
                    <a:pt x="14" y="21"/>
                    <a:pt x="13" y="15"/>
                  </a:cubicBezTo>
                  <a:cubicBezTo>
                    <a:pt x="13" y="13"/>
                    <a:pt x="12" y="9"/>
                    <a:pt x="13" y="6"/>
                  </a:cubicBezTo>
                  <a:cubicBezTo>
                    <a:pt x="13" y="5"/>
                    <a:pt x="14" y="3"/>
                    <a:pt x="15" y="2"/>
                  </a:cubicBezTo>
                  <a:cubicBezTo>
                    <a:pt x="16" y="1"/>
                    <a:pt x="18" y="1"/>
                    <a:pt x="19" y="3"/>
                  </a:cubicBezTo>
                  <a:cubicBezTo>
                    <a:pt x="23" y="9"/>
                    <a:pt x="24" y="17"/>
                    <a:pt x="22" y="25"/>
                  </a:cubicBezTo>
                  <a:cubicBezTo>
                    <a:pt x="21" y="29"/>
                    <a:pt x="19" y="33"/>
                    <a:pt x="17" y="36"/>
                  </a:cubicBezTo>
                  <a:cubicBezTo>
                    <a:pt x="15" y="39"/>
                    <a:pt x="12" y="42"/>
                    <a:pt x="8" y="43"/>
                  </a:cubicBezTo>
                  <a:cubicBezTo>
                    <a:pt x="5" y="44"/>
                    <a:pt x="1" y="41"/>
                    <a:pt x="1" y="38"/>
                  </a:cubicBezTo>
                  <a:cubicBezTo>
                    <a:pt x="1" y="37"/>
                    <a:pt x="2" y="36"/>
                    <a:pt x="3" y="35"/>
                  </a:cubicBezTo>
                  <a:cubicBezTo>
                    <a:pt x="5" y="34"/>
                    <a:pt x="6" y="33"/>
                    <a:pt x="7" y="33"/>
                  </a:cubicBezTo>
                  <a:cubicBezTo>
                    <a:pt x="12" y="31"/>
                    <a:pt x="17" y="30"/>
                    <a:pt x="20" y="30"/>
                  </a:cubicBezTo>
                  <a:cubicBezTo>
                    <a:pt x="23" y="29"/>
                    <a:pt x="25" y="29"/>
                    <a:pt x="2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2" name="Freeform 103">
              <a:extLst>
                <a:ext uri="{FF2B5EF4-FFF2-40B4-BE49-F238E27FC236}">
                  <a16:creationId xmlns:a16="http://schemas.microsoft.com/office/drawing/2014/main" id="{C6AECB69-26CE-4ECD-8298-1E9AB97BB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" y="3753"/>
              <a:ext cx="465" cy="183"/>
            </a:xfrm>
            <a:custGeom>
              <a:avLst/>
              <a:gdLst>
                <a:gd name="T0" fmla="*/ 0 w 196"/>
                <a:gd name="T1" fmla="*/ 52 h 77"/>
                <a:gd name="T2" fmla="*/ 1 w 196"/>
                <a:gd name="T3" fmla="*/ 52 h 77"/>
                <a:gd name="T4" fmla="*/ 4 w 196"/>
                <a:gd name="T5" fmla="*/ 53 h 77"/>
                <a:gd name="T6" fmla="*/ 15 w 196"/>
                <a:gd name="T7" fmla="*/ 56 h 77"/>
                <a:gd name="T8" fmla="*/ 55 w 196"/>
                <a:gd name="T9" fmla="*/ 64 h 77"/>
                <a:gd name="T10" fmla="*/ 116 w 196"/>
                <a:gd name="T11" fmla="*/ 74 h 77"/>
                <a:gd name="T12" fmla="*/ 152 w 196"/>
                <a:gd name="T13" fmla="*/ 76 h 77"/>
                <a:gd name="T14" fmla="*/ 172 w 196"/>
                <a:gd name="T15" fmla="*/ 72 h 77"/>
                <a:gd name="T16" fmla="*/ 181 w 196"/>
                <a:gd name="T17" fmla="*/ 68 h 77"/>
                <a:gd name="T18" fmla="*/ 189 w 196"/>
                <a:gd name="T19" fmla="*/ 62 h 77"/>
                <a:gd name="T20" fmla="*/ 189 w 196"/>
                <a:gd name="T21" fmla="*/ 62 h 77"/>
                <a:gd name="T22" fmla="*/ 192 w 196"/>
                <a:gd name="T23" fmla="*/ 58 h 77"/>
                <a:gd name="T24" fmla="*/ 194 w 196"/>
                <a:gd name="T25" fmla="*/ 38 h 77"/>
                <a:gd name="T26" fmla="*/ 182 w 196"/>
                <a:gd name="T27" fmla="*/ 22 h 77"/>
                <a:gd name="T28" fmla="*/ 164 w 196"/>
                <a:gd name="T29" fmla="*/ 13 h 77"/>
                <a:gd name="T30" fmla="*/ 156 w 196"/>
                <a:gd name="T31" fmla="*/ 11 h 77"/>
                <a:gd name="T32" fmla="*/ 147 w 196"/>
                <a:gd name="T33" fmla="*/ 9 h 77"/>
                <a:gd name="T34" fmla="*/ 83 w 196"/>
                <a:gd name="T35" fmla="*/ 7 h 77"/>
                <a:gd name="T36" fmla="*/ 59 w 196"/>
                <a:gd name="T37" fmla="*/ 7 h 77"/>
                <a:gd name="T38" fmla="*/ 41 w 196"/>
                <a:gd name="T39" fmla="*/ 4 h 77"/>
                <a:gd name="T40" fmla="*/ 35 w 196"/>
                <a:gd name="T41" fmla="*/ 3 h 77"/>
                <a:gd name="T42" fmla="*/ 30 w 196"/>
                <a:gd name="T43" fmla="*/ 2 h 77"/>
                <a:gd name="T44" fmla="*/ 27 w 196"/>
                <a:gd name="T45" fmla="*/ 1 h 77"/>
                <a:gd name="T46" fmla="*/ 26 w 196"/>
                <a:gd name="T47" fmla="*/ 1 h 77"/>
                <a:gd name="T48" fmla="*/ 27 w 196"/>
                <a:gd name="T49" fmla="*/ 1 h 77"/>
                <a:gd name="T50" fmla="*/ 30 w 196"/>
                <a:gd name="T51" fmla="*/ 2 h 77"/>
                <a:gd name="T52" fmla="*/ 35 w 196"/>
                <a:gd name="T53" fmla="*/ 3 h 77"/>
                <a:gd name="T54" fmla="*/ 41 w 196"/>
                <a:gd name="T55" fmla="*/ 5 h 77"/>
                <a:gd name="T56" fmla="*/ 59 w 196"/>
                <a:gd name="T57" fmla="*/ 8 h 77"/>
                <a:gd name="T58" fmla="*/ 83 w 196"/>
                <a:gd name="T59" fmla="*/ 8 h 77"/>
                <a:gd name="T60" fmla="*/ 98 w 196"/>
                <a:gd name="T61" fmla="*/ 8 h 77"/>
                <a:gd name="T62" fmla="*/ 146 w 196"/>
                <a:gd name="T63" fmla="*/ 11 h 77"/>
                <a:gd name="T64" fmla="*/ 155 w 196"/>
                <a:gd name="T65" fmla="*/ 12 h 77"/>
                <a:gd name="T66" fmla="*/ 164 w 196"/>
                <a:gd name="T67" fmla="*/ 15 h 77"/>
                <a:gd name="T68" fmla="*/ 181 w 196"/>
                <a:gd name="T69" fmla="*/ 23 h 77"/>
                <a:gd name="T70" fmla="*/ 192 w 196"/>
                <a:gd name="T71" fmla="*/ 38 h 77"/>
                <a:gd name="T72" fmla="*/ 190 w 196"/>
                <a:gd name="T73" fmla="*/ 57 h 77"/>
                <a:gd name="T74" fmla="*/ 187 w 196"/>
                <a:gd name="T75" fmla="*/ 61 h 77"/>
                <a:gd name="T76" fmla="*/ 187 w 196"/>
                <a:gd name="T77" fmla="*/ 61 h 77"/>
                <a:gd name="T78" fmla="*/ 187 w 196"/>
                <a:gd name="T79" fmla="*/ 61 h 77"/>
                <a:gd name="T80" fmla="*/ 180 w 196"/>
                <a:gd name="T81" fmla="*/ 67 h 77"/>
                <a:gd name="T82" fmla="*/ 171 w 196"/>
                <a:gd name="T83" fmla="*/ 71 h 77"/>
                <a:gd name="T84" fmla="*/ 152 w 196"/>
                <a:gd name="T85" fmla="*/ 74 h 77"/>
                <a:gd name="T86" fmla="*/ 116 w 196"/>
                <a:gd name="T87" fmla="*/ 73 h 77"/>
                <a:gd name="T88" fmla="*/ 55 w 196"/>
                <a:gd name="T89" fmla="*/ 63 h 77"/>
                <a:gd name="T90" fmla="*/ 15 w 196"/>
                <a:gd name="T91" fmla="*/ 55 h 77"/>
                <a:gd name="T92" fmla="*/ 4 w 196"/>
                <a:gd name="T93" fmla="*/ 53 h 77"/>
                <a:gd name="T94" fmla="*/ 1 w 196"/>
                <a:gd name="T95" fmla="*/ 52 h 77"/>
                <a:gd name="T96" fmla="*/ 0 w 196"/>
                <a:gd name="T97" fmla="*/ 5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6" h="77">
                  <a:moveTo>
                    <a:pt x="0" y="52"/>
                  </a:moveTo>
                  <a:cubicBezTo>
                    <a:pt x="0" y="52"/>
                    <a:pt x="0" y="52"/>
                    <a:pt x="1" y="52"/>
                  </a:cubicBezTo>
                  <a:cubicBezTo>
                    <a:pt x="2" y="53"/>
                    <a:pt x="3" y="53"/>
                    <a:pt x="4" y="53"/>
                  </a:cubicBezTo>
                  <a:cubicBezTo>
                    <a:pt x="6" y="54"/>
                    <a:pt x="10" y="55"/>
                    <a:pt x="15" y="56"/>
                  </a:cubicBezTo>
                  <a:cubicBezTo>
                    <a:pt x="24" y="58"/>
                    <a:pt x="38" y="61"/>
                    <a:pt x="55" y="64"/>
                  </a:cubicBezTo>
                  <a:cubicBezTo>
                    <a:pt x="72" y="67"/>
                    <a:pt x="93" y="71"/>
                    <a:pt x="116" y="74"/>
                  </a:cubicBezTo>
                  <a:cubicBezTo>
                    <a:pt x="127" y="76"/>
                    <a:pt x="140" y="77"/>
                    <a:pt x="152" y="76"/>
                  </a:cubicBezTo>
                  <a:cubicBezTo>
                    <a:pt x="159" y="76"/>
                    <a:pt x="165" y="74"/>
                    <a:pt x="172" y="72"/>
                  </a:cubicBezTo>
                  <a:cubicBezTo>
                    <a:pt x="175" y="71"/>
                    <a:pt x="178" y="70"/>
                    <a:pt x="181" y="68"/>
                  </a:cubicBezTo>
                  <a:cubicBezTo>
                    <a:pt x="184" y="67"/>
                    <a:pt x="186" y="65"/>
                    <a:pt x="189" y="62"/>
                  </a:cubicBezTo>
                  <a:cubicBezTo>
                    <a:pt x="189" y="62"/>
                    <a:pt x="189" y="62"/>
                    <a:pt x="189" y="62"/>
                  </a:cubicBezTo>
                  <a:cubicBezTo>
                    <a:pt x="190" y="61"/>
                    <a:pt x="191" y="59"/>
                    <a:pt x="192" y="58"/>
                  </a:cubicBezTo>
                  <a:cubicBezTo>
                    <a:pt x="196" y="52"/>
                    <a:pt x="196" y="44"/>
                    <a:pt x="194" y="38"/>
                  </a:cubicBezTo>
                  <a:cubicBezTo>
                    <a:pt x="192" y="31"/>
                    <a:pt x="187" y="26"/>
                    <a:pt x="182" y="22"/>
                  </a:cubicBezTo>
                  <a:cubicBezTo>
                    <a:pt x="176" y="18"/>
                    <a:pt x="170" y="15"/>
                    <a:pt x="164" y="13"/>
                  </a:cubicBezTo>
                  <a:cubicBezTo>
                    <a:pt x="161" y="12"/>
                    <a:pt x="159" y="11"/>
                    <a:pt x="156" y="11"/>
                  </a:cubicBezTo>
                  <a:cubicBezTo>
                    <a:pt x="153" y="10"/>
                    <a:pt x="150" y="9"/>
                    <a:pt x="147" y="9"/>
                  </a:cubicBezTo>
                  <a:cubicBezTo>
                    <a:pt x="123" y="5"/>
                    <a:pt x="101" y="7"/>
                    <a:pt x="83" y="7"/>
                  </a:cubicBezTo>
                  <a:cubicBezTo>
                    <a:pt x="75" y="7"/>
                    <a:pt x="66" y="7"/>
                    <a:pt x="59" y="7"/>
                  </a:cubicBezTo>
                  <a:cubicBezTo>
                    <a:pt x="52" y="6"/>
                    <a:pt x="46" y="5"/>
                    <a:pt x="41" y="4"/>
                  </a:cubicBezTo>
                  <a:cubicBezTo>
                    <a:pt x="39" y="4"/>
                    <a:pt x="37" y="3"/>
                    <a:pt x="35" y="3"/>
                  </a:cubicBezTo>
                  <a:cubicBezTo>
                    <a:pt x="33" y="2"/>
                    <a:pt x="31" y="2"/>
                    <a:pt x="30" y="2"/>
                  </a:cubicBezTo>
                  <a:cubicBezTo>
                    <a:pt x="29" y="1"/>
                    <a:pt x="28" y="1"/>
                    <a:pt x="27" y="1"/>
                  </a:cubicBezTo>
                  <a:cubicBezTo>
                    <a:pt x="26" y="1"/>
                    <a:pt x="26" y="0"/>
                    <a:pt x="26" y="1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8" y="1"/>
                    <a:pt x="29" y="1"/>
                    <a:pt x="30" y="2"/>
                  </a:cubicBezTo>
                  <a:cubicBezTo>
                    <a:pt x="31" y="2"/>
                    <a:pt x="33" y="3"/>
                    <a:pt x="35" y="3"/>
                  </a:cubicBezTo>
                  <a:cubicBezTo>
                    <a:pt x="36" y="4"/>
                    <a:pt x="39" y="4"/>
                    <a:pt x="41" y="5"/>
                  </a:cubicBezTo>
                  <a:cubicBezTo>
                    <a:pt x="46" y="6"/>
                    <a:pt x="52" y="7"/>
                    <a:pt x="59" y="8"/>
                  </a:cubicBezTo>
                  <a:cubicBezTo>
                    <a:pt x="66" y="8"/>
                    <a:pt x="74" y="8"/>
                    <a:pt x="83" y="8"/>
                  </a:cubicBezTo>
                  <a:cubicBezTo>
                    <a:pt x="88" y="8"/>
                    <a:pt x="93" y="8"/>
                    <a:pt x="98" y="8"/>
                  </a:cubicBezTo>
                  <a:cubicBezTo>
                    <a:pt x="113" y="8"/>
                    <a:pt x="129" y="8"/>
                    <a:pt x="146" y="11"/>
                  </a:cubicBezTo>
                  <a:cubicBezTo>
                    <a:pt x="149" y="11"/>
                    <a:pt x="152" y="12"/>
                    <a:pt x="155" y="12"/>
                  </a:cubicBezTo>
                  <a:cubicBezTo>
                    <a:pt x="158" y="13"/>
                    <a:pt x="161" y="14"/>
                    <a:pt x="164" y="15"/>
                  </a:cubicBezTo>
                  <a:cubicBezTo>
                    <a:pt x="170" y="17"/>
                    <a:pt x="176" y="19"/>
                    <a:pt x="181" y="23"/>
                  </a:cubicBezTo>
                  <a:cubicBezTo>
                    <a:pt x="186" y="27"/>
                    <a:pt x="190" y="32"/>
                    <a:pt x="192" y="38"/>
                  </a:cubicBezTo>
                  <a:cubicBezTo>
                    <a:pt x="194" y="44"/>
                    <a:pt x="194" y="51"/>
                    <a:pt x="190" y="57"/>
                  </a:cubicBezTo>
                  <a:cubicBezTo>
                    <a:pt x="190" y="58"/>
                    <a:pt x="188" y="60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5" y="63"/>
                    <a:pt x="183" y="65"/>
                    <a:pt x="180" y="67"/>
                  </a:cubicBezTo>
                  <a:cubicBezTo>
                    <a:pt x="177" y="68"/>
                    <a:pt x="174" y="70"/>
                    <a:pt x="171" y="71"/>
                  </a:cubicBezTo>
                  <a:cubicBezTo>
                    <a:pt x="165" y="73"/>
                    <a:pt x="158" y="74"/>
                    <a:pt x="152" y="74"/>
                  </a:cubicBezTo>
                  <a:cubicBezTo>
                    <a:pt x="140" y="75"/>
                    <a:pt x="128" y="74"/>
                    <a:pt x="116" y="73"/>
                  </a:cubicBezTo>
                  <a:cubicBezTo>
                    <a:pt x="93" y="69"/>
                    <a:pt x="73" y="66"/>
                    <a:pt x="55" y="63"/>
                  </a:cubicBezTo>
                  <a:cubicBezTo>
                    <a:pt x="38" y="60"/>
                    <a:pt x="24" y="57"/>
                    <a:pt x="15" y="55"/>
                  </a:cubicBezTo>
                  <a:cubicBezTo>
                    <a:pt x="10" y="54"/>
                    <a:pt x="6" y="53"/>
                    <a:pt x="4" y="53"/>
                  </a:cubicBezTo>
                  <a:cubicBezTo>
                    <a:pt x="3" y="53"/>
                    <a:pt x="2" y="52"/>
                    <a:pt x="1" y="52"/>
                  </a:cubicBez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3" name="Freeform 104">
              <a:extLst>
                <a:ext uri="{FF2B5EF4-FFF2-40B4-BE49-F238E27FC236}">
                  <a16:creationId xmlns:a16="http://schemas.microsoft.com/office/drawing/2014/main" id="{B39A2CBF-D2D7-4E75-8082-DB70341E2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3774"/>
              <a:ext cx="22" cy="154"/>
            </a:xfrm>
            <a:custGeom>
              <a:avLst/>
              <a:gdLst>
                <a:gd name="T0" fmla="*/ 0 w 9"/>
                <a:gd name="T1" fmla="*/ 65 h 65"/>
                <a:gd name="T2" fmla="*/ 1 w 9"/>
                <a:gd name="T3" fmla="*/ 56 h 65"/>
                <a:gd name="T4" fmla="*/ 3 w 9"/>
                <a:gd name="T5" fmla="*/ 33 h 65"/>
                <a:gd name="T6" fmla="*/ 7 w 9"/>
                <a:gd name="T7" fmla="*/ 10 h 65"/>
                <a:gd name="T8" fmla="*/ 9 w 9"/>
                <a:gd name="T9" fmla="*/ 0 h 65"/>
                <a:gd name="T10" fmla="*/ 6 w 9"/>
                <a:gd name="T11" fmla="*/ 9 h 65"/>
                <a:gd name="T12" fmla="*/ 2 w 9"/>
                <a:gd name="T13" fmla="*/ 32 h 65"/>
                <a:gd name="T14" fmla="*/ 0 w 9"/>
                <a:gd name="T15" fmla="*/ 56 h 65"/>
                <a:gd name="T16" fmla="*/ 0 w 9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65">
                  <a:moveTo>
                    <a:pt x="0" y="65"/>
                  </a:moveTo>
                  <a:cubicBezTo>
                    <a:pt x="0" y="65"/>
                    <a:pt x="1" y="62"/>
                    <a:pt x="1" y="56"/>
                  </a:cubicBezTo>
                  <a:cubicBezTo>
                    <a:pt x="1" y="50"/>
                    <a:pt x="2" y="42"/>
                    <a:pt x="3" y="33"/>
                  </a:cubicBezTo>
                  <a:cubicBezTo>
                    <a:pt x="5" y="24"/>
                    <a:pt x="6" y="15"/>
                    <a:pt x="7" y="10"/>
                  </a:cubicBezTo>
                  <a:cubicBezTo>
                    <a:pt x="8" y="4"/>
                    <a:pt x="9" y="0"/>
                    <a:pt x="9" y="0"/>
                  </a:cubicBezTo>
                  <a:cubicBezTo>
                    <a:pt x="9" y="0"/>
                    <a:pt x="7" y="3"/>
                    <a:pt x="6" y="9"/>
                  </a:cubicBezTo>
                  <a:cubicBezTo>
                    <a:pt x="5" y="15"/>
                    <a:pt x="3" y="23"/>
                    <a:pt x="2" y="32"/>
                  </a:cubicBezTo>
                  <a:cubicBezTo>
                    <a:pt x="0" y="41"/>
                    <a:pt x="0" y="50"/>
                    <a:pt x="0" y="56"/>
                  </a:cubicBezTo>
                  <a:cubicBezTo>
                    <a:pt x="0" y="62"/>
                    <a:pt x="0" y="65"/>
                    <a:pt x="0" y="6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4" name="Freeform 105">
              <a:extLst>
                <a:ext uri="{FF2B5EF4-FFF2-40B4-BE49-F238E27FC236}">
                  <a16:creationId xmlns:a16="http://schemas.microsoft.com/office/drawing/2014/main" id="{8D719FFD-2FDC-4F84-90F4-DB2C2F3BC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" y="3753"/>
              <a:ext cx="19" cy="4"/>
            </a:xfrm>
            <a:custGeom>
              <a:avLst/>
              <a:gdLst>
                <a:gd name="T0" fmla="*/ 1 w 8"/>
                <a:gd name="T1" fmla="*/ 0 h 2"/>
                <a:gd name="T2" fmla="*/ 0 w 8"/>
                <a:gd name="T3" fmla="*/ 0 h 2"/>
                <a:gd name="T4" fmla="*/ 8 w 8"/>
                <a:gd name="T5" fmla="*/ 2 h 2"/>
                <a:gd name="T6" fmla="*/ 8 w 8"/>
                <a:gd name="T7" fmla="*/ 2 h 2"/>
                <a:gd name="T8" fmla="*/ 1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5" name="Freeform 106">
              <a:extLst>
                <a:ext uri="{FF2B5EF4-FFF2-40B4-BE49-F238E27FC236}">
                  <a16:creationId xmlns:a16="http://schemas.microsoft.com/office/drawing/2014/main" id="{F657A59A-43D6-4BBE-B610-E12B8239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890"/>
              <a:ext cx="45" cy="10"/>
            </a:xfrm>
            <a:custGeom>
              <a:avLst/>
              <a:gdLst>
                <a:gd name="T0" fmla="*/ 0 w 19"/>
                <a:gd name="T1" fmla="*/ 0 h 4"/>
                <a:gd name="T2" fmla="*/ 19 w 19"/>
                <a:gd name="T3" fmla="*/ 4 h 4"/>
                <a:gd name="T4" fmla="*/ 19 w 19"/>
                <a:gd name="T5" fmla="*/ 4 h 4"/>
                <a:gd name="T6" fmla="*/ 0 w 1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">
                  <a:moveTo>
                    <a:pt x="0" y="0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7" y="2"/>
                    <a:pt x="0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6" name="Freeform 107">
              <a:extLst>
                <a:ext uri="{FF2B5EF4-FFF2-40B4-BE49-F238E27FC236}">
                  <a16:creationId xmlns:a16="http://schemas.microsoft.com/office/drawing/2014/main" id="{9B2DA9BF-7EF9-4339-A82E-79B6326A1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8" y="3753"/>
              <a:ext cx="102" cy="147"/>
            </a:xfrm>
            <a:custGeom>
              <a:avLst/>
              <a:gdLst>
                <a:gd name="T0" fmla="*/ 4 w 43"/>
                <a:gd name="T1" fmla="*/ 52 h 62"/>
                <a:gd name="T2" fmla="*/ 0 w 43"/>
                <a:gd name="T3" fmla="*/ 58 h 62"/>
                <a:gd name="T4" fmla="*/ 19 w 43"/>
                <a:gd name="T5" fmla="*/ 62 h 62"/>
                <a:gd name="T6" fmla="*/ 21 w 43"/>
                <a:gd name="T7" fmla="*/ 56 h 62"/>
                <a:gd name="T8" fmla="*/ 19 w 43"/>
                <a:gd name="T9" fmla="*/ 56 h 62"/>
                <a:gd name="T10" fmla="*/ 8 w 43"/>
                <a:gd name="T11" fmla="*/ 53 h 62"/>
                <a:gd name="T12" fmla="*/ 5 w 43"/>
                <a:gd name="T13" fmla="*/ 52 h 62"/>
                <a:gd name="T14" fmla="*/ 4 w 43"/>
                <a:gd name="T15" fmla="*/ 52 h 62"/>
                <a:gd name="T16" fmla="*/ 34 w 43"/>
                <a:gd name="T17" fmla="*/ 2 h 62"/>
                <a:gd name="T18" fmla="*/ 4 w 43"/>
                <a:gd name="T19" fmla="*/ 52 h 62"/>
                <a:gd name="T20" fmla="*/ 4 w 43"/>
                <a:gd name="T21" fmla="*/ 52 h 62"/>
                <a:gd name="T22" fmla="*/ 5 w 43"/>
                <a:gd name="T23" fmla="*/ 52 h 62"/>
                <a:gd name="T24" fmla="*/ 8 w 43"/>
                <a:gd name="T25" fmla="*/ 53 h 62"/>
                <a:gd name="T26" fmla="*/ 19 w 43"/>
                <a:gd name="T27" fmla="*/ 55 h 62"/>
                <a:gd name="T28" fmla="*/ 21 w 43"/>
                <a:gd name="T29" fmla="*/ 55 h 62"/>
                <a:gd name="T30" fmla="*/ 42 w 43"/>
                <a:gd name="T31" fmla="*/ 4 h 62"/>
                <a:gd name="T32" fmla="*/ 39 w 43"/>
                <a:gd name="T33" fmla="*/ 3 h 62"/>
                <a:gd name="T34" fmla="*/ 34 w 43"/>
                <a:gd name="T35" fmla="*/ 2 h 62"/>
                <a:gd name="T36" fmla="*/ 35 w 43"/>
                <a:gd name="T37" fmla="*/ 0 h 62"/>
                <a:gd name="T38" fmla="*/ 35 w 43"/>
                <a:gd name="T39" fmla="*/ 2 h 62"/>
                <a:gd name="T40" fmla="*/ 39 w 43"/>
                <a:gd name="T41" fmla="*/ 3 h 62"/>
                <a:gd name="T42" fmla="*/ 42 w 43"/>
                <a:gd name="T43" fmla="*/ 4 h 62"/>
                <a:gd name="T44" fmla="*/ 43 w 43"/>
                <a:gd name="T45" fmla="*/ 2 h 62"/>
                <a:gd name="T46" fmla="*/ 35 w 43"/>
                <a:gd name="T4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62">
                  <a:moveTo>
                    <a:pt x="4" y="52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7" y="60"/>
                    <a:pt x="19" y="62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0" y="56"/>
                    <a:pt x="19" y="56"/>
                    <a:pt x="19" y="56"/>
                  </a:cubicBezTo>
                  <a:cubicBezTo>
                    <a:pt x="14" y="55"/>
                    <a:pt x="10" y="54"/>
                    <a:pt x="8" y="53"/>
                  </a:cubicBezTo>
                  <a:cubicBezTo>
                    <a:pt x="7" y="53"/>
                    <a:pt x="6" y="53"/>
                    <a:pt x="5" y="52"/>
                  </a:cubicBezTo>
                  <a:cubicBezTo>
                    <a:pt x="4" y="52"/>
                    <a:pt x="4" y="52"/>
                    <a:pt x="4" y="52"/>
                  </a:cubicBezTo>
                  <a:moveTo>
                    <a:pt x="34" y="2"/>
                  </a:move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5" y="52"/>
                  </a:cubicBezTo>
                  <a:cubicBezTo>
                    <a:pt x="6" y="52"/>
                    <a:pt x="7" y="53"/>
                    <a:pt x="8" y="53"/>
                  </a:cubicBezTo>
                  <a:cubicBezTo>
                    <a:pt x="10" y="53"/>
                    <a:pt x="14" y="54"/>
                    <a:pt x="19" y="55"/>
                  </a:cubicBezTo>
                  <a:cubicBezTo>
                    <a:pt x="20" y="55"/>
                    <a:pt x="20" y="55"/>
                    <a:pt x="21" y="5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1" y="4"/>
                    <a:pt x="40" y="4"/>
                    <a:pt x="39" y="3"/>
                  </a:cubicBezTo>
                  <a:cubicBezTo>
                    <a:pt x="37" y="3"/>
                    <a:pt x="36" y="2"/>
                    <a:pt x="34" y="2"/>
                  </a:cubicBezTo>
                  <a:moveTo>
                    <a:pt x="35" y="0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6" y="2"/>
                    <a:pt x="37" y="2"/>
                    <a:pt x="39" y="3"/>
                  </a:cubicBezTo>
                  <a:cubicBezTo>
                    <a:pt x="40" y="3"/>
                    <a:pt x="41" y="3"/>
                    <a:pt x="42" y="4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0" y="1"/>
                    <a:pt x="37" y="1"/>
                    <a:pt x="35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7" name="Freeform 108">
              <a:extLst>
                <a:ext uri="{FF2B5EF4-FFF2-40B4-BE49-F238E27FC236}">
                  <a16:creationId xmlns:a16="http://schemas.microsoft.com/office/drawing/2014/main" id="{ACD80299-0165-4FE6-A919-83E581ED3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" y="3757"/>
              <a:ext cx="90" cy="129"/>
            </a:xfrm>
            <a:custGeom>
              <a:avLst/>
              <a:gdLst>
                <a:gd name="T0" fmla="*/ 0 w 38"/>
                <a:gd name="T1" fmla="*/ 50 h 54"/>
                <a:gd name="T2" fmla="*/ 0 w 38"/>
                <a:gd name="T3" fmla="*/ 50 h 54"/>
                <a:gd name="T4" fmla="*/ 0 w 38"/>
                <a:gd name="T5" fmla="*/ 50 h 54"/>
                <a:gd name="T6" fmla="*/ 1 w 38"/>
                <a:gd name="T7" fmla="*/ 50 h 54"/>
                <a:gd name="T8" fmla="*/ 4 w 38"/>
                <a:gd name="T9" fmla="*/ 51 h 54"/>
                <a:gd name="T10" fmla="*/ 15 w 38"/>
                <a:gd name="T11" fmla="*/ 54 h 54"/>
                <a:gd name="T12" fmla="*/ 17 w 38"/>
                <a:gd name="T13" fmla="*/ 54 h 54"/>
                <a:gd name="T14" fmla="*/ 17 w 38"/>
                <a:gd name="T15" fmla="*/ 53 h 54"/>
                <a:gd name="T16" fmla="*/ 15 w 38"/>
                <a:gd name="T17" fmla="*/ 53 h 54"/>
                <a:gd name="T18" fmla="*/ 4 w 38"/>
                <a:gd name="T19" fmla="*/ 51 h 54"/>
                <a:gd name="T20" fmla="*/ 1 w 38"/>
                <a:gd name="T21" fmla="*/ 50 h 54"/>
                <a:gd name="T22" fmla="*/ 0 w 38"/>
                <a:gd name="T23" fmla="*/ 50 h 54"/>
                <a:gd name="T24" fmla="*/ 31 w 38"/>
                <a:gd name="T25" fmla="*/ 0 h 54"/>
                <a:gd name="T26" fmla="*/ 30 w 38"/>
                <a:gd name="T27" fmla="*/ 0 h 54"/>
                <a:gd name="T28" fmla="*/ 35 w 38"/>
                <a:gd name="T29" fmla="*/ 1 h 54"/>
                <a:gd name="T30" fmla="*/ 38 w 38"/>
                <a:gd name="T31" fmla="*/ 2 h 54"/>
                <a:gd name="T32" fmla="*/ 38 w 38"/>
                <a:gd name="T33" fmla="*/ 2 h 54"/>
                <a:gd name="T34" fmla="*/ 35 w 38"/>
                <a:gd name="T35" fmla="*/ 1 h 54"/>
                <a:gd name="T36" fmla="*/ 31 w 38"/>
                <a:gd name="T3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4">
                  <a:moveTo>
                    <a:pt x="0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2" y="51"/>
                    <a:pt x="3" y="51"/>
                    <a:pt x="4" y="51"/>
                  </a:cubicBezTo>
                  <a:cubicBezTo>
                    <a:pt x="6" y="52"/>
                    <a:pt x="10" y="53"/>
                    <a:pt x="15" y="54"/>
                  </a:cubicBezTo>
                  <a:cubicBezTo>
                    <a:pt x="15" y="54"/>
                    <a:pt x="16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3"/>
                    <a:pt x="16" y="53"/>
                    <a:pt x="15" y="53"/>
                  </a:cubicBezTo>
                  <a:cubicBezTo>
                    <a:pt x="10" y="52"/>
                    <a:pt x="6" y="51"/>
                    <a:pt x="4" y="51"/>
                  </a:cubicBezTo>
                  <a:cubicBezTo>
                    <a:pt x="3" y="51"/>
                    <a:pt x="2" y="50"/>
                    <a:pt x="1" y="50"/>
                  </a:cubicBezTo>
                  <a:cubicBezTo>
                    <a:pt x="0" y="50"/>
                    <a:pt x="0" y="50"/>
                    <a:pt x="0" y="50"/>
                  </a:cubicBezTo>
                  <a:moveTo>
                    <a:pt x="3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1"/>
                    <a:pt x="35" y="1"/>
                  </a:cubicBezTo>
                  <a:cubicBezTo>
                    <a:pt x="36" y="2"/>
                    <a:pt x="37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1"/>
                    <a:pt x="36" y="1"/>
                    <a:pt x="35" y="1"/>
                  </a:cubicBezTo>
                  <a:cubicBezTo>
                    <a:pt x="33" y="0"/>
                    <a:pt x="32" y="0"/>
                    <a:pt x="3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8" name="Freeform 109">
              <a:extLst>
                <a:ext uri="{FF2B5EF4-FFF2-40B4-BE49-F238E27FC236}">
                  <a16:creationId xmlns:a16="http://schemas.microsoft.com/office/drawing/2014/main" id="{2C0D5809-48A5-4F9D-92FA-D0F041300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7" y="3121"/>
              <a:ext cx="1142" cy="727"/>
            </a:xfrm>
            <a:custGeom>
              <a:avLst/>
              <a:gdLst>
                <a:gd name="T0" fmla="*/ 0 w 481"/>
                <a:gd name="T1" fmla="*/ 103 h 306"/>
                <a:gd name="T2" fmla="*/ 352 w 481"/>
                <a:gd name="T3" fmla="*/ 7 h 306"/>
                <a:gd name="T4" fmla="*/ 429 w 481"/>
                <a:gd name="T5" fmla="*/ 19 h 306"/>
                <a:gd name="T6" fmla="*/ 431 w 481"/>
                <a:gd name="T7" fmla="*/ 19 h 306"/>
                <a:gd name="T8" fmla="*/ 472 w 481"/>
                <a:gd name="T9" fmla="*/ 121 h 306"/>
                <a:gd name="T10" fmla="*/ 429 w 481"/>
                <a:gd name="T11" fmla="*/ 180 h 306"/>
                <a:gd name="T12" fmla="*/ 219 w 481"/>
                <a:gd name="T13" fmla="*/ 304 h 306"/>
                <a:gd name="T14" fmla="*/ 39 w 481"/>
                <a:gd name="T15" fmla="*/ 298 h 306"/>
                <a:gd name="T16" fmla="*/ 248 w 481"/>
                <a:gd name="T17" fmla="*/ 147 h 306"/>
                <a:gd name="T18" fmla="*/ 149 w 481"/>
                <a:gd name="T19" fmla="*/ 211 h 306"/>
                <a:gd name="T20" fmla="*/ 0 w 481"/>
                <a:gd name="T21" fmla="*/ 10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1" h="306">
                  <a:moveTo>
                    <a:pt x="0" y="103"/>
                  </a:moveTo>
                  <a:cubicBezTo>
                    <a:pt x="4" y="104"/>
                    <a:pt x="252" y="35"/>
                    <a:pt x="352" y="7"/>
                  </a:cubicBezTo>
                  <a:cubicBezTo>
                    <a:pt x="378" y="0"/>
                    <a:pt x="407" y="4"/>
                    <a:pt x="429" y="19"/>
                  </a:cubicBezTo>
                  <a:cubicBezTo>
                    <a:pt x="431" y="19"/>
                    <a:pt x="431" y="19"/>
                    <a:pt x="431" y="19"/>
                  </a:cubicBezTo>
                  <a:cubicBezTo>
                    <a:pt x="464" y="41"/>
                    <a:pt x="481" y="82"/>
                    <a:pt x="472" y="121"/>
                  </a:cubicBezTo>
                  <a:cubicBezTo>
                    <a:pt x="466" y="146"/>
                    <a:pt x="450" y="167"/>
                    <a:pt x="429" y="180"/>
                  </a:cubicBezTo>
                  <a:cubicBezTo>
                    <a:pt x="363" y="221"/>
                    <a:pt x="223" y="306"/>
                    <a:pt x="219" y="304"/>
                  </a:cubicBezTo>
                  <a:cubicBezTo>
                    <a:pt x="213" y="302"/>
                    <a:pt x="39" y="298"/>
                    <a:pt x="39" y="298"/>
                  </a:cubicBezTo>
                  <a:cubicBezTo>
                    <a:pt x="248" y="147"/>
                    <a:pt x="248" y="147"/>
                    <a:pt x="248" y="147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0" y="103"/>
                    <a:pt x="0" y="103"/>
                    <a:pt x="0" y="10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9" name="Freeform 110">
              <a:extLst>
                <a:ext uri="{FF2B5EF4-FFF2-40B4-BE49-F238E27FC236}">
                  <a16:creationId xmlns:a16="http://schemas.microsoft.com/office/drawing/2014/main" id="{6D7660B0-110E-40AA-998D-C33883CE7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3377"/>
              <a:ext cx="549" cy="559"/>
            </a:xfrm>
            <a:custGeom>
              <a:avLst/>
              <a:gdLst>
                <a:gd name="T0" fmla="*/ 205 w 231"/>
                <a:gd name="T1" fmla="*/ 71 h 235"/>
                <a:gd name="T2" fmla="*/ 231 w 231"/>
                <a:gd name="T3" fmla="*/ 156 h 235"/>
                <a:gd name="T4" fmla="*/ 228 w 231"/>
                <a:gd name="T5" fmla="*/ 182 h 235"/>
                <a:gd name="T6" fmla="*/ 51 w 231"/>
                <a:gd name="T7" fmla="*/ 194 h 235"/>
                <a:gd name="T8" fmla="*/ 0 w 231"/>
                <a:gd name="T9" fmla="*/ 89 h 235"/>
                <a:gd name="T10" fmla="*/ 1 w 231"/>
                <a:gd name="T11" fmla="*/ 0 h 235"/>
                <a:gd name="T12" fmla="*/ 205 w 231"/>
                <a:gd name="T13" fmla="*/ 7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235">
                  <a:moveTo>
                    <a:pt x="205" y="71"/>
                  </a:moveTo>
                  <a:cubicBezTo>
                    <a:pt x="231" y="156"/>
                    <a:pt x="231" y="156"/>
                    <a:pt x="231" y="156"/>
                  </a:cubicBezTo>
                  <a:cubicBezTo>
                    <a:pt x="228" y="182"/>
                    <a:pt x="228" y="182"/>
                    <a:pt x="228" y="182"/>
                  </a:cubicBezTo>
                  <a:cubicBezTo>
                    <a:pt x="180" y="230"/>
                    <a:pt x="105" y="235"/>
                    <a:pt x="51" y="194"/>
                  </a:cubicBezTo>
                  <a:cubicBezTo>
                    <a:pt x="19" y="169"/>
                    <a:pt x="0" y="130"/>
                    <a:pt x="0" y="8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05" y="71"/>
                    <a:pt x="205" y="71"/>
                    <a:pt x="205" y="7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0" name="Freeform 111">
              <a:extLst>
                <a:ext uri="{FF2B5EF4-FFF2-40B4-BE49-F238E27FC236}">
                  <a16:creationId xmlns:a16="http://schemas.microsoft.com/office/drawing/2014/main" id="{EDB08AA4-4CB2-48AE-93BE-69DF819A6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3308"/>
              <a:ext cx="321" cy="240"/>
            </a:xfrm>
            <a:custGeom>
              <a:avLst/>
              <a:gdLst>
                <a:gd name="T0" fmla="*/ 1 w 135"/>
                <a:gd name="T1" fmla="*/ 100 h 101"/>
                <a:gd name="T2" fmla="*/ 68 w 135"/>
                <a:gd name="T3" fmla="*/ 51 h 101"/>
                <a:gd name="T4" fmla="*/ 135 w 135"/>
                <a:gd name="T5" fmla="*/ 0 h 101"/>
                <a:gd name="T6" fmla="*/ 67 w 135"/>
                <a:gd name="T7" fmla="*/ 50 h 101"/>
                <a:gd name="T8" fmla="*/ 1 w 135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01">
                  <a:moveTo>
                    <a:pt x="1" y="100"/>
                  </a:moveTo>
                  <a:cubicBezTo>
                    <a:pt x="1" y="101"/>
                    <a:pt x="31" y="79"/>
                    <a:pt x="68" y="51"/>
                  </a:cubicBezTo>
                  <a:cubicBezTo>
                    <a:pt x="105" y="23"/>
                    <a:pt x="135" y="1"/>
                    <a:pt x="135" y="0"/>
                  </a:cubicBezTo>
                  <a:cubicBezTo>
                    <a:pt x="134" y="0"/>
                    <a:pt x="104" y="22"/>
                    <a:pt x="67" y="50"/>
                  </a:cubicBezTo>
                  <a:cubicBezTo>
                    <a:pt x="30" y="77"/>
                    <a:pt x="0" y="100"/>
                    <a:pt x="1" y="10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1" name="Freeform 112">
              <a:extLst>
                <a:ext uri="{FF2B5EF4-FFF2-40B4-BE49-F238E27FC236}">
                  <a16:creationId xmlns:a16="http://schemas.microsoft.com/office/drawing/2014/main" id="{0CA1A450-42EA-4A36-BC3F-68D81B5EB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3145"/>
              <a:ext cx="1118" cy="745"/>
            </a:xfrm>
            <a:custGeom>
              <a:avLst/>
              <a:gdLst>
                <a:gd name="T0" fmla="*/ 433 w 471"/>
                <a:gd name="T1" fmla="*/ 314 h 314"/>
                <a:gd name="T2" fmla="*/ 471 w 471"/>
                <a:gd name="T3" fmla="*/ 251 h 314"/>
                <a:gd name="T4" fmla="*/ 190 w 471"/>
                <a:gd name="T5" fmla="*/ 31 h 314"/>
                <a:gd name="T6" fmla="*/ 129 w 471"/>
                <a:gd name="T7" fmla="*/ 6 h 314"/>
                <a:gd name="T8" fmla="*/ 6 w 471"/>
                <a:gd name="T9" fmla="*/ 128 h 314"/>
                <a:gd name="T10" fmla="*/ 11 w 471"/>
                <a:gd name="T11" fmla="*/ 182 h 314"/>
                <a:gd name="T12" fmla="*/ 197 w 471"/>
                <a:gd name="T13" fmla="*/ 241 h 314"/>
                <a:gd name="T14" fmla="*/ 433 w 471"/>
                <a:gd name="T15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1" h="314">
                  <a:moveTo>
                    <a:pt x="433" y="314"/>
                  </a:moveTo>
                  <a:cubicBezTo>
                    <a:pt x="471" y="251"/>
                    <a:pt x="471" y="251"/>
                    <a:pt x="471" y="251"/>
                  </a:cubicBezTo>
                  <a:cubicBezTo>
                    <a:pt x="190" y="31"/>
                    <a:pt x="190" y="31"/>
                    <a:pt x="190" y="31"/>
                  </a:cubicBezTo>
                  <a:cubicBezTo>
                    <a:pt x="173" y="17"/>
                    <a:pt x="151" y="8"/>
                    <a:pt x="129" y="6"/>
                  </a:cubicBezTo>
                  <a:cubicBezTo>
                    <a:pt x="59" y="0"/>
                    <a:pt x="0" y="58"/>
                    <a:pt x="6" y="128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433" y="314"/>
                    <a:pt x="433" y="314"/>
                    <a:pt x="433" y="31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2" name="Freeform 113">
              <a:extLst>
                <a:ext uri="{FF2B5EF4-FFF2-40B4-BE49-F238E27FC236}">
                  <a16:creationId xmlns:a16="http://schemas.microsoft.com/office/drawing/2014/main" id="{1311040B-69ED-4304-8A16-86BD60D2F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" y="3536"/>
              <a:ext cx="855" cy="354"/>
            </a:xfrm>
            <a:custGeom>
              <a:avLst/>
              <a:gdLst>
                <a:gd name="T0" fmla="*/ 0 w 360"/>
                <a:gd name="T1" fmla="*/ 0 h 149"/>
                <a:gd name="T2" fmla="*/ 0 w 360"/>
                <a:gd name="T3" fmla="*/ 1 h 149"/>
                <a:gd name="T4" fmla="*/ 3 w 360"/>
                <a:gd name="T5" fmla="*/ 3 h 149"/>
                <a:gd name="T6" fmla="*/ 12 w 360"/>
                <a:gd name="T7" fmla="*/ 10 h 149"/>
                <a:gd name="T8" fmla="*/ 18 w 360"/>
                <a:gd name="T9" fmla="*/ 15 h 149"/>
                <a:gd name="T10" fmla="*/ 26 w 360"/>
                <a:gd name="T11" fmla="*/ 20 h 149"/>
                <a:gd name="T12" fmla="*/ 36 w 360"/>
                <a:gd name="T13" fmla="*/ 27 h 149"/>
                <a:gd name="T14" fmla="*/ 41 w 360"/>
                <a:gd name="T15" fmla="*/ 30 h 149"/>
                <a:gd name="T16" fmla="*/ 46 w 360"/>
                <a:gd name="T17" fmla="*/ 34 h 149"/>
                <a:gd name="T18" fmla="*/ 72 w 360"/>
                <a:gd name="T19" fmla="*/ 48 h 149"/>
                <a:gd name="T20" fmla="*/ 86 w 360"/>
                <a:gd name="T21" fmla="*/ 56 h 149"/>
                <a:gd name="T22" fmla="*/ 101 w 360"/>
                <a:gd name="T23" fmla="*/ 63 h 149"/>
                <a:gd name="T24" fmla="*/ 172 w 360"/>
                <a:gd name="T25" fmla="*/ 91 h 149"/>
                <a:gd name="T26" fmla="*/ 305 w 360"/>
                <a:gd name="T27" fmla="*/ 132 h 149"/>
                <a:gd name="T28" fmla="*/ 328 w 360"/>
                <a:gd name="T29" fmla="*/ 139 h 149"/>
                <a:gd name="T30" fmla="*/ 345 w 360"/>
                <a:gd name="T31" fmla="*/ 145 h 149"/>
                <a:gd name="T32" fmla="*/ 356 w 360"/>
                <a:gd name="T33" fmla="*/ 148 h 149"/>
                <a:gd name="T34" fmla="*/ 359 w 360"/>
                <a:gd name="T35" fmla="*/ 149 h 149"/>
                <a:gd name="T36" fmla="*/ 360 w 360"/>
                <a:gd name="T37" fmla="*/ 149 h 149"/>
                <a:gd name="T38" fmla="*/ 359 w 360"/>
                <a:gd name="T39" fmla="*/ 149 h 149"/>
                <a:gd name="T40" fmla="*/ 356 w 360"/>
                <a:gd name="T41" fmla="*/ 148 h 149"/>
                <a:gd name="T42" fmla="*/ 346 w 360"/>
                <a:gd name="T43" fmla="*/ 144 h 149"/>
                <a:gd name="T44" fmla="*/ 328 w 360"/>
                <a:gd name="T45" fmla="*/ 138 h 149"/>
                <a:gd name="T46" fmla="*/ 306 w 360"/>
                <a:gd name="T47" fmla="*/ 131 h 149"/>
                <a:gd name="T48" fmla="*/ 173 w 360"/>
                <a:gd name="T49" fmla="*/ 90 h 149"/>
                <a:gd name="T50" fmla="*/ 102 w 360"/>
                <a:gd name="T51" fmla="*/ 62 h 149"/>
                <a:gd name="T52" fmla="*/ 87 w 360"/>
                <a:gd name="T53" fmla="*/ 54 h 149"/>
                <a:gd name="T54" fmla="*/ 72 w 360"/>
                <a:gd name="T55" fmla="*/ 47 h 149"/>
                <a:gd name="T56" fmla="*/ 47 w 360"/>
                <a:gd name="T57" fmla="*/ 33 h 149"/>
                <a:gd name="T58" fmla="*/ 41 w 360"/>
                <a:gd name="T59" fmla="*/ 29 h 149"/>
                <a:gd name="T60" fmla="*/ 36 w 360"/>
                <a:gd name="T61" fmla="*/ 26 h 149"/>
                <a:gd name="T62" fmla="*/ 27 w 360"/>
                <a:gd name="T63" fmla="*/ 20 h 149"/>
                <a:gd name="T64" fmla="*/ 19 w 360"/>
                <a:gd name="T65" fmla="*/ 14 h 149"/>
                <a:gd name="T66" fmla="*/ 12 w 360"/>
                <a:gd name="T67" fmla="*/ 9 h 149"/>
                <a:gd name="T68" fmla="*/ 3 w 360"/>
                <a:gd name="T69" fmla="*/ 2 h 149"/>
                <a:gd name="T70" fmla="*/ 1 w 360"/>
                <a:gd name="T71" fmla="*/ 1 h 149"/>
                <a:gd name="T72" fmla="*/ 0 w 360"/>
                <a:gd name="T7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14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5" y="4"/>
                    <a:pt x="8" y="7"/>
                    <a:pt x="12" y="10"/>
                  </a:cubicBezTo>
                  <a:cubicBezTo>
                    <a:pt x="14" y="11"/>
                    <a:pt x="16" y="13"/>
                    <a:pt x="18" y="15"/>
                  </a:cubicBezTo>
                  <a:cubicBezTo>
                    <a:pt x="21" y="17"/>
                    <a:pt x="23" y="18"/>
                    <a:pt x="26" y="20"/>
                  </a:cubicBezTo>
                  <a:cubicBezTo>
                    <a:pt x="29" y="22"/>
                    <a:pt x="32" y="25"/>
                    <a:pt x="36" y="27"/>
                  </a:cubicBezTo>
                  <a:cubicBezTo>
                    <a:pt x="37" y="28"/>
                    <a:pt x="39" y="29"/>
                    <a:pt x="41" y="30"/>
                  </a:cubicBezTo>
                  <a:cubicBezTo>
                    <a:pt x="43" y="31"/>
                    <a:pt x="44" y="33"/>
                    <a:pt x="46" y="34"/>
                  </a:cubicBezTo>
                  <a:cubicBezTo>
                    <a:pt x="54" y="38"/>
                    <a:pt x="62" y="43"/>
                    <a:pt x="72" y="48"/>
                  </a:cubicBezTo>
                  <a:cubicBezTo>
                    <a:pt x="76" y="51"/>
                    <a:pt x="81" y="53"/>
                    <a:pt x="86" y="56"/>
                  </a:cubicBezTo>
                  <a:cubicBezTo>
                    <a:pt x="91" y="58"/>
                    <a:pt x="96" y="61"/>
                    <a:pt x="101" y="63"/>
                  </a:cubicBezTo>
                  <a:cubicBezTo>
                    <a:pt x="123" y="73"/>
                    <a:pt x="147" y="83"/>
                    <a:pt x="172" y="91"/>
                  </a:cubicBezTo>
                  <a:cubicBezTo>
                    <a:pt x="224" y="109"/>
                    <a:pt x="271" y="122"/>
                    <a:pt x="305" y="132"/>
                  </a:cubicBezTo>
                  <a:cubicBezTo>
                    <a:pt x="314" y="135"/>
                    <a:pt x="321" y="137"/>
                    <a:pt x="328" y="139"/>
                  </a:cubicBezTo>
                  <a:cubicBezTo>
                    <a:pt x="335" y="141"/>
                    <a:pt x="341" y="143"/>
                    <a:pt x="345" y="145"/>
                  </a:cubicBezTo>
                  <a:cubicBezTo>
                    <a:pt x="350" y="146"/>
                    <a:pt x="354" y="147"/>
                    <a:pt x="356" y="148"/>
                  </a:cubicBezTo>
                  <a:cubicBezTo>
                    <a:pt x="357" y="148"/>
                    <a:pt x="358" y="149"/>
                    <a:pt x="359" y="149"/>
                  </a:cubicBezTo>
                  <a:cubicBezTo>
                    <a:pt x="360" y="149"/>
                    <a:pt x="360" y="149"/>
                    <a:pt x="360" y="149"/>
                  </a:cubicBezTo>
                  <a:cubicBezTo>
                    <a:pt x="360" y="149"/>
                    <a:pt x="360" y="149"/>
                    <a:pt x="359" y="149"/>
                  </a:cubicBezTo>
                  <a:cubicBezTo>
                    <a:pt x="358" y="149"/>
                    <a:pt x="358" y="148"/>
                    <a:pt x="356" y="148"/>
                  </a:cubicBezTo>
                  <a:cubicBezTo>
                    <a:pt x="354" y="147"/>
                    <a:pt x="350" y="146"/>
                    <a:pt x="346" y="144"/>
                  </a:cubicBezTo>
                  <a:cubicBezTo>
                    <a:pt x="341" y="142"/>
                    <a:pt x="335" y="140"/>
                    <a:pt x="328" y="138"/>
                  </a:cubicBezTo>
                  <a:cubicBezTo>
                    <a:pt x="322" y="136"/>
                    <a:pt x="314" y="133"/>
                    <a:pt x="306" y="131"/>
                  </a:cubicBezTo>
                  <a:cubicBezTo>
                    <a:pt x="272" y="120"/>
                    <a:pt x="224" y="107"/>
                    <a:pt x="173" y="90"/>
                  </a:cubicBezTo>
                  <a:cubicBezTo>
                    <a:pt x="147" y="81"/>
                    <a:pt x="123" y="71"/>
                    <a:pt x="102" y="62"/>
                  </a:cubicBezTo>
                  <a:cubicBezTo>
                    <a:pt x="97" y="59"/>
                    <a:pt x="92" y="57"/>
                    <a:pt x="87" y="54"/>
                  </a:cubicBezTo>
                  <a:cubicBezTo>
                    <a:pt x="82" y="52"/>
                    <a:pt x="77" y="49"/>
                    <a:pt x="72" y="47"/>
                  </a:cubicBezTo>
                  <a:cubicBezTo>
                    <a:pt x="63" y="42"/>
                    <a:pt x="55" y="37"/>
                    <a:pt x="47" y="33"/>
                  </a:cubicBezTo>
                  <a:cubicBezTo>
                    <a:pt x="45" y="31"/>
                    <a:pt x="43" y="30"/>
                    <a:pt x="41" y="29"/>
                  </a:cubicBezTo>
                  <a:cubicBezTo>
                    <a:pt x="40" y="28"/>
                    <a:pt x="38" y="27"/>
                    <a:pt x="36" y="26"/>
                  </a:cubicBezTo>
                  <a:cubicBezTo>
                    <a:pt x="33" y="24"/>
                    <a:pt x="30" y="22"/>
                    <a:pt x="27" y="20"/>
                  </a:cubicBezTo>
                  <a:cubicBezTo>
                    <a:pt x="24" y="18"/>
                    <a:pt x="21" y="16"/>
                    <a:pt x="19" y="14"/>
                  </a:cubicBezTo>
                  <a:cubicBezTo>
                    <a:pt x="16" y="12"/>
                    <a:pt x="14" y="11"/>
                    <a:pt x="12" y="9"/>
                  </a:cubicBezTo>
                  <a:cubicBezTo>
                    <a:pt x="8" y="6"/>
                    <a:pt x="5" y="4"/>
                    <a:pt x="3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3" name="Freeform 114">
              <a:extLst>
                <a:ext uri="{FF2B5EF4-FFF2-40B4-BE49-F238E27FC236}">
                  <a16:creationId xmlns:a16="http://schemas.microsoft.com/office/drawing/2014/main" id="{2129237C-AEF0-484E-820F-EDE65FAF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3605"/>
              <a:ext cx="187" cy="41"/>
            </a:xfrm>
            <a:custGeom>
              <a:avLst/>
              <a:gdLst>
                <a:gd name="T0" fmla="*/ 0 w 79"/>
                <a:gd name="T1" fmla="*/ 0 h 17"/>
                <a:gd name="T2" fmla="*/ 3 w 79"/>
                <a:gd name="T3" fmla="*/ 2 h 17"/>
                <a:gd name="T4" fmla="*/ 11 w 79"/>
                <a:gd name="T5" fmla="*/ 5 h 17"/>
                <a:gd name="T6" fmla="*/ 38 w 79"/>
                <a:gd name="T7" fmla="*/ 13 h 17"/>
                <a:gd name="T8" fmla="*/ 67 w 79"/>
                <a:gd name="T9" fmla="*/ 17 h 17"/>
                <a:gd name="T10" fmla="*/ 75 w 79"/>
                <a:gd name="T11" fmla="*/ 17 h 17"/>
                <a:gd name="T12" fmla="*/ 79 w 79"/>
                <a:gd name="T13" fmla="*/ 17 h 17"/>
                <a:gd name="T14" fmla="*/ 67 w 79"/>
                <a:gd name="T15" fmla="*/ 16 h 17"/>
                <a:gd name="T16" fmla="*/ 39 w 79"/>
                <a:gd name="T17" fmla="*/ 11 h 17"/>
                <a:gd name="T18" fmla="*/ 11 w 79"/>
                <a:gd name="T19" fmla="*/ 4 h 17"/>
                <a:gd name="T20" fmla="*/ 0 w 7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17">
                  <a:moveTo>
                    <a:pt x="0" y="0"/>
                  </a:moveTo>
                  <a:cubicBezTo>
                    <a:pt x="0" y="0"/>
                    <a:pt x="1" y="1"/>
                    <a:pt x="3" y="2"/>
                  </a:cubicBezTo>
                  <a:cubicBezTo>
                    <a:pt x="5" y="3"/>
                    <a:pt x="7" y="4"/>
                    <a:pt x="11" y="5"/>
                  </a:cubicBezTo>
                  <a:cubicBezTo>
                    <a:pt x="18" y="8"/>
                    <a:pt x="27" y="11"/>
                    <a:pt x="38" y="13"/>
                  </a:cubicBezTo>
                  <a:cubicBezTo>
                    <a:pt x="49" y="15"/>
                    <a:pt x="59" y="17"/>
                    <a:pt x="67" y="17"/>
                  </a:cubicBezTo>
                  <a:cubicBezTo>
                    <a:pt x="70" y="17"/>
                    <a:pt x="73" y="17"/>
                    <a:pt x="75" y="17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79" y="17"/>
                    <a:pt x="74" y="17"/>
                    <a:pt x="67" y="16"/>
                  </a:cubicBezTo>
                  <a:cubicBezTo>
                    <a:pt x="60" y="15"/>
                    <a:pt x="50" y="14"/>
                    <a:pt x="39" y="11"/>
                  </a:cubicBezTo>
                  <a:cubicBezTo>
                    <a:pt x="28" y="9"/>
                    <a:pt x="18" y="6"/>
                    <a:pt x="11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4" name="Freeform 115">
              <a:extLst>
                <a:ext uri="{FF2B5EF4-FFF2-40B4-BE49-F238E27FC236}">
                  <a16:creationId xmlns:a16="http://schemas.microsoft.com/office/drawing/2014/main" id="{58FF6959-4452-44F8-ADA8-5271D08C0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3242"/>
              <a:ext cx="644" cy="501"/>
            </a:xfrm>
            <a:custGeom>
              <a:avLst/>
              <a:gdLst>
                <a:gd name="T0" fmla="*/ 1 w 271"/>
                <a:gd name="T1" fmla="*/ 1 h 211"/>
                <a:gd name="T2" fmla="*/ 135 w 271"/>
                <a:gd name="T3" fmla="*/ 106 h 211"/>
                <a:gd name="T4" fmla="*/ 270 w 271"/>
                <a:gd name="T5" fmla="*/ 210 h 211"/>
                <a:gd name="T6" fmla="*/ 136 w 271"/>
                <a:gd name="T7" fmla="*/ 105 h 211"/>
                <a:gd name="T8" fmla="*/ 1 w 271"/>
                <a:gd name="T9" fmla="*/ 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11">
                  <a:moveTo>
                    <a:pt x="1" y="1"/>
                  </a:moveTo>
                  <a:cubicBezTo>
                    <a:pt x="0" y="1"/>
                    <a:pt x="60" y="48"/>
                    <a:pt x="135" y="106"/>
                  </a:cubicBezTo>
                  <a:cubicBezTo>
                    <a:pt x="209" y="164"/>
                    <a:pt x="270" y="211"/>
                    <a:pt x="270" y="210"/>
                  </a:cubicBezTo>
                  <a:cubicBezTo>
                    <a:pt x="271" y="210"/>
                    <a:pt x="211" y="163"/>
                    <a:pt x="136" y="105"/>
                  </a:cubicBezTo>
                  <a:cubicBezTo>
                    <a:pt x="62" y="47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5" name="Freeform 116">
              <a:extLst>
                <a:ext uri="{FF2B5EF4-FFF2-40B4-BE49-F238E27FC236}">
                  <a16:creationId xmlns:a16="http://schemas.microsoft.com/office/drawing/2014/main" id="{81F938E8-9E01-44AB-BEB2-345E94599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3722"/>
              <a:ext cx="494" cy="228"/>
            </a:xfrm>
            <a:custGeom>
              <a:avLst/>
              <a:gdLst>
                <a:gd name="T0" fmla="*/ 19 w 208"/>
                <a:gd name="T1" fmla="*/ 32 h 96"/>
                <a:gd name="T2" fmla="*/ 60 w 208"/>
                <a:gd name="T3" fmla="*/ 34 h 96"/>
                <a:gd name="T4" fmla="*/ 87 w 208"/>
                <a:gd name="T5" fmla="*/ 39 h 96"/>
                <a:gd name="T6" fmla="*/ 102 w 208"/>
                <a:gd name="T7" fmla="*/ 28 h 96"/>
                <a:gd name="T8" fmla="*/ 175 w 208"/>
                <a:gd name="T9" fmla="*/ 1 h 96"/>
                <a:gd name="T10" fmla="*/ 195 w 208"/>
                <a:gd name="T11" fmla="*/ 10 h 96"/>
                <a:gd name="T12" fmla="*/ 186 w 208"/>
                <a:gd name="T13" fmla="*/ 56 h 96"/>
                <a:gd name="T14" fmla="*/ 107 w 208"/>
                <a:gd name="T15" fmla="*/ 94 h 96"/>
                <a:gd name="T16" fmla="*/ 24 w 208"/>
                <a:gd name="T17" fmla="*/ 82 h 96"/>
                <a:gd name="T18" fmla="*/ 9 w 208"/>
                <a:gd name="T19" fmla="*/ 43 h 96"/>
                <a:gd name="T20" fmla="*/ 19 w 208"/>
                <a:gd name="T21" fmla="*/ 3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" h="96">
                  <a:moveTo>
                    <a:pt x="19" y="32"/>
                  </a:moveTo>
                  <a:cubicBezTo>
                    <a:pt x="32" y="25"/>
                    <a:pt x="47" y="29"/>
                    <a:pt x="60" y="34"/>
                  </a:cubicBezTo>
                  <a:cubicBezTo>
                    <a:pt x="69" y="37"/>
                    <a:pt x="78" y="41"/>
                    <a:pt x="87" y="39"/>
                  </a:cubicBezTo>
                  <a:cubicBezTo>
                    <a:pt x="93" y="37"/>
                    <a:pt x="98" y="32"/>
                    <a:pt x="102" y="28"/>
                  </a:cubicBezTo>
                  <a:cubicBezTo>
                    <a:pt x="122" y="10"/>
                    <a:pt x="149" y="0"/>
                    <a:pt x="175" y="1"/>
                  </a:cubicBezTo>
                  <a:cubicBezTo>
                    <a:pt x="183" y="2"/>
                    <a:pt x="190" y="5"/>
                    <a:pt x="195" y="10"/>
                  </a:cubicBezTo>
                  <a:cubicBezTo>
                    <a:pt x="208" y="25"/>
                    <a:pt x="198" y="44"/>
                    <a:pt x="186" y="56"/>
                  </a:cubicBezTo>
                  <a:cubicBezTo>
                    <a:pt x="165" y="77"/>
                    <a:pt x="137" y="91"/>
                    <a:pt x="107" y="94"/>
                  </a:cubicBezTo>
                  <a:cubicBezTo>
                    <a:pt x="83" y="96"/>
                    <a:pt x="49" y="93"/>
                    <a:pt x="24" y="82"/>
                  </a:cubicBezTo>
                  <a:cubicBezTo>
                    <a:pt x="8" y="76"/>
                    <a:pt x="0" y="57"/>
                    <a:pt x="9" y="43"/>
                  </a:cubicBezTo>
                  <a:cubicBezTo>
                    <a:pt x="11" y="38"/>
                    <a:pt x="14" y="35"/>
                    <a:pt x="19" y="3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6" name="Freeform 117">
              <a:extLst>
                <a:ext uri="{FF2B5EF4-FFF2-40B4-BE49-F238E27FC236}">
                  <a16:creationId xmlns:a16="http://schemas.microsoft.com/office/drawing/2014/main" id="{F6B54FAA-A712-4336-835B-FD119919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3867"/>
              <a:ext cx="218" cy="78"/>
            </a:xfrm>
            <a:custGeom>
              <a:avLst/>
              <a:gdLst>
                <a:gd name="T0" fmla="*/ 92 w 92"/>
                <a:gd name="T1" fmla="*/ 0 h 33"/>
                <a:gd name="T2" fmla="*/ 92 w 92"/>
                <a:gd name="T3" fmla="*/ 0 h 33"/>
                <a:gd name="T4" fmla="*/ 18 w 92"/>
                <a:gd name="T5" fmla="*/ 33 h 33"/>
                <a:gd name="T6" fmla="*/ 2 w 92"/>
                <a:gd name="T7" fmla="*/ 33 h 33"/>
                <a:gd name="T8" fmla="*/ 0 w 92"/>
                <a:gd name="T9" fmla="*/ 33 h 33"/>
                <a:gd name="T10" fmla="*/ 2 w 92"/>
                <a:gd name="T11" fmla="*/ 33 h 33"/>
                <a:gd name="T12" fmla="*/ 18 w 92"/>
                <a:gd name="T13" fmla="*/ 33 h 33"/>
                <a:gd name="T14" fmla="*/ 92 w 92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33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72" y="18"/>
                    <a:pt x="46" y="30"/>
                    <a:pt x="18" y="33"/>
                  </a:cubicBezTo>
                  <a:cubicBezTo>
                    <a:pt x="13" y="33"/>
                    <a:pt x="8" y="33"/>
                    <a:pt x="2" y="33"/>
                  </a:cubicBezTo>
                  <a:cubicBezTo>
                    <a:pt x="1" y="33"/>
                    <a:pt x="1" y="33"/>
                    <a:pt x="0" y="33"/>
                  </a:cubicBezTo>
                  <a:cubicBezTo>
                    <a:pt x="1" y="33"/>
                    <a:pt x="1" y="33"/>
                    <a:pt x="2" y="33"/>
                  </a:cubicBezTo>
                  <a:cubicBezTo>
                    <a:pt x="8" y="33"/>
                    <a:pt x="13" y="33"/>
                    <a:pt x="18" y="33"/>
                  </a:cubicBezTo>
                  <a:cubicBezTo>
                    <a:pt x="46" y="30"/>
                    <a:pt x="72" y="18"/>
                    <a:pt x="92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7" name="Freeform 118">
              <a:extLst>
                <a:ext uri="{FF2B5EF4-FFF2-40B4-BE49-F238E27FC236}">
                  <a16:creationId xmlns:a16="http://schemas.microsoft.com/office/drawing/2014/main" id="{9C682D85-A0D4-4DD9-9405-7E69145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3864"/>
              <a:ext cx="3" cy="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8" name="Freeform 119">
              <a:extLst>
                <a:ext uri="{FF2B5EF4-FFF2-40B4-BE49-F238E27FC236}">
                  <a16:creationId xmlns:a16="http://schemas.microsoft.com/office/drawing/2014/main" id="{C6119B77-551C-4A93-A9A1-1E179F795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855"/>
              <a:ext cx="9" cy="9"/>
            </a:xfrm>
            <a:custGeom>
              <a:avLst/>
              <a:gdLst>
                <a:gd name="T0" fmla="*/ 4 w 4"/>
                <a:gd name="T1" fmla="*/ 0 h 4"/>
                <a:gd name="T2" fmla="*/ 0 w 4"/>
                <a:gd name="T3" fmla="*/ 4 h 4"/>
                <a:gd name="T4" fmla="*/ 0 w 4"/>
                <a:gd name="T5" fmla="*/ 4 h 4"/>
                <a:gd name="T6" fmla="*/ 4 w 4"/>
                <a:gd name="T7" fmla="*/ 0 h 4"/>
                <a:gd name="T8" fmla="*/ 4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9" name="Freeform 120">
              <a:extLst>
                <a:ext uri="{FF2B5EF4-FFF2-40B4-BE49-F238E27FC236}">
                  <a16:creationId xmlns:a16="http://schemas.microsoft.com/office/drawing/2014/main" id="{F1772C98-DF03-4909-B4B8-0C5F957B5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4" y="3814"/>
              <a:ext cx="29" cy="41"/>
            </a:xfrm>
            <a:custGeom>
              <a:avLst/>
              <a:gdLst>
                <a:gd name="T0" fmla="*/ 0 w 12"/>
                <a:gd name="T1" fmla="*/ 17 h 17"/>
                <a:gd name="T2" fmla="*/ 0 w 12"/>
                <a:gd name="T3" fmla="*/ 17 h 17"/>
                <a:gd name="T4" fmla="*/ 0 w 12"/>
                <a:gd name="T5" fmla="*/ 17 h 17"/>
                <a:gd name="T6" fmla="*/ 0 w 12"/>
                <a:gd name="T7" fmla="*/ 17 h 17"/>
                <a:gd name="T8" fmla="*/ 0 w 12"/>
                <a:gd name="T9" fmla="*/ 17 h 17"/>
                <a:gd name="T10" fmla="*/ 12 w 12"/>
                <a:gd name="T11" fmla="*/ 0 h 17"/>
                <a:gd name="T12" fmla="*/ 1 w 12"/>
                <a:gd name="T13" fmla="*/ 16 h 17"/>
                <a:gd name="T14" fmla="*/ 1 w 12"/>
                <a:gd name="T15" fmla="*/ 16 h 17"/>
                <a:gd name="T16" fmla="*/ 12 w 12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12" y="0"/>
                  </a:moveTo>
                  <a:cubicBezTo>
                    <a:pt x="9" y="6"/>
                    <a:pt x="5" y="11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5" y="11"/>
                    <a:pt x="9" y="6"/>
                    <a:pt x="12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0" name="Freeform 121">
              <a:extLst>
                <a:ext uri="{FF2B5EF4-FFF2-40B4-BE49-F238E27FC236}">
                  <a16:creationId xmlns:a16="http://schemas.microsoft.com/office/drawing/2014/main" id="{0EE53B0E-25D0-4A7E-B521-65B5AB1B8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852"/>
              <a:ext cx="2" cy="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1 w 1"/>
                <a:gd name="T11" fmla="*/ 0 h 1"/>
                <a:gd name="T12" fmla="*/ 1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936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1" name="Freeform 122">
              <a:extLst>
                <a:ext uri="{FF2B5EF4-FFF2-40B4-BE49-F238E27FC236}">
                  <a16:creationId xmlns:a16="http://schemas.microsoft.com/office/drawing/2014/main" id="{1DD16B04-6287-4412-BD19-0267964D6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3"/>
              <a:ext cx="463" cy="192"/>
            </a:xfrm>
            <a:custGeom>
              <a:avLst/>
              <a:gdLst>
                <a:gd name="T0" fmla="*/ 163 w 195"/>
                <a:gd name="T1" fmla="*/ 0 h 81"/>
                <a:gd name="T2" fmla="*/ 96 w 195"/>
                <a:gd name="T3" fmla="*/ 26 h 81"/>
                <a:gd name="T4" fmla="*/ 81 w 195"/>
                <a:gd name="T5" fmla="*/ 37 h 81"/>
                <a:gd name="T6" fmla="*/ 75 w 195"/>
                <a:gd name="T7" fmla="*/ 38 h 81"/>
                <a:gd name="T8" fmla="*/ 54 w 195"/>
                <a:gd name="T9" fmla="*/ 32 h 81"/>
                <a:gd name="T10" fmla="*/ 29 w 195"/>
                <a:gd name="T11" fmla="*/ 27 h 81"/>
                <a:gd name="T12" fmla="*/ 13 w 195"/>
                <a:gd name="T13" fmla="*/ 31 h 81"/>
                <a:gd name="T14" fmla="*/ 3 w 195"/>
                <a:gd name="T15" fmla="*/ 41 h 81"/>
                <a:gd name="T16" fmla="*/ 0 w 195"/>
                <a:gd name="T17" fmla="*/ 48 h 81"/>
                <a:gd name="T18" fmla="*/ 18 w 195"/>
                <a:gd name="T19" fmla="*/ 69 h 81"/>
                <a:gd name="T20" fmla="*/ 83 w 195"/>
                <a:gd name="T21" fmla="*/ 81 h 81"/>
                <a:gd name="T22" fmla="*/ 85 w 195"/>
                <a:gd name="T23" fmla="*/ 81 h 81"/>
                <a:gd name="T24" fmla="*/ 101 w 195"/>
                <a:gd name="T25" fmla="*/ 81 h 81"/>
                <a:gd name="T26" fmla="*/ 175 w 195"/>
                <a:gd name="T27" fmla="*/ 48 h 81"/>
                <a:gd name="T28" fmla="*/ 176 w 195"/>
                <a:gd name="T29" fmla="*/ 47 h 81"/>
                <a:gd name="T30" fmla="*/ 176 w 195"/>
                <a:gd name="T31" fmla="*/ 47 h 81"/>
                <a:gd name="T32" fmla="*/ 180 w 195"/>
                <a:gd name="T33" fmla="*/ 43 h 81"/>
                <a:gd name="T34" fmla="*/ 180 w 195"/>
                <a:gd name="T35" fmla="*/ 43 h 81"/>
                <a:gd name="T36" fmla="*/ 180 w 195"/>
                <a:gd name="T37" fmla="*/ 43 h 81"/>
                <a:gd name="T38" fmla="*/ 181 w 195"/>
                <a:gd name="T39" fmla="*/ 42 h 81"/>
                <a:gd name="T40" fmla="*/ 192 w 195"/>
                <a:gd name="T41" fmla="*/ 26 h 81"/>
                <a:gd name="T42" fmla="*/ 195 w 195"/>
                <a:gd name="T43" fmla="*/ 19 h 81"/>
                <a:gd name="T44" fmla="*/ 189 w 195"/>
                <a:gd name="T45" fmla="*/ 9 h 81"/>
                <a:gd name="T46" fmla="*/ 169 w 195"/>
                <a:gd name="T47" fmla="*/ 0 h 81"/>
                <a:gd name="T48" fmla="*/ 163 w 195"/>
                <a:gd name="T4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81">
                  <a:moveTo>
                    <a:pt x="163" y="0"/>
                  </a:moveTo>
                  <a:cubicBezTo>
                    <a:pt x="139" y="0"/>
                    <a:pt x="114" y="9"/>
                    <a:pt x="96" y="26"/>
                  </a:cubicBezTo>
                  <a:cubicBezTo>
                    <a:pt x="92" y="30"/>
                    <a:pt x="87" y="36"/>
                    <a:pt x="81" y="37"/>
                  </a:cubicBezTo>
                  <a:cubicBezTo>
                    <a:pt x="79" y="38"/>
                    <a:pt x="77" y="38"/>
                    <a:pt x="75" y="38"/>
                  </a:cubicBezTo>
                  <a:cubicBezTo>
                    <a:pt x="68" y="38"/>
                    <a:pt x="61" y="35"/>
                    <a:pt x="54" y="32"/>
                  </a:cubicBezTo>
                  <a:cubicBezTo>
                    <a:pt x="46" y="30"/>
                    <a:pt x="38" y="27"/>
                    <a:pt x="29" y="27"/>
                  </a:cubicBezTo>
                  <a:cubicBezTo>
                    <a:pt x="24" y="27"/>
                    <a:pt x="18" y="28"/>
                    <a:pt x="13" y="31"/>
                  </a:cubicBezTo>
                  <a:cubicBezTo>
                    <a:pt x="8" y="33"/>
                    <a:pt x="5" y="37"/>
                    <a:pt x="3" y="41"/>
                  </a:cubicBezTo>
                  <a:cubicBezTo>
                    <a:pt x="1" y="43"/>
                    <a:pt x="1" y="46"/>
                    <a:pt x="0" y="48"/>
                  </a:cubicBezTo>
                  <a:cubicBezTo>
                    <a:pt x="2" y="57"/>
                    <a:pt x="9" y="65"/>
                    <a:pt x="18" y="69"/>
                  </a:cubicBezTo>
                  <a:cubicBezTo>
                    <a:pt x="37" y="77"/>
                    <a:pt x="62" y="81"/>
                    <a:pt x="83" y="81"/>
                  </a:cubicBezTo>
                  <a:cubicBezTo>
                    <a:pt x="84" y="81"/>
                    <a:pt x="84" y="81"/>
                    <a:pt x="85" y="81"/>
                  </a:cubicBezTo>
                  <a:cubicBezTo>
                    <a:pt x="91" y="81"/>
                    <a:pt x="96" y="81"/>
                    <a:pt x="101" y="81"/>
                  </a:cubicBezTo>
                  <a:cubicBezTo>
                    <a:pt x="129" y="78"/>
                    <a:pt x="155" y="66"/>
                    <a:pt x="175" y="48"/>
                  </a:cubicBezTo>
                  <a:cubicBezTo>
                    <a:pt x="175" y="47"/>
                    <a:pt x="176" y="47"/>
                    <a:pt x="176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7" y="46"/>
                    <a:pt x="179" y="44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5" y="37"/>
                    <a:pt x="189" y="32"/>
                    <a:pt x="192" y="26"/>
                  </a:cubicBezTo>
                  <a:cubicBezTo>
                    <a:pt x="193" y="24"/>
                    <a:pt x="194" y="21"/>
                    <a:pt x="195" y="19"/>
                  </a:cubicBezTo>
                  <a:cubicBezTo>
                    <a:pt x="194" y="16"/>
                    <a:pt x="192" y="12"/>
                    <a:pt x="189" y="9"/>
                  </a:cubicBezTo>
                  <a:cubicBezTo>
                    <a:pt x="184" y="3"/>
                    <a:pt x="177" y="0"/>
                    <a:pt x="169" y="0"/>
                  </a:cubicBezTo>
                  <a:cubicBezTo>
                    <a:pt x="167" y="0"/>
                    <a:pt x="165" y="0"/>
                    <a:pt x="163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2" name="Freeform 123">
              <a:extLst>
                <a:ext uri="{FF2B5EF4-FFF2-40B4-BE49-F238E27FC236}">
                  <a16:creationId xmlns:a16="http://schemas.microsoft.com/office/drawing/2014/main" id="{E16379F6-4E9C-49ED-B6BE-4A248DD56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3" name="Freeform 124">
              <a:extLst>
                <a:ext uri="{FF2B5EF4-FFF2-40B4-BE49-F238E27FC236}">
                  <a16:creationId xmlns:a16="http://schemas.microsoft.com/office/drawing/2014/main" id="{6DCB03A0-140B-4391-A031-C4B14E474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4" name="Freeform 125">
              <a:extLst>
                <a:ext uri="{FF2B5EF4-FFF2-40B4-BE49-F238E27FC236}">
                  <a16:creationId xmlns:a16="http://schemas.microsoft.com/office/drawing/2014/main" id="{1BA606C0-E1A0-4E36-9D2D-AD2764D07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" y="3800"/>
              <a:ext cx="121" cy="60"/>
            </a:xfrm>
            <a:custGeom>
              <a:avLst/>
              <a:gdLst>
                <a:gd name="T0" fmla="*/ 51 w 51"/>
                <a:gd name="T1" fmla="*/ 25 h 25"/>
                <a:gd name="T2" fmla="*/ 44 w 51"/>
                <a:gd name="T3" fmla="*/ 20 h 25"/>
                <a:gd name="T4" fmla="*/ 26 w 51"/>
                <a:gd name="T5" fmla="*/ 10 h 25"/>
                <a:gd name="T6" fmla="*/ 8 w 51"/>
                <a:gd name="T7" fmla="*/ 3 h 25"/>
                <a:gd name="T8" fmla="*/ 0 w 51"/>
                <a:gd name="T9" fmla="*/ 0 h 25"/>
                <a:gd name="T10" fmla="*/ 7 w 51"/>
                <a:gd name="T11" fmla="*/ 4 h 25"/>
                <a:gd name="T12" fmla="*/ 26 w 51"/>
                <a:gd name="T13" fmla="*/ 12 h 25"/>
                <a:gd name="T14" fmla="*/ 44 w 51"/>
                <a:gd name="T15" fmla="*/ 21 h 25"/>
                <a:gd name="T16" fmla="*/ 51 w 51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5">
                  <a:moveTo>
                    <a:pt x="51" y="25"/>
                  </a:moveTo>
                  <a:cubicBezTo>
                    <a:pt x="51" y="24"/>
                    <a:pt x="49" y="23"/>
                    <a:pt x="44" y="20"/>
                  </a:cubicBezTo>
                  <a:cubicBezTo>
                    <a:pt x="40" y="17"/>
                    <a:pt x="34" y="14"/>
                    <a:pt x="26" y="10"/>
                  </a:cubicBezTo>
                  <a:cubicBezTo>
                    <a:pt x="19" y="7"/>
                    <a:pt x="13" y="4"/>
                    <a:pt x="8" y="3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1"/>
                    <a:pt x="3" y="2"/>
                    <a:pt x="7" y="4"/>
                  </a:cubicBezTo>
                  <a:cubicBezTo>
                    <a:pt x="12" y="6"/>
                    <a:pt x="19" y="9"/>
                    <a:pt x="26" y="12"/>
                  </a:cubicBezTo>
                  <a:cubicBezTo>
                    <a:pt x="33" y="15"/>
                    <a:pt x="39" y="19"/>
                    <a:pt x="44" y="21"/>
                  </a:cubicBezTo>
                  <a:cubicBezTo>
                    <a:pt x="48" y="23"/>
                    <a:pt x="51" y="25"/>
                    <a:pt x="51" y="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5" name="Freeform 126">
              <a:extLst>
                <a:ext uri="{FF2B5EF4-FFF2-40B4-BE49-F238E27FC236}">
                  <a16:creationId xmlns:a16="http://schemas.microsoft.com/office/drawing/2014/main" id="{DA5F7E98-41F2-4821-A575-428A73EA1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" y="3829"/>
              <a:ext cx="128" cy="64"/>
            </a:xfrm>
            <a:custGeom>
              <a:avLst/>
              <a:gdLst>
                <a:gd name="T0" fmla="*/ 54 w 54"/>
                <a:gd name="T1" fmla="*/ 26 h 27"/>
                <a:gd name="T2" fmla="*/ 27 w 54"/>
                <a:gd name="T3" fmla="*/ 12 h 27"/>
                <a:gd name="T4" fmla="*/ 0 w 54"/>
                <a:gd name="T5" fmla="*/ 0 h 27"/>
                <a:gd name="T6" fmla="*/ 27 w 54"/>
                <a:gd name="T7" fmla="*/ 14 h 27"/>
                <a:gd name="T8" fmla="*/ 54 w 5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7">
                  <a:moveTo>
                    <a:pt x="54" y="26"/>
                  </a:moveTo>
                  <a:cubicBezTo>
                    <a:pt x="54" y="26"/>
                    <a:pt x="42" y="20"/>
                    <a:pt x="27" y="12"/>
                  </a:cubicBezTo>
                  <a:cubicBezTo>
                    <a:pt x="13" y="5"/>
                    <a:pt x="0" y="0"/>
                    <a:pt x="0" y="0"/>
                  </a:cubicBezTo>
                  <a:cubicBezTo>
                    <a:pt x="0" y="1"/>
                    <a:pt x="12" y="7"/>
                    <a:pt x="27" y="14"/>
                  </a:cubicBezTo>
                  <a:cubicBezTo>
                    <a:pt x="41" y="21"/>
                    <a:pt x="53" y="27"/>
                    <a:pt x="5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6" name="Freeform 127">
              <a:extLst>
                <a:ext uri="{FF2B5EF4-FFF2-40B4-BE49-F238E27FC236}">
                  <a16:creationId xmlns:a16="http://schemas.microsoft.com/office/drawing/2014/main" id="{720B5F11-F25C-4B9F-BCC0-EBE028B7A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3810"/>
              <a:ext cx="149" cy="95"/>
            </a:xfrm>
            <a:custGeom>
              <a:avLst/>
              <a:gdLst>
                <a:gd name="T0" fmla="*/ 0 w 63"/>
                <a:gd name="T1" fmla="*/ 40 h 40"/>
                <a:gd name="T2" fmla="*/ 32 w 63"/>
                <a:gd name="T3" fmla="*/ 21 h 40"/>
                <a:gd name="T4" fmla="*/ 63 w 63"/>
                <a:gd name="T5" fmla="*/ 0 h 40"/>
                <a:gd name="T6" fmla="*/ 31 w 63"/>
                <a:gd name="T7" fmla="*/ 19 h 40"/>
                <a:gd name="T8" fmla="*/ 0 w 63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0">
                  <a:moveTo>
                    <a:pt x="0" y="40"/>
                  </a:moveTo>
                  <a:cubicBezTo>
                    <a:pt x="0" y="40"/>
                    <a:pt x="14" y="32"/>
                    <a:pt x="32" y="21"/>
                  </a:cubicBezTo>
                  <a:cubicBezTo>
                    <a:pt x="49" y="10"/>
                    <a:pt x="63" y="1"/>
                    <a:pt x="63" y="0"/>
                  </a:cubicBezTo>
                  <a:cubicBezTo>
                    <a:pt x="63" y="0"/>
                    <a:pt x="48" y="8"/>
                    <a:pt x="31" y="19"/>
                  </a:cubicBezTo>
                  <a:cubicBezTo>
                    <a:pt x="13" y="30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7" name="Freeform 128">
              <a:extLst>
                <a:ext uri="{FF2B5EF4-FFF2-40B4-BE49-F238E27FC236}">
                  <a16:creationId xmlns:a16="http://schemas.microsoft.com/office/drawing/2014/main" id="{E0AD1C1C-1896-4B74-BF8D-66804B79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3793"/>
              <a:ext cx="111" cy="78"/>
            </a:xfrm>
            <a:custGeom>
              <a:avLst/>
              <a:gdLst>
                <a:gd name="T0" fmla="*/ 0 w 47"/>
                <a:gd name="T1" fmla="*/ 33 h 33"/>
                <a:gd name="T2" fmla="*/ 7 w 47"/>
                <a:gd name="T3" fmla="*/ 28 h 33"/>
                <a:gd name="T4" fmla="*/ 23 w 47"/>
                <a:gd name="T5" fmla="*/ 17 h 33"/>
                <a:gd name="T6" fmla="*/ 40 w 47"/>
                <a:gd name="T7" fmla="*/ 5 h 33"/>
                <a:gd name="T8" fmla="*/ 47 w 47"/>
                <a:gd name="T9" fmla="*/ 0 h 33"/>
                <a:gd name="T10" fmla="*/ 39 w 47"/>
                <a:gd name="T11" fmla="*/ 4 h 33"/>
                <a:gd name="T12" fmla="*/ 22 w 47"/>
                <a:gd name="T13" fmla="*/ 15 h 33"/>
                <a:gd name="T14" fmla="*/ 6 w 47"/>
                <a:gd name="T15" fmla="*/ 27 h 33"/>
                <a:gd name="T16" fmla="*/ 0 w 47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3">
                  <a:moveTo>
                    <a:pt x="0" y="33"/>
                  </a:moveTo>
                  <a:cubicBezTo>
                    <a:pt x="0" y="33"/>
                    <a:pt x="2" y="31"/>
                    <a:pt x="7" y="28"/>
                  </a:cubicBezTo>
                  <a:cubicBezTo>
                    <a:pt x="11" y="25"/>
                    <a:pt x="17" y="21"/>
                    <a:pt x="23" y="17"/>
                  </a:cubicBezTo>
                  <a:cubicBezTo>
                    <a:pt x="30" y="12"/>
                    <a:pt x="36" y="8"/>
                    <a:pt x="40" y="5"/>
                  </a:cubicBezTo>
                  <a:cubicBezTo>
                    <a:pt x="44" y="2"/>
                    <a:pt x="47" y="0"/>
                    <a:pt x="47" y="0"/>
                  </a:cubicBezTo>
                  <a:cubicBezTo>
                    <a:pt x="47" y="0"/>
                    <a:pt x="44" y="1"/>
                    <a:pt x="39" y="4"/>
                  </a:cubicBezTo>
                  <a:cubicBezTo>
                    <a:pt x="35" y="7"/>
                    <a:pt x="29" y="11"/>
                    <a:pt x="22" y="15"/>
                  </a:cubicBezTo>
                  <a:cubicBezTo>
                    <a:pt x="16" y="20"/>
                    <a:pt x="10" y="24"/>
                    <a:pt x="6" y="27"/>
                  </a:cubicBezTo>
                  <a:cubicBezTo>
                    <a:pt x="2" y="31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8" name="Freeform 129">
              <a:extLst>
                <a:ext uri="{FF2B5EF4-FFF2-40B4-BE49-F238E27FC236}">
                  <a16:creationId xmlns:a16="http://schemas.microsoft.com/office/drawing/2014/main" id="{E579E627-0D2D-4132-A013-A14AB7F88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1565"/>
              <a:ext cx="231" cy="523"/>
            </a:xfrm>
            <a:custGeom>
              <a:avLst/>
              <a:gdLst>
                <a:gd name="T0" fmla="*/ 19 w 97"/>
                <a:gd name="T1" fmla="*/ 63 h 220"/>
                <a:gd name="T2" fmla="*/ 4 w 97"/>
                <a:gd name="T3" fmla="*/ 115 h 220"/>
                <a:gd name="T4" fmla="*/ 21 w 97"/>
                <a:gd name="T5" fmla="*/ 169 h 220"/>
                <a:gd name="T6" fmla="*/ 25 w 97"/>
                <a:gd name="T7" fmla="*/ 201 h 220"/>
                <a:gd name="T8" fmla="*/ 49 w 97"/>
                <a:gd name="T9" fmla="*/ 217 h 220"/>
                <a:gd name="T10" fmla="*/ 64 w 97"/>
                <a:gd name="T11" fmla="*/ 198 h 220"/>
                <a:gd name="T12" fmla="*/ 63 w 97"/>
                <a:gd name="T13" fmla="*/ 171 h 220"/>
                <a:gd name="T14" fmla="*/ 68 w 97"/>
                <a:gd name="T15" fmla="*/ 132 h 220"/>
                <a:gd name="T16" fmla="*/ 83 w 97"/>
                <a:gd name="T17" fmla="*/ 94 h 220"/>
                <a:gd name="T18" fmla="*/ 94 w 97"/>
                <a:gd name="T19" fmla="*/ 42 h 220"/>
                <a:gd name="T20" fmla="*/ 92 w 97"/>
                <a:gd name="T21" fmla="*/ 14 h 220"/>
                <a:gd name="T22" fmla="*/ 65 w 97"/>
                <a:gd name="T23" fmla="*/ 1 h 220"/>
                <a:gd name="T24" fmla="*/ 37 w 97"/>
                <a:gd name="T25" fmla="*/ 16 h 220"/>
                <a:gd name="T26" fmla="*/ 18 w 97"/>
                <a:gd name="T27" fmla="*/ 6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220">
                  <a:moveTo>
                    <a:pt x="19" y="63"/>
                  </a:moveTo>
                  <a:cubicBezTo>
                    <a:pt x="3" y="73"/>
                    <a:pt x="0" y="96"/>
                    <a:pt x="4" y="115"/>
                  </a:cubicBezTo>
                  <a:cubicBezTo>
                    <a:pt x="9" y="133"/>
                    <a:pt x="18" y="150"/>
                    <a:pt x="21" y="169"/>
                  </a:cubicBezTo>
                  <a:cubicBezTo>
                    <a:pt x="22" y="180"/>
                    <a:pt x="22" y="191"/>
                    <a:pt x="25" y="201"/>
                  </a:cubicBezTo>
                  <a:cubicBezTo>
                    <a:pt x="29" y="211"/>
                    <a:pt x="39" y="220"/>
                    <a:pt x="49" y="217"/>
                  </a:cubicBezTo>
                  <a:cubicBezTo>
                    <a:pt x="58" y="216"/>
                    <a:pt x="63" y="207"/>
                    <a:pt x="64" y="198"/>
                  </a:cubicBezTo>
                  <a:cubicBezTo>
                    <a:pt x="66" y="189"/>
                    <a:pt x="64" y="180"/>
                    <a:pt x="63" y="171"/>
                  </a:cubicBezTo>
                  <a:cubicBezTo>
                    <a:pt x="62" y="158"/>
                    <a:pt x="64" y="144"/>
                    <a:pt x="68" y="132"/>
                  </a:cubicBezTo>
                  <a:cubicBezTo>
                    <a:pt x="72" y="119"/>
                    <a:pt x="79" y="107"/>
                    <a:pt x="83" y="94"/>
                  </a:cubicBezTo>
                  <a:cubicBezTo>
                    <a:pt x="89" y="78"/>
                    <a:pt x="92" y="60"/>
                    <a:pt x="94" y="42"/>
                  </a:cubicBezTo>
                  <a:cubicBezTo>
                    <a:pt x="95" y="33"/>
                    <a:pt x="97" y="23"/>
                    <a:pt x="92" y="14"/>
                  </a:cubicBezTo>
                  <a:cubicBezTo>
                    <a:pt x="87" y="5"/>
                    <a:pt x="76" y="0"/>
                    <a:pt x="65" y="1"/>
                  </a:cubicBezTo>
                  <a:cubicBezTo>
                    <a:pt x="54" y="2"/>
                    <a:pt x="44" y="8"/>
                    <a:pt x="37" y="16"/>
                  </a:cubicBezTo>
                  <a:cubicBezTo>
                    <a:pt x="24" y="29"/>
                    <a:pt x="17" y="48"/>
                    <a:pt x="18" y="6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9" name="Freeform 130">
              <a:extLst>
                <a:ext uri="{FF2B5EF4-FFF2-40B4-BE49-F238E27FC236}">
                  <a16:creationId xmlns:a16="http://schemas.microsoft.com/office/drawing/2014/main" id="{1D136C6C-CDB0-402F-AB70-E3A0F6AFA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4" y="2021"/>
              <a:ext cx="150" cy="150"/>
            </a:xfrm>
            <a:custGeom>
              <a:avLst/>
              <a:gdLst>
                <a:gd name="T0" fmla="*/ 52 w 63"/>
                <a:gd name="T1" fmla="*/ 26 h 63"/>
                <a:gd name="T2" fmla="*/ 34 w 63"/>
                <a:gd name="T3" fmla="*/ 13 h 63"/>
                <a:gd name="T4" fmla="*/ 19 w 63"/>
                <a:gd name="T5" fmla="*/ 3 h 63"/>
                <a:gd name="T6" fmla="*/ 2 w 63"/>
                <a:gd name="T7" fmla="*/ 9 h 63"/>
                <a:gd name="T8" fmla="*/ 8 w 63"/>
                <a:gd name="T9" fmla="*/ 24 h 63"/>
                <a:gd name="T10" fmla="*/ 21 w 63"/>
                <a:gd name="T11" fmla="*/ 35 h 63"/>
                <a:gd name="T12" fmla="*/ 29 w 63"/>
                <a:gd name="T13" fmla="*/ 49 h 63"/>
                <a:gd name="T14" fmla="*/ 40 w 63"/>
                <a:gd name="T15" fmla="*/ 60 h 63"/>
                <a:gd name="T16" fmla="*/ 61 w 63"/>
                <a:gd name="T17" fmla="*/ 48 h 63"/>
                <a:gd name="T18" fmla="*/ 52 w 63"/>
                <a:gd name="T19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52" y="26"/>
                  </a:moveTo>
                  <a:cubicBezTo>
                    <a:pt x="47" y="21"/>
                    <a:pt x="41" y="16"/>
                    <a:pt x="34" y="13"/>
                  </a:cubicBezTo>
                  <a:cubicBezTo>
                    <a:pt x="29" y="8"/>
                    <a:pt x="25" y="5"/>
                    <a:pt x="19" y="3"/>
                  </a:cubicBezTo>
                  <a:cubicBezTo>
                    <a:pt x="13" y="0"/>
                    <a:pt x="4" y="2"/>
                    <a:pt x="2" y="9"/>
                  </a:cubicBezTo>
                  <a:cubicBezTo>
                    <a:pt x="0" y="14"/>
                    <a:pt x="3" y="20"/>
                    <a:pt x="8" y="24"/>
                  </a:cubicBezTo>
                  <a:cubicBezTo>
                    <a:pt x="12" y="28"/>
                    <a:pt x="17" y="31"/>
                    <a:pt x="21" y="35"/>
                  </a:cubicBezTo>
                  <a:cubicBezTo>
                    <a:pt x="25" y="39"/>
                    <a:pt x="27" y="44"/>
                    <a:pt x="29" y="49"/>
                  </a:cubicBezTo>
                  <a:cubicBezTo>
                    <a:pt x="32" y="53"/>
                    <a:pt x="35" y="58"/>
                    <a:pt x="40" y="60"/>
                  </a:cubicBezTo>
                  <a:cubicBezTo>
                    <a:pt x="49" y="63"/>
                    <a:pt x="59" y="56"/>
                    <a:pt x="61" y="48"/>
                  </a:cubicBezTo>
                  <a:cubicBezTo>
                    <a:pt x="63" y="39"/>
                    <a:pt x="59" y="32"/>
                    <a:pt x="52" y="2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0" name="Freeform 131">
              <a:extLst>
                <a:ext uri="{FF2B5EF4-FFF2-40B4-BE49-F238E27FC236}">
                  <a16:creationId xmlns:a16="http://schemas.microsoft.com/office/drawing/2014/main" id="{D5A93431-EAFA-48B1-BFD2-2AA0B51CF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2035"/>
              <a:ext cx="40" cy="43"/>
            </a:xfrm>
            <a:custGeom>
              <a:avLst/>
              <a:gdLst>
                <a:gd name="T0" fmla="*/ 16 w 17"/>
                <a:gd name="T1" fmla="*/ 1 h 18"/>
                <a:gd name="T2" fmla="*/ 6 w 17"/>
                <a:gd name="T3" fmla="*/ 7 h 18"/>
                <a:gd name="T4" fmla="*/ 1 w 17"/>
                <a:gd name="T5" fmla="*/ 15 h 18"/>
                <a:gd name="T6" fmla="*/ 0 w 17"/>
                <a:gd name="T7" fmla="*/ 18 h 18"/>
                <a:gd name="T8" fmla="*/ 0 w 17"/>
                <a:gd name="T9" fmla="*/ 14 h 18"/>
                <a:gd name="T10" fmla="*/ 4 w 17"/>
                <a:gd name="T11" fmla="*/ 6 h 18"/>
                <a:gd name="T12" fmla="*/ 12 w 17"/>
                <a:gd name="T13" fmla="*/ 1 h 18"/>
                <a:gd name="T14" fmla="*/ 16 w 17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"/>
                    <a:pt x="10" y="2"/>
                    <a:pt x="6" y="7"/>
                  </a:cubicBezTo>
                  <a:cubicBezTo>
                    <a:pt x="3" y="9"/>
                    <a:pt x="2" y="12"/>
                    <a:pt x="1" y="15"/>
                  </a:cubicBezTo>
                  <a:cubicBezTo>
                    <a:pt x="1" y="17"/>
                    <a:pt x="1" y="18"/>
                    <a:pt x="0" y="18"/>
                  </a:cubicBezTo>
                  <a:cubicBezTo>
                    <a:pt x="0" y="18"/>
                    <a:pt x="0" y="17"/>
                    <a:pt x="0" y="14"/>
                  </a:cubicBezTo>
                  <a:cubicBezTo>
                    <a:pt x="0" y="12"/>
                    <a:pt x="1" y="8"/>
                    <a:pt x="4" y="6"/>
                  </a:cubicBezTo>
                  <a:cubicBezTo>
                    <a:pt x="7" y="3"/>
                    <a:pt x="10" y="1"/>
                    <a:pt x="12" y="1"/>
                  </a:cubicBezTo>
                  <a:cubicBezTo>
                    <a:pt x="15" y="0"/>
                    <a:pt x="16" y="0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1" name="Freeform 132">
              <a:extLst>
                <a:ext uri="{FF2B5EF4-FFF2-40B4-BE49-F238E27FC236}">
                  <a16:creationId xmlns:a16="http://schemas.microsoft.com/office/drawing/2014/main" id="{3D6C1E72-9D33-4128-9198-BEAFEE503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" y="2054"/>
              <a:ext cx="43" cy="41"/>
            </a:xfrm>
            <a:custGeom>
              <a:avLst/>
              <a:gdLst>
                <a:gd name="T0" fmla="*/ 18 w 18"/>
                <a:gd name="T1" fmla="*/ 1 h 17"/>
                <a:gd name="T2" fmla="*/ 15 w 18"/>
                <a:gd name="T3" fmla="*/ 2 h 17"/>
                <a:gd name="T4" fmla="*/ 8 w 18"/>
                <a:gd name="T5" fmla="*/ 7 h 17"/>
                <a:gd name="T6" fmla="*/ 1 w 18"/>
                <a:gd name="T7" fmla="*/ 17 h 17"/>
                <a:gd name="T8" fmla="*/ 7 w 18"/>
                <a:gd name="T9" fmla="*/ 6 h 17"/>
                <a:gd name="T10" fmla="*/ 14 w 18"/>
                <a:gd name="T11" fmla="*/ 0 h 17"/>
                <a:gd name="T12" fmla="*/ 18 w 18"/>
                <a:gd name="T1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18" y="1"/>
                  </a:moveTo>
                  <a:cubicBezTo>
                    <a:pt x="18" y="1"/>
                    <a:pt x="16" y="1"/>
                    <a:pt x="15" y="2"/>
                  </a:cubicBezTo>
                  <a:cubicBezTo>
                    <a:pt x="13" y="3"/>
                    <a:pt x="10" y="5"/>
                    <a:pt x="8" y="7"/>
                  </a:cubicBezTo>
                  <a:cubicBezTo>
                    <a:pt x="3" y="12"/>
                    <a:pt x="1" y="17"/>
                    <a:pt x="1" y="17"/>
                  </a:cubicBezTo>
                  <a:cubicBezTo>
                    <a:pt x="0" y="17"/>
                    <a:pt x="2" y="11"/>
                    <a:pt x="7" y="6"/>
                  </a:cubicBezTo>
                  <a:cubicBezTo>
                    <a:pt x="9" y="3"/>
                    <a:pt x="12" y="1"/>
                    <a:pt x="14" y="0"/>
                  </a:cubicBezTo>
                  <a:cubicBezTo>
                    <a:pt x="17" y="0"/>
                    <a:pt x="18" y="1"/>
                    <a:pt x="1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2" name="Freeform 133">
              <a:extLst>
                <a:ext uri="{FF2B5EF4-FFF2-40B4-BE49-F238E27FC236}">
                  <a16:creationId xmlns:a16="http://schemas.microsoft.com/office/drawing/2014/main" id="{6F20DFC6-34E2-472F-8F46-FAC597F95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" y="2071"/>
              <a:ext cx="52" cy="43"/>
            </a:xfrm>
            <a:custGeom>
              <a:avLst/>
              <a:gdLst>
                <a:gd name="T0" fmla="*/ 22 w 22"/>
                <a:gd name="T1" fmla="*/ 1 h 18"/>
                <a:gd name="T2" fmla="*/ 21 w 22"/>
                <a:gd name="T3" fmla="*/ 5 h 18"/>
                <a:gd name="T4" fmla="*/ 15 w 22"/>
                <a:gd name="T5" fmla="*/ 14 h 18"/>
                <a:gd name="T6" fmla="*/ 5 w 22"/>
                <a:gd name="T7" fmla="*/ 18 h 18"/>
                <a:gd name="T8" fmla="*/ 0 w 22"/>
                <a:gd name="T9" fmla="*/ 18 h 18"/>
                <a:gd name="T10" fmla="*/ 13 w 22"/>
                <a:gd name="T11" fmla="*/ 12 h 18"/>
                <a:gd name="T12" fmla="*/ 22 w 22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8">
                  <a:moveTo>
                    <a:pt x="22" y="1"/>
                  </a:moveTo>
                  <a:cubicBezTo>
                    <a:pt x="22" y="1"/>
                    <a:pt x="22" y="2"/>
                    <a:pt x="21" y="5"/>
                  </a:cubicBezTo>
                  <a:cubicBezTo>
                    <a:pt x="20" y="8"/>
                    <a:pt x="18" y="11"/>
                    <a:pt x="15" y="14"/>
                  </a:cubicBezTo>
                  <a:cubicBezTo>
                    <a:pt x="11" y="16"/>
                    <a:pt x="7" y="18"/>
                    <a:pt x="5" y="18"/>
                  </a:cubicBezTo>
                  <a:cubicBezTo>
                    <a:pt x="2" y="18"/>
                    <a:pt x="0" y="18"/>
                    <a:pt x="0" y="18"/>
                  </a:cubicBezTo>
                  <a:cubicBezTo>
                    <a:pt x="0" y="17"/>
                    <a:pt x="7" y="17"/>
                    <a:pt x="13" y="12"/>
                  </a:cubicBezTo>
                  <a:cubicBezTo>
                    <a:pt x="20" y="7"/>
                    <a:pt x="21" y="0"/>
                    <a:pt x="2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3" name="Freeform 134">
              <a:extLst>
                <a:ext uri="{FF2B5EF4-FFF2-40B4-BE49-F238E27FC236}">
                  <a16:creationId xmlns:a16="http://schemas.microsoft.com/office/drawing/2014/main" id="{5AE5406E-1CB0-4092-8CED-79F22727D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" y="2097"/>
              <a:ext cx="64" cy="48"/>
            </a:xfrm>
            <a:custGeom>
              <a:avLst/>
              <a:gdLst>
                <a:gd name="T0" fmla="*/ 26 w 27"/>
                <a:gd name="T1" fmla="*/ 0 h 20"/>
                <a:gd name="T2" fmla="*/ 26 w 27"/>
                <a:gd name="T3" fmla="*/ 5 h 20"/>
                <a:gd name="T4" fmla="*/ 18 w 27"/>
                <a:gd name="T5" fmla="*/ 16 h 20"/>
                <a:gd name="T6" fmla="*/ 5 w 27"/>
                <a:gd name="T7" fmla="*/ 19 h 20"/>
                <a:gd name="T8" fmla="*/ 0 w 27"/>
                <a:gd name="T9" fmla="*/ 18 h 20"/>
                <a:gd name="T10" fmla="*/ 5 w 27"/>
                <a:gd name="T11" fmla="*/ 18 h 20"/>
                <a:gd name="T12" fmla="*/ 17 w 27"/>
                <a:gd name="T13" fmla="*/ 14 h 20"/>
                <a:gd name="T14" fmla="*/ 24 w 27"/>
                <a:gd name="T15" fmla="*/ 5 h 20"/>
                <a:gd name="T16" fmla="*/ 26 w 27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0">
                  <a:moveTo>
                    <a:pt x="26" y="0"/>
                  </a:moveTo>
                  <a:cubicBezTo>
                    <a:pt x="26" y="0"/>
                    <a:pt x="27" y="2"/>
                    <a:pt x="26" y="5"/>
                  </a:cubicBezTo>
                  <a:cubicBezTo>
                    <a:pt x="25" y="9"/>
                    <a:pt x="22" y="13"/>
                    <a:pt x="18" y="16"/>
                  </a:cubicBezTo>
                  <a:cubicBezTo>
                    <a:pt x="13" y="19"/>
                    <a:pt x="9" y="20"/>
                    <a:pt x="5" y="19"/>
                  </a:cubicBezTo>
                  <a:cubicBezTo>
                    <a:pt x="2" y="19"/>
                    <a:pt x="0" y="18"/>
                    <a:pt x="0" y="18"/>
                  </a:cubicBezTo>
                  <a:cubicBezTo>
                    <a:pt x="0" y="18"/>
                    <a:pt x="2" y="18"/>
                    <a:pt x="5" y="18"/>
                  </a:cubicBezTo>
                  <a:cubicBezTo>
                    <a:pt x="8" y="18"/>
                    <a:pt x="13" y="17"/>
                    <a:pt x="17" y="14"/>
                  </a:cubicBezTo>
                  <a:cubicBezTo>
                    <a:pt x="20" y="11"/>
                    <a:pt x="23" y="8"/>
                    <a:pt x="24" y="5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4" name="Freeform 135">
              <a:extLst>
                <a:ext uri="{FF2B5EF4-FFF2-40B4-BE49-F238E27FC236}">
                  <a16:creationId xmlns:a16="http://schemas.microsoft.com/office/drawing/2014/main" id="{65668124-9210-4A9B-BCB2-DC48E4D32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" y="1520"/>
              <a:ext cx="359" cy="587"/>
            </a:xfrm>
            <a:custGeom>
              <a:avLst/>
              <a:gdLst>
                <a:gd name="T0" fmla="*/ 0 w 151"/>
                <a:gd name="T1" fmla="*/ 30 h 247"/>
                <a:gd name="T2" fmla="*/ 53 w 151"/>
                <a:gd name="T3" fmla="*/ 1 h 247"/>
                <a:gd name="T4" fmla="*/ 103 w 151"/>
                <a:gd name="T5" fmla="*/ 26 h 247"/>
                <a:gd name="T6" fmla="*/ 112 w 151"/>
                <a:gd name="T7" fmla="*/ 54 h 247"/>
                <a:gd name="T8" fmla="*/ 139 w 151"/>
                <a:gd name="T9" fmla="*/ 104 h 247"/>
                <a:gd name="T10" fmla="*/ 120 w 151"/>
                <a:gd name="T11" fmla="*/ 202 h 247"/>
                <a:gd name="T12" fmla="*/ 76 w 151"/>
                <a:gd name="T13" fmla="*/ 246 h 247"/>
                <a:gd name="T14" fmla="*/ 35 w 151"/>
                <a:gd name="T15" fmla="*/ 23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47">
                  <a:moveTo>
                    <a:pt x="0" y="30"/>
                  </a:moveTo>
                  <a:cubicBezTo>
                    <a:pt x="13" y="8"/>
                    <a:pt x="33" y="2"/>
                    <a:pt x="53" y="1"/>
                  </a:cubicBezTo>
                  <a:cubicBezTo>
                    <a:pt x="73" y="0"/>
                    <a:pt x="94" y="8"/>
                    <a:pt x="103" y="26"/>
                  </a:cubicBezTo>
                  <a:cubicBezTo>
                    <a:pt x="108" y="35"/>
                    <a:pt x="109" y="44"/>
                    <a:pt x="112" y="54"/>
                  </a:cubicBezTo>
                  <a:cubicBezTo>
                    <a:pt x="118" y="72"/>
                    <a:pt x="133" y="86"/>
                    <a:pt x="139" y="104"/>
                  </a:cubicBezTo>
                  <a:cubicBezTo>
                    <a:pt x="151" y="136"/>
                    <a:pt x="135" y="171"/>
                    <a:pt x="120" y="202"/>
                  </a:cubicBezTo>
                  <a:cubicBezTo>
                    <a:pt x="111" y="221"/>
                    <a:pt x="98" y="243"/>
                    <a:pt x="76" y="246"/>
                  </a:cubicBezTo>
                  <a:cubicBezTo>
                    <a:pt x="61" y="247"/>
                    <a:pt x="47" y="239"/>
                    <a:pt x="35" y="23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5" name="Freeform 136">
              <a:extLst>
                <a:ext uri="{FF2B5EF4-FFF2-40B4-BE49-F238E27FC236}">
                  <a16:creationId xmlns:a16="http://schemas.microsoft.com/office/drawing/2014/main" id="{3F1FD287-7643-4E5D-939A-8FBCA111D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1631"/>
              <a:ext cx="399" cy="820"/>
            </a:xfrm>
            <a:custGeom>
              <a:avLst/>
              <a:gdLst>
                <a:gd name="T0" fmla="*/ 6 w 168"/>
                <a:gd name="T1" fmla="*/ 10 h 345"/>
                <a:gd name="T2" fmla="*/ 6 w 168"/>
                <a:gd name="T3" fmla="*/ 27 h 345"/>
                <a:gd name="T4" fmla="*/ 1 w 168"/>
                <a:gd name="T5" fmla="*/ 288 h 345"/>
                <a:gd name="T6" fmla="*/ 62 w 168"/>
                <a:gd name="T7" fmla="*/ 344 h 345"/>
                <a:gd name="T8" fmla="*/ 109 w 168"/>
                <a:gd name="T9" fmla="*/ 289 h 345"/>
                <a:gd name="T10" fmla="*/ 111 w 168"/>
                <a:gd name="T11" fmla="*/ 224 h 345"/>
                <a:gd name="T12" fmla="*/ 163 w 168"/>
                <a:gd name="T13" fmla="*/ 164 h 345"/>
                <a:gd name="T14" fmla="*/ 166 w 168"/>
                <a:gd name="T15" fmla="*/ 57 h 345"/>
                <a:gd name="T16" fmla="*/ 105 w 168"/>
                <a:gd name="T17" fmla="*/ 3 h 345"/>
                <a:gd name="T18" fmla="*/ 6 w 168"/>
                <a:gd name="T19" fmla="*/ 1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345">
                  <a:moveTo>
                    <a:pt x="6" y="1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1" y="288"/>
                    <a:pt x="1" y="288"/>
                    <a:pt x="1" y="288"/>
                  </a:cubicBezTo>
                  <a:cubicBezTo>
                    <a:pt x="0" y="318"/>
                    <a:pt x="29" y="344"/>
                    <a:pt x="62" y="344"/>
                  </a:cubicBezTo>
                  <a:cubicBezTo>
                    <a:pt x="94" y="345"/>
                    <a:pt x="108" y="320"/>
                    <a:pt x="109" y="289"/>
                  </a:cubicBezTo>
                  <a:cubicBezTo>
                    <a:pt x="110" y="257"/>
                    <a:pt x="111" y="224"/>
                    <a:pt x="111" y="224"/>
                  </a:cubicBezTo>
                  <a:cubicBezTo>
                    <a:pt x="111" y="224"/>
                    <a:pt x="153" y="218"/>
                    <a:pt x="163" y="164"/>
                  </a:cubicBezTo>
                  <a:cubicBezTo>
                    <a:pt x="168" y="137"/>
                    <a:pt x="168" y="93"/>
                    <a:pt x="166" y="57"/>
                  </a:cubicBezTo>
                  <a:cubicBezTo>
                    <a:pt x="165" y="25"/>
                    <a:pt x="137" y="0"/>
                    <a:pt x="105" y="3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6" name="Freeform 137">
              <a:extLst>
                <a:ext uri="{FF2B5EF4-FFF2-40B4-BE49-F238E27FC236}">
                  <a16:creationId xmlns:a16="http://schemas.microsoft.com/office/drawing/2014/main" id="{697DEAAE-64E6-4369-BC1D-7BF8263AC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836"/>
              <a:ext cx="33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4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7" name="Freeform 138">
              <a:extLst>
                <a:ext uri="{FF2B5EF4-FFF2-40B4-BE49-F238E27FC236}">
                  <a16:creationId xmlns:a16="http://schemas.microsoft.com/office/drawing/2014/main" id="{F660579B-D678-48D0-BDFE-470875057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" y="1803"/>
              <a:ext cx="67" cy="21"/>
            </a:xfrm>
            <a:custGeom>
              <a:avLst/>
              <a:gdLst>
                <a:gd name="T0" fmla="*/ 27 w 28"/>
                <a:gd name="T1" fmla="*/ 8 h 9"/>
                <a:gd name="T2" fmla="*/ 14 w 28"/>
                <a:gd name="T3" fmla="*/ 5 h 9"/>
                <a:gd name="T4" fmla="*/ 0 w 28"/>
                <a:gd name="T5" fmla="*/ 7 h 9"/>
                <a:gd name="T6" fmla="*/ 3 w 28"/>
                <a:gd name="T7" fmla="*/ 3 h 9"/>
                <a:gd name="T8" fmla="*/ 14 w 28"/>
                <a:gd name="T9" fmla="*/ 0 h 9"/>
                <a:gd name="T10" fmla="*/ 25 w 28"/>
                <a:gd name="T11" fmla="*/ 4 h 9"/>
                <a:gd name="T12" fmla="*/ 27 w 28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7" y="8"/>
                  </a:moveTo>
                  <a:cubicBezTo>
                    <a:pt x="26" y="9"/>
                    <a:pt x="21" y="5"/>
                    <a:pt x="14" y="5"/>
                  </a:cubicBezTo>
                  <a:cubicBezTo>
                    <a:pt x="6" y="4"/>
                    <a:pt x="1" y="8"/>
                    <a:pt x="0" y="7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2"/>
                    <a:pt x="9" y="0"/>
                    <a:pt x="14" y="0"/>
                  </a:cubicBezTo>
                  <a:cubicBezTo>
                    <a:pt x="19" y="1"/>
                    <a:pt x="23" y="2"/>
                    <a:pt x="25" y="4"/>
                  </a:cubicBezTo>
                  <a:cubicBezTo>
                    <a:pt x="27" y="6"/>
                    <a:pt x="28" y="8"/>
                    <a:pt x="27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8" name="Freeform 139">
              <a:extLst>
                <a:ext uri="{FF2B5EF4-FFF2-40B4-BE49-F238E27FC236}">
                  <a16:creationId xmlns:a16="http://schemas.microsoft.com/office/drawing/2014/main" id="{4F77F895-7B80-4FF6-AD18-2CE755844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1836"/>
              <a:ext cx="34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9" name="Freeform 140">
              <a:extLst>
                <a:ext uri="{FF2B5EF4-FFF2-40B4-BE49-F238E27FC236}">
                  <a16:creationId xmlns:a16="http://schemas.microsoft.com/office/drawing/2014/main" id="{DEECF5D4-3849-4A20-946F-4450AEAD4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1803"/>
              <a:ext cx="66" cy="19"/>
            </a:xfrm>
            <a:custGeom>
              <a:avLst/>
              <a:gdLst>
                <a:gd name="T0" fmla="*/ 28 w 28"/>
                <a:gd name="T1" fmla="*/ 7 h 8"/>
                <a:gd name="T2" fmla="*/ 15 w 28"/>
                <a:gd name="T3" fmla="*/ 4 h 8"/>
                <a:gd name="T4" fmla="*/ 1 w 28"/>
                <a:gd name="T5" fmla="*/ 7 h 8"/>
                <a:gd name="T6" fmla="*/ 4 w 28"/>
                <a:gd name="T7" fmla="*/ 3 h 8"/>
                <a:gd name="T8" fmla="*/ 15 w 28"/>
                <a:gd name="T9" fmla="*/ 0 h 8"/>
                <a:gd name="T10" fmla="*/ 26 w 28"/>
                <a:gd name="T11" fmla="*/ 4 h 8"/>
                <a:gd name="T12" fmla="*/ 28 w 28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8">
                  <a:moveTo>
                    <a:pt x="28" y="7"/>
                  </a:moveTo>
                  <a:cubicBezTo>
                    <a:pt x="27" y="8"/>
                    <a:pt x="22" y="4"/>
                    <a:pt x="15" y="4"/>
                  </a:cubicBezTo>
                  <a:cubicBezTo>
                    <a:pt x="7" y="4"/>
                    <a:pt x="2" y="7"/>
                    <a:pt x="1" y="7"/>
                  </a:cubicBezTo>
                  <a:cubicBezTo>
                    <a:pt x="0" y="6"/>
                    <a:pt x="1" y="4"/>
                    <a:pt x="4" y="3"/>
                  </a:cubicBezTo>
                  <a:cubicBezTo>
                    <a:pt x="6" y="1"/>
                    <a:pt x="10" y="0"/>
                    <a:pt x="15" y="0"/>
                  </a:cubicBezTo>
                  <a:cubicBezTo>
                    <a:pt x="19" y="0"/>
                    <a:pt x="23" y="2"/>
                    <a:pt x="26" y="4"/>
                  </a:cubicBezTo>
                  <a:cubicBezTo>
                    <a:pt x="28" y="5"/>
                    <a:pt x="28" y="7"/>
                    <a:pt x="2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0" name="Freeform 141">
              <a:extLst>
                <a:ext uri="{FF2B5EF4-FFF2-40B4-BE49-F238E27FC236}">
                  <a16:creationId xmlns:a16="http://schemas.microsoft.com/office/drawing/2014/main" id="{B48C1990-A04F-473C-BFE4-2B617EF6D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" y="1805"/>
              <a:ext cx="52" cy="150"/>
            </a:xfrm>
            <a:custGeom>
              <a:avLst/>
              <a:gdLst>
                <a:gd name="T0" fmla="*/ 3 w 22"/>
                <a:gd name="T1" fmla="*/ 62 h 63"/>
                <a:gd name="T2" fmla="*/ 15 w 22"/>
                <a:gd name="T3" fmla="*/ 60 h 63"/>
                <a:gd name="T4" fmla="*/ 19 w 22"/>
                <a:gd name="T5" fmla="*/ 59 h 63"/>
                <a:gd name="T6" fmla="*/ 18 w 22"/>
                <a:gd name="T7" fmla="*/ 53 h 63"/>
                <a:gd name="T8" fmla="*/ 12 w 22"/>
                <a:gd name="T9" fmla="*/ 38 h 63"/>
                <a:gd name="T10" fmla="*/ 1 w 22"/>
                <a:gd name="T11" fmla="*/ 0 h 63"/>
                <a:gd name="T12" fmla="*/ 15 w 22"/>
                <a:gd name="T13" fmla="*/ 37 h 63"/>
                <a:gd name="T14" fmla="*/ 20 w 22"/>
                <a:gd name="T15" fmla="*/ 52 h 63"/>
                <a:gd name="T16" fmla="*/ 21 w 22"/>
                <a:gd name="T17" fmla="*/ 60 h 63"/>
                <a:gd name="T18" fmla="*/ 18 w 22"/>
                <a:gd name="T19" fmla="*/ 62 h 63"/>
                <a:gd name="T20" fmla="*/ 15 w 22"/>
                <a:gd name="T21" fmla="*/ 63 h 63"/>
                <a:gd name="T22" fmla="*/ 3 w 22"/>
                <a:gd name="T2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63">
                  <a:moveTo>
                    <a:pt x="3" y="62"/>
                  </a:moveTo>
                  <a:cubicBezTo>
                    <a:pt x="3" y="62"/>
                    <a:pt x="7" y="61"/>
                    <a:pt x="15" y="60"/>
                  </a:cubicBezTo>
                  <a:cubicBezTo>
                    <a:pt x="17" y="60"/>
                    <a:pt x="18" y="60"/>
                    <a:pt x="19" y="59"/>
                  </a:cubicBezTo>
                  <a:cubicBezTo>
                    <a:pt x="19" y="57"/>
                    <a:pt x="19" y="55"/>
                    <a:pt x="18" y="53"/>
                  </a:cubicBezTo>
                  <a:cubicBezTo>
                    <a:pt x="16" y="48"/>
                    <a:pt x="14" y="44"/>
                    <a:pt x="12" y="38"/>
                  </a:cubicBezTo>
                  <a:cubicBezTo>
                    <a:pt x="5" y="18"/>
                    <a:pt x="0" y="1"/>
                    <a:pt x="1" y="0"/>
                  </a:cubicBezTo>
                  <a:cubicBezTo>
                    <a:pt x="2" y="0"/>
                    <a:pt x="8" y="17"/>
                    <a:pt x="15" y="37"/>
                  </a:cubicBezTo>
                  <a:cubicBezTo>
                    <a:pt x="17" y="43"/>
                    <a:pt x="19" y="47"/>
                    <a:pt x="20" y="52"/>
                  </a:cubicBezTo>
                  <a:cubicBezTo>
                    <a:pt x="21" y="54"/>
                    <a:pt x="22" y="57"/>
                    <a:pt x="21" y="60"/>
                  </a:cubicBezTo>
                  <a:cubicBezTo>
                    <a:pt x="21" y="61"/>
                    <a:pt x="19" y="62"/>
                    <a:pt x="18" y="62"/>
                  </a:cubicBezTo>
                  <a:cubicBezTo>
                    <a:pt x="17" y="63"/>
                    <a:pt x="16" y="63"/>
                    <a:pt x="15" y="63"/>
                  </a:cubicBezTo>
                  <a:cubicBezTo>
                    <a:pt x="7" y="63"/>
                    <a:pt x="3" y="63"/>
                    <a:pt x="3" y="6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1" name="Freeform 142">
              <a:extLst>
                <a:ext uri="{FF2B5EF4-FFF2-40B4-BE49-F238E27FC236}">
                  <a16:creationId xmlns:a16="http://schemas.microsoft.com/office/drawing/2014/main" id="{68E81DEE-E938-4F85-A9AC-D467325B2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2111"/>
              <a:ext cx="169" cy="91"/>
            </a:xfrm>
            <a:custGeom>
              <a:avLst/>
              <a:gdLst>
                <a:gd name="T0" fmla="*/ 71 w 71"/>
                <a:gd name="T1" fmla="*/ 22 h 38"/>
                <a:gd name="T2" fmla="*/ 0 w 71"/>
                <a:gd name="T3" fmla="*/ 0 h 38"/>
                <a:gd name="T4" fmla="*/ 70 w 71"/>
                <a:gd name="T5" fmla="*/ 34 h 38"/>
                <a:gd name="T6" fmla="*/ 71 w 71"/>
                <a:gd name="T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38">
                  <a:moveTo>
                    <a:pt x="71" y="22"/>
                  </a:moveTo>
                  <a:cubicBezTo>
                    <a:pt x="71" y="22"/>
                    <a:pt x="35" y="23"/>
                    <a:pt x="0" y="0"/>
                  </a:cubicBezTo>
                  <a:cubicBezTo>
                    <a:pt x="0" y="0"/>
                    <a:pt x="16" y="38"/>
                    <a:pt x="70" y="34"/>
                  </a:cubicBezTo>
                  <a:lnTo>
                    <a:pt x="71" y="22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2" name="Freeform 143">
              <a:extLst>
                <a:ext uri="{FF2B5EF4-FFF2-40B4-BE49-F238E27FC236}">
                  <a16:creationId xmlns:a16="http://schemas.microsoft.com/office/drawing/2014/main" id="{A8BCAF54-2FE4-4BFE-AA4E-F39B82652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1983"/>
              <a:ext cx="57" cy="40"/>
            </a:xfrm>
            <a:custGeom>
              <a:avLst/>
              <a:gdLst>
                <a:gd name="T0" fmla="*/ 23 w 24"/>
                <a:gd name="T1" fmla="*/ 5 h 17"/>
                <a:gd name="T2" fmla="*/ 11 w 24"/>
                <a:gd name="T3" fmla="*/ 0 h 17"/>
                <a:gd name="T4" fmla="*/ 2 w 24"/>
                <a:gd name="T5" fmla="*/ 4 h 17"/>
                <a:gd name="T6" fmla="*/ 2 w 24"/>
                <a:gd name="T7" fmla="*/ 13 h 17"/>
                <a:gd name="T8" fmla="*/ 11 w 24"/>
                <a:gd name="T9" fmla="*/ 16 h 17"/>
                <a:gd name="T10" fmla="*/ 21 w 24"/>
                <a:gd name="T11" fmla="*/ 10 h 17"/>
                <a:gd name="T12" fmla="*/ 23 w 24"/>
                <a:gd name="T13" fmla="*/ 8 h 17"/>
                <a:gd name="T14" fmla="*/ 23 w 24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3" y="5"/>
                  </a:moveTo>
                  <a:cubicBezTo>
                    <a:pt x="20" y="2"/>
                    <a:pt x="16" y="0"/>
                    <a:pt x="11" y="0"/>
                  </a:cubicBezTo>
                  <a:cubicBezTo>
                    <a:pt x="8" y="0"/>
                    <a:pt x="4" y="2"/>
                    <a:pt x="2" y="4"/>
                  </a:cubicBezTo>
                  <a:cubicBezTo>
                    <a:pt x="0" y="7"/>
                    <a:pt x="0" y="10"/>
                    <a:pt x="2" y="13"/>
                  </a:cubicBezTo>
                  <a:cubicBezTo>
                    <a:pt x="4" y="16"/>
                    <a:pt x="8" y="17"/>
                    <a:pt x="11" y="16"/>
                  </a:cubicBezTo>
                  <a:cubicBezTo>
                    <a:pt x="15" y="15"/>
                    <a:pt x="18" y="13"/>
                    <a:pt x="21" y="10"/>
                  </a:cubicBezTo>
                  <a:cubicBezTo>
                    <a:pt x="22" y="10"/>
                    <a:pt x="23" y="9"/>
                    <a:pt x="23" y="8"/>
                  </a:cubicBezTo>
                  <a:cubicBezTo>
                    <a:pt x="24" y="7"/>
                    <a:pt x="24" y="6"/>
                    <a:pt x="23" y="5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3" name="Freeform 144">
              <a:extLst>
                <a:ext uri="{FF2B5EF4-FFF2-40B4-BE49-F238E27FC236}">
                  <a16:creationId xmlns:a16="http://schemas.microsoft.com/office/drawing/2014/main" id="{F042B88A-9606-45A8-BF91-3163135B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1964"/>
              <a:ext cx="59" cy="52"/>
            </a:xfrm>
            <a:custGeom>
              <a:avLst/>
              <a:gdLst>
                <a:gd name="T0" fmla="*/ 1 w 25"/>
                <a:gd name="T1" fmla="*/ 0 h 22"/>
                <a:gd name="T2" fmla="*/ 9 w 25"/>
                <a:gd name="T3" fmla="*/ 14 h 22"/>
                <a:gd name="T4" fmla="*/ 25 w 25"/>
                <a:gd name="T5" fmla="*/ 20 h 22"/>
                <a:gd name="T6" fmla="*/ 19 w 25"/>
                <a:gd name="T7" fmla="*/ 22 h 22"/>
                <a:gd name="T8" fmla="*/ 6 w 25"/>
                <a:gd name="T9" fmla="*/ 17 h 22"/>
                <a:gd name="T10" fmla="*/ 0 w 25"/>
                <a:gd name="T11" fmla="*/ 5 h 22"/>
                <a:gd name="T12" fmla="*/ 1 w 25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1" y="0"/>
                  </a:moveTo>
                  <a:cubicBezTo>
                    <a:pt x="3" y="0"/>
                    <a:pt x="2" y="8"/>
                    <a:pt x="9" y="14"/>
                  </a:cubicBezTo>
                  <a:cubicBezTo>
                    <a:pt x="16" y="20"/>
                    <a:pt x="25" y="19"/>
                    <a:pt x="25" y="20"/>
                  </a:cubicBezTo>
                  <a:cubicBezTo>
                    <a:pt x="25" y="21"/>
                    <a:pt x="23" y="22"/>
                    <a:pt x="19" y="22"/>
                  </a:cubicBezTo>
                  <a:cubicBezTo>
                    <a:pt x="16" y="22"/>
                    <a:pt x="10" y="21"/>
                    <a:pt x="6" y="17"/>
                  </a:cubicBezTo>
                  <a:cubicBezTo>
                    <a:pt x="2" y="13"/>
                    <a:pt x="0" y="9"/>
                    <a:pt x="0" y="5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4" name="Freeform 145">
              <a:extLst>
                <a:ext uri="{FF2B5EF4-FFF2-40B4-BE49-F238E27FC236}">
                  <a16:creationId xmlns:a16="http://schemas.microsoft.com/office/drawing/2014/main" id="{A32AC447-28E2-4531-99C5-2A6F9FDE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1753"/>
              <a:ext cx="83" cy="26"/>
            </a:xfrm>
            <a:custGeom>
              <a:avLst/>
              <a:gdLst>
                <a:gd name="T0" fmla="*/ 34 w 35"/>
                <a:gd name="T1" fmla="*/ 7 h 11"/>
                <a:gd name="T2" fmla="*/ 17 w 35"/>
                <a:gd name="T3" fmla="*/ 8 h 11"/>
                <a:gd name="T4" fmla="*/ 0 w 35"/>
                <a:gd name="T5" fmla="*/ 10 h 11"/>
                <a:gd name="T6" fmla="*/ 4 w 35"/>
                <a:gd name="T7" fmla="*/ 5 h 11"/>
                <a:gd name="T8" fmla="*/ 17 w 35"/>
                <a:gd name="T9" fmla="*/ 1 h 11"/>
                <a:gd name="T10" fmla="*/ 30 w 35"/>
                <a:gd name="T11" fmla="*/ 3 h 11"/>
                <a:gd name="T12" fmla="*/ 34 w 3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1">
                  <a:moveTo>
                    <a:pt x="34" y="7"/>
                  </a:moveTo>
                  <a:cubicBezTo>
                    <a:pt x="34" y="9"/>
                    <a:pt x="26" y="8"/>
                    <a:pt x="17" y="8"/>
                  </a:cubicBezTo>
                  <a:cubicBezTo>
                    <a:pt x="9" y="9"/>
                    <a:pt x="2" y="11"/>
                    <a:pt x="0" y="10"/>
                  </a:cubicBezTo>
                  <a:cubicBezTo>
                    <a:pt x="0" y="9"/>
                    <a:pt x="1" y="7"/>
                    <a:pt x="4" y="5"/>
                  </a:cubicBezTo>
                  <a:cubicBezTo>
                    <a:pt x="7" y="3"/>
                    <a:pt x="12" y="1"/>
                    <a:pt x="17" y="1"/>
                  </a:cubicBezTo>
                  <a:cubicBezTo>
                    <a:pt x="22" y="0"/>
                    <a:pt x="27" y="1"/>
                    <a:pt x="30" y="3"/>
                  </a:cubicBezTo>
                  <a:cubicBezTo>
                    <a:pt x="33" y="4"/>
                    <a:pt x="35" y="6"/>
                    <a:pt x="34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5" name="Freeform 146">
              <a:extLst>
                <a:ext uri="{FF2B5EF4-FFF2-40B4-BE49-F238E27FC236}">
                  <a16:creationId xmlns:a16="http://schemas.microsoft.com/office/drawing/2014/main" id="{75686B15-A92E-4315-8ED1-4DD20B393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" y="1767"/>
              <a:ext cx="76" cy="24"/>
            </a:xfrm>
            <a:custGeom>
              <a:avLst/>
              <a:gdLst>
                <a:gd name="T0" fmla="*/ 32 w 32"/>
                <a:gd name="T1" fmla="*/ 8 h 10"/>
                <a:gd name="T2" fmla="*/ 16 w 32"/>
                <a:gd name="T3" fmla="*/ 7 h 10"/>
                <a:gd name="T4" fmla="*/ 1 w 32"/>
                <a:gd name="T5" fmla="*/ 6 h 10"/>
                <a:gd name="T6" fmla="*/ 4 w 32"/>
                <a:gd name="T7" fmla="*/ 2 h 10"/>
                <a:gd name="T8" fmla="*/ 17 w 32"/>
                <a:gd name="T9" fmla="*/ 0 h 10"/>
                <a:gd name="T10" fmla="*/ 29 w 32"/>
                <a:gd name="T11" fmla="*/ 4 h 10"/>
                <a:gd name="T12" fmla="*/ 32 w 32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0">
                  <a:moveTo>
                    <a:pt x="32" y="8"/>
                  </a:moveTo>
                  <a:cubicBezTo>
                    <a:pt x="30" y="10"/>
                    <a:pt x="24" y="8"/>
                    <a:pt x="16" y="7"/>
                  </a:cubicBezTo>
                  <a:cubicBezTo>
                    <a:pt x="9" y="7"/>
                    <a:pt x="2" y="8"/>
                    <a:pt x="1" y="6"/>
                  </a:cubicBezTo>
                  <a:cubicBezTo>
                    <a:pt x="0" y="5"/>
                    <a:pt x="1" y="4"/>
                    <a:pt x="4" y="2"/>
                  </a:cubicBezTo>
                  <a:cubicBezTo>
                    <a:pt x="7" y="1"/>
                    <a:pt x="12" y="0"/>
                    <a:pt x="17" y="0"/>
                  </a:cubicBezTo>
                  <a:cubicBezTo>
                    <a:pt x="22" y="0"/>
                    <a:pt x="26" y="2"/>
                    <a:pt x="29" y="4"/>
                  </a:cubicBezTo>
                  <a:cubicBezTo>
                    <a:pt x="31" y="5"/>
                    <a:pt x="32" y="7"/>
                    <a:pt x="32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6" name="Freeform 147">
              <a:extLst>
                <a:ext uri="{FF2B5EF4-FFF2-40B4-BE49-F238E27FC236}">
                  <a16:creationId xmlns:a16="http://schemas.microsoft.com/office/drawing/2014/main" id="{BB671C9A-D3D0-4740-9E9F-BC388BF1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0" y="1560"/>
              <a:ext cx="262" cy="506"/>
            </a:xfrm>
            <a:custGeom>
              <a:avLst/>
              <a:gdLst>
                <a:gd name="T0" fmla="*/ 18 w 110"/>
                <a:gd name="T1" fmla="*/ 213 h 213"/>
                <a:gd name="T2" fmla="*/ 50 w 110"/>
                <a:gd name="T3" fmla="*/ 180 h 213"/>
                <a:gd name="T4" fmla="*/ 56 w 110"/>
                <a:gd name="T5" fmla="*/ 123 h 213"/>
                <a:gd name="T6" fmla="*/ 60 w 110"/>
                <a:gd name="T7" fmla="*/ 90 h 213"/>
                <a:gd name="T8" fmla="*/ 89 w 110"/>
                <a:gd name="T9" fmla="*/ 64 h 213"/>
                <a:gd name="T10" fmla="*/ 109 w 110"/>
                <a:gd name="T11" fmla="*/ 33 h 213"/>
                <a:gd name="T12" fmla="*/ 79 w 110"/>
                <a:gd name="T13" fmla="*/ 5 h 213"/>
                <a:gd name="T14" fmla="*/ 26 w 110"/>
                <a:gd name="T15" fmla="*/ 13 h 213"/>
                <a:gd name="T16" fmla="*/ 5 w 110"/>
                <a:gd name="T17" fmla="*/ 67 h 213"/>
                <a:gd name="T18" fmla="*/ 6 w 110"/>
                <a:gd name="T19" fmla="*/ 20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213">
                  <a:moveTo>
                    <a:pt x="18" y="213"/>
                  </a:moveTo>
                  <a:cubicBezTo>
                    <a:pt x="36" y="206"/>
                    <a:pt x="44" y="199"/>
                    <a:pt x="50" y="180"/>
                  </a:cubicBezTo>
                  <a:cubicBezTo>
                    <a:pt x="56" y="162"/>
                    <a:pt x="57" y="142"/>
                    <a:pt x="56" y="123"/>
                  </a:cubicBezTo>
                  <a:cubicBezTo>
                    <a:pt x="56" y="112"/>
                    <a:pt x="55" y="100"/>
                    <a:pt x="60" y="90"/>
                  </a:cubicBezTo>
                  <a:cubicBezTo>
                    <a:pt x="66" y="79"/>
                    <a:pt x="78" y="72"/>
                    <a:pt x="89" y="64"/>
                  </a:cubicBezTo>
                  <a:cubicBezTo>
                    <a:pt x="100" y="57"/>
                    <a:pt x="110" y="46"/>
                    <a:pt x="109" y="33"/>
                  </a:cubicBezTo>
                  <a:cubicBezTo>
                    <a:pt x="108" y="18"/>
                    <a:pt x="93" y="8"/>
                    <a:pt x="79" y="5"/>
                  </a:cubicBezTo>
                  <a:cubicBezTo>
                    <a:pt x="61" y="0"/>
                    <a:pt x="40" y="1"/>
                    <a:pt x="26" y="13"/>
                  </a:cubicBezTo>
                  <a:cubicBezTo>
                    <a:pt x="11" y="26"/>
                    <a:pt x="7" y="47"/>
                    <a:pt x="5" y="67"/>
                  </a:cubicBezTo>
                  <a:cubicBezTo>
                    <a:pt x="0" y="117"/>
                    <a:pt x="1" y="156"/>
                    <a:pt x="6" y="20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7" name="Oval 148">
              <a:extLst>
                <a:ext uri="{FF2B5EF4-FFF2-40B4-BE49-F238E27FC236}">
                  <a16:creationId xmlns:a16="http://schemas.microsoft.com/office/drawing/2014/main" id="{F58B99AA-940C-4E07-B3EA-AFBAF1BA5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" y="1696"/>
              <a:ext cx="2" cy="9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8" name="Freeform 149">
              <a:extLst>
                <a:ext uri="{FF2B5EF4-FFF2-40B4-BE49-F238E27FC236}">
                  <a16:creationId xmlns:a16="http://schemas.microsoft.com/office/drawing/2014/main" id="{DDA8A1C4-2AB0-44C1-9C04-77B36B92B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1800"/>
              <a:ext cx="59" cy="223"/>
            </a:xfrm>
            <a:custGeom>
              <a:avLst/>
              <a:gdLst>
                <a:gd name="T0" fmla="*/ 25 w 25"/>
                <a:gd name="T1" fmla="*/ 94 h 94"/>
                <a:gd name="T2" fmla="*/ 0 w 25"/>
                <a:gd name="T3" fmla="*/ 60 h 94"/>
                <a:gd name="T4" fmla="*/ 7 w 25"/>
                <a:gd name="T5" fmla="*/ 33 h 94"/>
                <a:gd name="T6" fmla="*/ 21 w 25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94">
                  <a:moveTo>
                    <a:pt x="25" y="94"/>
                  </a:moveTo>
                  <a:cubicBezTo>
                    <a:pt x="11" y="89"/>
                    <a:pt x="1" y="75"/>
                    <a:pt x="0" y="60"/>
                  </a:cubicBezTo>
                  <a:cubicBezTo>
                    <a:pt x="0" y="51"/>
                    <a:pt x="3" y="41"/>
                    <a:pt x="7" y="33"/>
                  </a:cubicBezTo>
                  <a:cubicBezTo>
                    <a:pt x="11" y="22"/>
                    <a:pt x="16" y="11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9" name="Freeform 150">
              <a:extLst>
                <a:ext uri="{FF2B5EF4-FFF2-40B4-BE49-F238E27FC236}">
                  <a16:creationId xmlns:a16="http://schemas.microsoft.com/office/drawing/2014/main" id="{164242AD-8A00-4A12-9581-131AAA397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" y="1631"/>
              <a:ext cx="121" cy="359"/>
            </a:xfrm>
            <a:custGeom>
              <a:avLst/>
              <a:gdLst>
                <a:gd name="T0" fmla="*/ 11 w 51"/>
                <a:gd name="T1" fmla="*/ 151 h 151"/>
                <a:gd name="T2" fmla="*/ 17 w 51"/>
                <a:gd name="T3" fmla="*/ 147 h 151"/>
                <a:gd name="T4" fmla="*/ 32 w 51"/>
                <a:gd name="T5" fmla="*/ 136 h 151"/>
                <a:gd name="T6" fmla="*/ 46 w 51"/>
                <a:gd name="T7" fmla="*/ 111 h 151"/>
                <a:gd name="T8" fmla="*/ 45 w 51"/>
                <a:gd name="T9" fmla="*/ 77 h 151"/>
                <a:gd name="T10" fmla="*/ 27 w 51"/>
                <a:gd name="T11" fmla="*/ 47 h 151"/>
                <a:gd name="T12" fmla="*/ 9 w 51"/>
                <a:gd name="T13" fmla="*/ 24 h 151"/>
                <a:gd name="T14" fmla="*/ 1 w 51"/>
                <a:gd name="T15" fmla="*/ 7 h 151"/>
                <a:gd name="T16" fmla="*/ 0 w 51"/>
                <a:gd name="T17" fmla="*/ 2 h 151"/>
                <a:gd name="T18" fmla="*/ 0 w 51"/>
                <a:gd name="T19" fmla="*/ 0 h 151"/>
                <a:gd name="T20" fmla="*/ 11 w 51"/>
                <a:gd name="T21" fmla="*/ 24 h 151"/>
                <a:gd name="T22" fmla="*/ 28 w 51"/>
                <a:gd name="T23" fmla="*/ 46 h 151"/>
                <a:gd name="T24" fmla="*/ 47 w 51"/>
                <a:gd name="T25" fmla="*/ 76 h 151"/>
                <a:gd name="T26" fmla="*/ 48 w 51"/>
                <a:gd name="T27" fmla="*/ 112 h 151"/>
                <a:gd name="T28" fmla="*/ 33 w 51"/>
                <a:gd name="T29" fmla="*/ 137 h 151"/>
                <a:gd name="T30" fmla="*/ 17 w 51"/>
                <a:gd name="T31" fmla="*/ 148 h 151"/>
                <a:gd name="T32" fmla="*/ 13 w 51"/>
                <a:gd name="T33" fmla="*/ 150 h 151"/>
                <a:gd name="T34" fmla="*/ 11 w 51"/>
                <a:gd name="T3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151">
                  <a:moveTo>
                    <a:pt x="11" y="151"/>
                  </a:moveTo>
                  <a:cubicBezTo>
                    <a:pt x="11" y="150"/>
                    <a:pt x="13" y="150"/>
                    <a:pt x="17" y="147"/>
                  </a:cubicBezTo>
                  <a:cubicBezTo>
                    <a:pt x="21" y="145"/>
                    <a:pt x="27" y="141"/>
                    <a:pt x="32" y="136"/>
                  </a:cubicBezTo>
                  <a:cubicBezTo>
                    <a:pt x="38" y="130"/>
                    <a:pt x="43" y="121"/>
                    <a:pt x="46" y="111"/>
                  </a:cubicBezTo>
                  <a:cubicBezTo>
                    <a:pt x="48" y="101"/>
                    <a:pt x="49" y="89"/>
                    <a:pt x="45" y="77"/>
                  </a:cubicBezTo>
                  <a:cubicBezTo>
                    <a:pt x="40" y="65"/>
                    <a:pt x="33" y="56"/>
                    <a:pt x="27" y="47"/>
                  </a:cubicBezTo>
                  <a:cubicBezTo>
                    <a:pt x="20" y="39"/>
                    <a:pt x="14" y="31"/>
                    <a:pt x="9" y="24"/>
                  </a:cubicBezTo>
                  <a:cubicBezTo>
                    <a:pt x="5" y="17"/>
                    <a:pt x="2" y="11"/>
                    <a:pt x="1" y="7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0"/>
                    <a:pt x="11" y="24"/>
                  </a:cubicBezTo>
                  <a:cubicBezTo>
                    <a:pt x="15" y="30"/>
                    <a:pt x="21" y="38"/>
                    <a:pt x="28" y="46"/>
                  </a:cubicBezTo>
                  <a:cubicBezTo>
                    <a:pt x="35" y="55"/>
                    <a:pt x="42" y="64"/>
                    <a:pt x="47" y="76"/>
                  </a:cubicBezTo>
                  <a:cubicBezTo>
                    <a:pt x="51" y="88"/>
                    <a:pt x="51" y="101"/>
                    <a:pt x="48" y="112"/>
                  </a:cubicBezTo>
                  <a:cubicBezTo>
                    <a:pt x="45" y="122"/>
                    <a:pt x="39" y="131"/>
                    <a:pt x="33" y="137"/>
                  </a:cubicBezTo>
                  <a:cubicBezTo>
                    <a:pt x="27" y="142"/>
                    <a:pt x="22" y="146"/>
                    <a:pt x="17" y="148"/>
                  </a:cubicBezTo>
                  <a:cubicBezTo>
                    <a:pt x="15" y="149"/>
                    <a:pt x="14" y="150"/>
                    <a:pt x="13" y="150"/>
                  </a:cubicBezTo>
                  <a:cubicBezTo>
                    <a:pt x="11" y="150"/>
                    <a:pt x="11" y="151"/>
                    <a:pt x="11" y="15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0" name="Freeform 151">
              <a:extLst>
                <a:ext uri="{FF2B5EF4-FFF2-40B4-BE49-F238E27FC236}">
                  <a16:creationId xmlns:a16="http://schemas.microsoft.com/office/drawing/2014/main" id="{67019A1B-269A-4C3A-8EA0-5311401A1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1636"/>
              <a:ext cx="280" cy="414"/>
            </a:xfrm>
            <a:custGeom>
              <a:avLst/>
              <a:gdLst>
                <a:gd name="T0" fmla="*/ 18 w 118"/>
                <a:gd name="T1" fmla="*/ 174 h 174"/>
                <a:gd name="T2" fmla="*/ 16 w 118"/>
                <a:gd name="T3" fmla="*/ 172 h 174"/>
                <a:gd name="T4" fmla="*/ 13 w 118"/>
                <a:gd name="T5" fmla="*/ 166 h 174"/>
                <a:gd name="T6" fmla="*/ 4 w 118"/>
                <a:gd name="T7" fmla="*/ 142 h 174"/>
                <a:gd name="T8" fmla="*/ 2 w 118"/>
                <a:gd name="T9" fmla="*/ 104 h 174"/>
                <a:gd name="T10" fmla="*/ 21 w 118"/>
                <a:gd name="T11" fmla="*/ 62 h 174"/>
                <a:gd name="T12" fmla="*/ 38 w 118"/>
                <a:gd name="T13" fmla="*/ 45 h 174"/>
                <a:gd name="T14" fmla="*/ 58 w 118"/>
                <a:gd name="T15" fmla="*/ 34 h 174"/>
                <a:gd name="T16" fmla="*/ 94 w 118"/>
                <a:gd name="T17" fmla="*/ 23 h 174"/>
                <a:gd name="T18" fmla="*/ 114 w 118"/>
                <a:gd name="T19" fmla="*/ 8 h 174"/>
                <a:gd name="T20" fmla="*/ 118 w 118"/>
                <a:gd name="T21" fmla="*/ 0 h 174"/>
                <a:gd name="T22" fmla="*/ 117 w 118"/>
                <a:gd name="T23" fmla="*/ 2 h 174"/>
                <a:gd name="T24" fmla="*/ 114 w 118"/>
                <a:gd name="T25" fmla="*/ 9 h 174"/>
                <a:gd name="T26" fmla="*/ 95 w 118"/>
                <a:gd name="T27" fmla="*/ 25 h 174"/>
                <a:gd name="T28" fmla="*/ 59 w 118"/>
                <a:gd name="T29" fmla="*/ 36 h 174"/>
                <a:gd name="T30" fmla="*/ 39 w 118"/>
                <a:gd name="T31" fmla="*/ 46 h 174"/>
                <a:gd name="T32" fmla="*/ 22 w 118"/>
                <a:gd name="T33" fmla="*/ 63 h 174"/>
                <a:gd name="T34" fmla="*/ 4 w 118"/>
                <a:gd name="T35" fmla="*/ 104 h 174"/>
                <a:gd name="T36" fmla="*/ 5 w 118"/>
                <a:gd name="T37" fmla="*/ 141 h 174"/>
                <a:gd name="T38" fmla="*/ 14 w 118"/>
                <a:gd name="T39" fmla="*/ 165 h 174"/>
                <a:gd name="T40" fmla="*/ 18 w 118"/>
                <a:gd name="T4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74">
                  <a:moveTo>
                    <a:pt x="18" y="174"/>
                  </a:moveTo>
                  <a:cubicBezTo>
                    <a:pt x="18" y="174"/>
                    <a:pt x="17" y="173"/>
                    <a:pt x="16" y="172"/>
                  </a:cubicBezTo>
                  <a:cubicBezTo>
                    <a:pt x="15" y="170"/>
                    <a:pt x="14" y="168"/>
                    <a:pt x="13" y="166"/>
                  </a:cubicBezTo>
                  <a:cubicBezTo>
                    <a:pt x="10" y="160"/>
                    <a:pt x="6" y="152"/>
                    <a:pt x="4" y="142"/>
                  </a:cubicBezTo>
                  <a:cubicBezTo>
                    <a:pt x="1" y="131"/>
                    <a:pt x="0" y="118"/>
                    <a:pt x="2" y="104"/>
                  </a:cubicBezTo>
                  <a:cubicBezTo>
                    <a:pt x="4" y="90"/>
                    <a:pt x="10" y="75"/>
                    <a:pt x="21" y="62"/>
                  </a:cubicBezTo>
                  <a:cubicBezTo>
                    <a:pt x="26" y="55"/>
                    <a:pt x="32" y="49"/>
                    <a:pt x="38" y="45"/>
                  </a:cubicBezTo>
                  <a:cubicBezTo>
                    <a:pt x="44" y="40"/>
                    <a:pt x="51" y="37"/>
                    <a:pt x="58" y="34"/>
                  </a:cubicBezTo>
                  <a:cubicBezTo>
                    <a:pt x="71" y="30"/>
                    <a:pt x="84" y="28"/>
                    <a:pt x="94" y="23"/>
                  </a:cubicBezTo>
                  <a:cubicBezTo>
                    <a:pt x="104" y="19"/>
                    <a:pt x="110" y="13"/>
                    <a:pt x="114" y="8"/>
                  </a:cubicBezTo>
                  <a:cubicBezTo>
                    <a:pt x="117" y="3"/>
                    <a:pt x="118" y="0"/>
                    <a:pt x="118" y="0"/>
                  </a:cubicBezTo>
                  <a:cubicBezTo>
                    <a:pt x="118" y="0"/>
                    <a:pt x="118" y="1"/>
                    <a:pt x="117" y="2"/>
                  </a:cubicBezTo>
                  <a:cubicBezTo>
                    <a:pt x="117" y="4"/>
                    <a:pt x="116" y="6"/>
                    <a:pt x="114" y="9"/>
                  </a:cubicBezTo>
                  <a:cubicBezTo>
                    <a:pt x="111" y="14"/>
                    <a:pt x="105" y="20"/>
                    <a:pt x="95" y="25"/>
                  </a:cubicBezTo>
                  <a:cubicBezTo>
                    <a:pt x="85" y="29"/>
                    <a:pt x="72" y="31"/>
                    <a:pt x="59" y="36"/>
                  </a:cubicBezTo>
                  <a:cubicBezTo>
                    <a:pt x="52" y="39"/>
                    <a:pt x="45" y="42"/>
                    <a:pt x="39" y="46"/>
                  </a:cubicBezTo>
                  <a:cubicBezTo>
                    <a:pt x="33" y="51"/>
                    <a:pt x="27" y="56"/>
                    <a:pt x="22" y="63"/>
                  </a:cubicBezTo>
                  <a:cubicBezTo>
                    <a:pt x="12" y="76"/>
                    <a:pt x="6" y="90"/>
                    <a:pt x="4" y="104"/>
                  </a:cubicBezTo>
                  <a:cubicBezTo>
                    <a:pt x="2" y="118"/>
                    <a:pt x="3" y="131"/>
                    <a:pt x="5" y="141"/>
                  </a:cubicBezTo>
                  <a:cubicBezTo>
                    <a:pt x="8" y="152"/>
                    <a:pt x="11" y="160"/>
                    <a:pt x="14" y="165"/>
                  </a:cubicBezTo>
                  <a:cubicBezTo>
                    <a:pt x="16" y="171"/>
                    <a:pt x="18" y="174"/>
                    <a:pt x="18" y="174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1" name="Freeform 152">
              <a:extLst>
                <a:ext uri="{FF2B5EF4-FFF2-40B4-BE49-F238E27FC236}">
                  <a16:creationId xmlns:a16="http://schemas.microsoft.com/office/drawing/2014/main" id="{F1C2B606-91D3-4394-A0DA-09B941A6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1643"/>
              <a:ext cx="297" cy="143"/>
            </a:xfrm>
            <a:custGeom>
              <a:avLst/>
              <a:gdLst>
                <a:gd name="T0" fmla="*/ 0 w 125"/>
                <a:gd name="T1" fmla="*/ 60 h 60"/>
                <a:gd name="T2" fmla="*/ 0 w 125"/>
                <a:gd name="T3" fmla="*/ 59 h 60"/>
                <a:gd name="T4" fmla="*/ 0 w 125"/>
                <a:gd name="T5" fmla="*/ 54 h 60"/>
                <a:gd name="T6" fmla="*/ 7 w 125"/>
                <a:gd name="T7" fmla="*/ 40 h 60"/>
                <a:gd name="T8" fmla="*/ 27 w 125"/>
                <a:gd name="T9" fmla="*/ 25 h 60"/>
                <a:gd name="T10" fmla="*/ 56 w 125"/>
                <a:gd name="T11" fmla="*/ 20 h 60"/>
                <a:gd name="T12" fmla="*/ 85 w 125"/>
                <a:gd name="T13" fmla="*/ 19 h 60"/>
                <a:gd name="T14" fmla="*/ 108 w 125"/>
                <a:gd name="T15" fmla="*/ 13 h 60"/>
                <a:gd name="T16" fmla="*/ 121 w 125"/>
                <a:gd name="T17" fmla="*/ 4 h 60"/>
                <a:gd name="T18" fmla="*/ 125 w 125"/>
                <a:gd name="T19" fmla="*/ 0 h 60"/>
                <a:gd name="T20" fmla="*/ 124 w 125"/>
                <a:gd name="T21" fmla="*/ 1 h 60"/>
                <a:gd name="T22" fmla="*/ 121 w 125"/>
                <a:gd name="T23" fmla="*/ 5 h 60"/>
                <a:gd name="T24" fmla="*/ 108 w 125"/>
                <a:gd name="T25" fmla="*/ 14 h 60"/>
                <a:gd name="T26" fmla="*/ 85 w 125"/>
                <a:gd name="T27" fmla="*/ 21 h 60"/>
                <a:gd name="T28" fmla="*/ 56 w 125"/>
                <a:gd name="T29" fmla="*/ 22 h 60"/>
                <a:gd name="T30" fmla="*/ 27 w 125"/>
                <a:gd name="T31" fmla="*/ 27 h 60"/>
                <a:gd name="T32" fmla="*/ 8 w 125"/>
                <a:gd name="T33" fmla="*/ 41 h 60"/>
                <a:gd name="T34" fmla="*/ 1 w 125"/>
                <a:gd name="T35" fmla="*/ 54 h 60"/>
                <a:gd name="T36" fmla="*/ 0 w 125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60">
                  <a:moveTo>
                    <a:pt x="0" y="60"/>
                  </a:moveTo>
                  <a:cubicBezTo>
                    <a:pt x="0" y="60"/>
                    <a:pt x="0" y="60"/>
                    <a:pt x="0" y="59"/>
                  </a:cubicBezTo>
                  <a:cubicBezTo>
                    <a:pt x="0" y="58"/>
                    <a:pt x="0" y="56"/>
                    <a:pt x="0" y="54"/>
                  </a:cubicBezTo>
                  <a:cubicBezTo>
                    <a:pt x="1" y="50"/>
                    <a:pt x="3" y="45"/>
                    <a:pt x="7" y="40"/>
                  </a:cubicBezTo>
                  <a:cubicBezTo>
                    <a:pt x="11" y="34"/>
                    <a:pt x="18" y="29"/>
                    <a:pt x="27" y="25"/>
                  </a:cubicBezTo>
                  <a:cubicBezTo>
                    <a:pt x="35" y="22"/>
                    <a:pt x="45" y="21"/>
                    <a:pt x="56" y="20"/>
                  </a:cubicBezTo>
                  <a:cubicBezTo>
                    <a:pt x="66" y="20"/>
                    <a:pt x="76" y="20"/>
                    <a:pt x="85" y="19"/>
                  </a:cubicBezTo>
                  <a:cubicBezTo>
                    <a:pt x="94" y="18"/>
                    <a:pt x="102" y="16"/>
                    <a:pt x="108" y="13"/>
                  </a:cubicBezTo>
                  <a:cubicBezTo>
                    <a:pt x="114" y="10"/>
                    <a:pt x="118" y="7"/>
                    <a:pt x="121" y="4"/>
                  </a:cubicBezTo>
                  <a:cubicBezTo>
                    <a:pt x="124" y="2"/>
                    <a:pt x="125" y="0"/>
                    <a:pt x="125" y="0"/>
                  </a:cubicBezTo>
                  <a:cubicBezTo>
                    <a:pt x="125" y="0"/>
                    <a:pt x="125" y="0"/>
                    <a:pt x="124" y="1"/>
                  </a:cubicBezTo>
                  <a:cubicBezTo>
                    <a:pt x="124" y="2"/>
                    <a:pt x="123" y="3"/>
                    <a:pt x="121" y="5"/>
                  </a:cubicBezTo>
                  <a:cubicBezTo>
                    <a:pt x="119" y="8"/>
                    <a:pt x="115" y="11"/>
                    <a:pt x="108" y="14"/>
                  </a:cubicBezTo>
                  <a:cubicBezTo>
                    <a:pt x="102" y="17"/>
                    <a:pt x="94" y="20"/>
                    <a:pt x="85" y="21"/>
                  </a:cubicBezTo>
                  <a:cubicBezTo>
                    <a:pt x="76" y="22"/>
                    <a:pt x="66" y="22"/>
                    <a:pt x="56" y="22"/>
                  </a:cubicBezTo>
                  <a:cubicBezTo>
                    <a:pt x="46" y="23"/>
                    <a:pt x="36" y="24"/>
                    <a:pt x="27" y="27"/>
                  </a:cubicBezTo>
                  <a:cubicBezTo>
                    <a:pt x="19" y="30"/>
                    <a:pt x="13" y="35"/>
                    <a:pt x="8" y="41"/>
                  </a:cubicBezTo>
                  <a:cubicBezTo>
                    <a:pt x="4" y="46"/>
                    <a:pt x="2" y="51"/>
                    <a:pt x="1" y="54"/>
                  </a:cubicBezTo>
                  <a:cubicBezTo>
                    <a:pt x="0" y="58"/>
                    <a:pt x="0" y="60"/>
                    <a:pt x="0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2" name="Freeform 153">
              <a:extLst>
                <a:ext uri="{FF2B5EF4-FFF2-40B4-BE49-F238E27FC236}">
                  <a16:creationId xmlns:a16="http://schemas.microsoft.com/office/drawing/2014/main" id="{03074BC6-1D6F-4A96-AFDA-90524EC2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5" y="1529"/>
              <a:ext cx="109" cy="112"/>
            </a:xfrm>
            <a:custGeom>
              <a:avLst/>
              <a:gdLst>
                <a:gd name="T0" fmla="*/ 44 w 46"/>
                <a:gd name="T1" fmla="*/ 0 h 47"/>
                <a:gd name="T2" fmla="*/ 45 w 46"/>
                <a:gd name="T3" fmla="*/ 3 h 47"/>
                <a:gd name="T4" fmla="*/ 45 w 46"/>
                <a:gd name="T5" fmla="*/ 11 h 47"/>
                <a:gd name="T6" fmla="*/ 33 w 46"/>
                <a:gd name="T7" fmla="*/ 33 h 47"/>
                <a:gd name="T8" fmla="*/ 11 w 46"/>
                <a:gd name="T9" fmla="*/ 45 h 47"/>
                <a:gd name="T10" fmla="*/ 0 w 46"/>
                <a:gd name="T11" fmla="*/ 46 h 47"/>
                <a:gd name="T12" fmla="*/ 10 w 46"/>
                <a:gd name="T13" fmla="*/ 43 h 47"/>
                <a:gd name="T14" fmla="*/ 32 w 46"/>
                <a:gd name="T15" fmla="*/ 32 h 47"/>
                <a:gd name="T16" fmla="*/ 44 w 46"/>
                <a:gd name="T17" fmla="*/ 11 h 47"/>
                <a:gd name="T18" fmla="*/ 44 w 46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7">
                  <a:moveTo>
                    <a:pt x="44" y="0"/>
                  </a:moveTo>
                  <a:cubicBezTo>
                    <a:pt x="44" y="0"/>
                    <a:pt x="44" y="1"/>
                    <a:pt x="45" y="3"/>
                  </a:cubicBezTo>
                  <a:cubicBezTo>
                    <a:pt x="45" y="5"/>
                    <a:pt x="46" y="8"/>
                    <a:pt x="45" y="11"/>
                  </a:cubicBezTo>
                  <a:cubicBezTo>
                    <a:pt x="45" y="18"/>
                    <a:pt x="41" y="27"/>
                    <a:pt x="33" y="33"/>
                  </a:cubicBezTo>
                  <a:cubicBezTo>
                    <a:pt x="26" y="40"/>
                    <a:pt x="17" y="43"/>
                    <a:pt x="11" y="45"/>
                  </a:cubicBezTo>
                  <a:cubicBezTo>
                    <a:pt x="4" y="46"/>
                    <a:pt x="0" y="47"/>
                    <a:pt x="0" y="46"/>
                  </a:cubicBezTo>
                  <a:cubicBezTo>
                    <a:pt x="0" y="46"/>
                    <a:pt x="4" y="45"/>
                    <a:pt x="10" y="43"/>
                  </a:cubicBezTo>
                  <a:cubicBezTo>
                    <a:pt x="16" y="41"/>
                    <a:pt x="25" y="38"/>
                    <a:pt x="32" y="32"/>
                  </a:cubicBezTo>
                  <a:cubicBezTo>
                    <a:pt x="39" y="25"/>
                    <a:pt x="43" y="17"/>
                    <a:pt x="44" y="11"/>
                  </a:cubicBezTo>
                  <a:cubicBezTo>
                    <a:pt x="45" y="4"/>
                    <a:pt x="43" y="1"/>
                    <a:pt x="4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3" name="Freeform 154">
              <a:extLst>
                <a:ext uri="{FF2B5EF4-FFF2-40B4-BE49-F238E27FC236}">
                  <a16:creationId xmlns:a16="http://schemas.microsoft.com/office/drawing/2014/main" id="{99F8A4EF-2206-49B4-A332-047D2CDA7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608"/>
              <a:ext cx="52" cy="47"/>
            </a:xfrm>
            <a:custGeom>
              <a:avLst/>
              <a:gdLst>
                <a:gd name="T0" fmla="*/ 22 w 22"/>
                <a:gd name="T1" fmla="*/ 0 h 20"/>
                <a:gd name="T2" fmla="*/ 22 w 22"/>
                <a:gd name="T3" fmla="*/ 5 h 20"/>
                <a:gd name="T4" fmla="*/ 15 w 22"/>
                <a:gd name="T5" fmla="*/ 15 h 20"/>
                <a:gd name="T6" fmla="*/ 5 w 22"/>
                <a:gd name="T7" fmla="*/ 19 h 20"/>
                <a:gd name="T8" fmla="*/ 0 w 22"/>
                <a:gd name="T9" fmla="*/ 19 h 20"/>
                <a:gd name="T10" fmla="*/ 5 w 22"/>
                <a:gd name="T11" fmla="*/ 18 h 20"/>
                <a:gd name="T12" fmla="*/ 14 w 22"/>
                <a:gd name="T13" fmla="*/ 13 h 20"/>
                <a:gd name="T14" fmla="*/ 20 w 22"/>
                <a:gd name="T15" fmla="*/ 4 h 20"/>
                <a:gd name="T16" fmla="*/ 22 w 22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22" y="0"/>
                  </a:moveTo>
                  <a:cubicBezTo>
                    <a:pt x="22" y="0"/>
                    <a:pt x="22" y="2"/>
                    <a:pt x="22" y="5"/>
                  </a:cubicBezTo>
                  <a:cubicBezTo>
                    <a:pt x="21" y="8"/>
                    <a:pt x="19" y="12"/>
                    <a:pt x="15" y="15"/>
                  </a:cubicBezTo>
                  <a:cubicBezTo>
                    <a:pt x="12" y="18"/>
                    <a:pt x="8" y="19"/>
                    <a:pt x="5" y="19"/>
                  </a:cubicBezTo>
                  <a:cubicBezTo>
                    <a:pt x="2" y="20"/>
                    <a:pt x="0" y="19"/>
                    <a:pt x="0" y="19"/>
                  </a:cubicBezTo>
                  <a:cubicBezTo>
                    <a:pt x="0" y="19"/>
                    <a:pt x="2" y="19"/>
                    <a:pt x="5" y="18"/>
                  </a:cubicBezTo>
                  <a:cubicBezTo>
                    <a:pt x="7" y="17"/>
                    <a:pt x="11" y="16"/>
                    <a:pt x="14" y="13"/>
                  </a:cubicBezTo>
                  <a:cubicBezTo>
                    <a:pt x="17" y="10"/>
                    <a:pt x="19" y="7"/>
                    <a:pt x="20" y="4"/>
                  </a:cubicBezTo>
                  <a:cubicBezTo>
                    <a:pt x="21" y="2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4" name="Freeform 155">
              <a:extLst>
                <a:ext uri="{FF2B5EF4-FFF2-40B4-BE49-F238E27FC236}">
                  <a16:creationId xmlns:a16="http://schemas.microsoft.com/office/drawing/2014/main" id="{4633CB06-165F-4250-8BA0-0CBAF9F6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7" y="2249"/>
              <a:ext cx="404" cy="242"/>
            </a:xfrm>
            <a:custGeom>
              <a:avLst/>
              <a:gdLst>
                <a:gd name="T0" fmla="*/ 30 w 170"/>
                <a:gd name="T1" fmla="*/ 10 h 102"/>
                <a:gd name="T2" fmla="*/ 90 w 170"/>
                <a:gd name="T3" fmla="*/ 39 h 102"/>
                <a:gd name="T4" fmla="*/ 139 w 170"/>
                <a:gd name="T5" fmla="*/ 0 h 102"/>
                <a:gd name="T6" fmla="*/ 170 w 170"/>
                <a:gd name="T7" fmla="*/ 34 h 102"/>
                <a:gd name="T8" fmla="*/ 140 w 170"/>
                <a:gd name="T9" fmla="*/ 96 h 102"/>
                <a:gd name="T10" fmla="*/ 96 w 170"/>
                <a:gd name="T11" fmla="*/ 102 h 102"/>
                <a:gd name="T12" fmla="*/ 46 w 170"/>
                <a:gd name="T13" fmla="*/ 99 h 102"/>
                <a:gd name="T14" fmla="*/ 0 w 170"/>
                <a:gd name="T15" fmla="*/ 68 h 102"/>
                <a:gd name="T16" fmla="*/ 30 w 170"/>
                <a:gd name="T17" fmla="*/ 1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" h="102">
                  <a:moveTo>
                    <a:pt x="30" y="10"/>
                  </a:moveTo>
                  <a:cubicBezTo>
                    <a:pt x="30" y="10"/>
                    <a:pt x="43" y="41"/>
                    <a:pt x="90" y="39"/>
                  </a:cubicBezTo>
                  <a:cubicBezTo>
                    <a:pt x="137" y="37"/>
                    <a:pt x="139" y="0"/>
                    <a:pt x="139" y="0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30" y="10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5" name="Freeform 156">
              <a:extLst>
                <a:ext uri="{FF2B5EF4-FFF2-40B4-BE49-F238E27FC236}">
                  <a16:creationId xmlns:a16="http://schemas.microsoft.com/office/drawing/2014/main" id="{87446F51-B96F-429B-9A60-23B6CDDF9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" y="2187"/>
              <a:ext cx="219" cy="509"/>
            </a:xfrm>
            <a:custGeom>
              <a:avLst/>
              <a:gdLst>
                <a:gd name="T0" fmla="*/ 26 w 92"/>
                <a:gd name="T1" fmla="*/ 0 h 214"/>
                <a:gd name="T2" fmla="*/ 4 w 92"/>
                <a:gd name="T3" fmla="*/ 49 h 214"/>
                <a:gd name="T4" fmla="*/ 11 w 92"/>
                <a:gd name="T5" fmla="*/ 102 h 214"/>
                <a:gd name="T6" fmla="*/ 28 w 92"/>
                <a:gd name="T7" fmla="*/ 132 h 214"/>
                <a:gd name="T8" fmla="*/ 23 w 92"/>
                <a:gd name="T9" fmla="*/ 172 h 214"/>
                <a:gd name="T10" fmla="*/ 44 w 92"/>
                <a:gd name="T11" fmla="*/ 214 h 214"/>
                <a:gd name="T12" fmla="*/ 80 w 92"/>
                <a:gd name="T13" fmla="*/ 201 h 214"/>
                <a:gd name="T14" fmla="*/ 90 w 92"/>
                <a:gd name="T15" fmla="*/ 194 h 214"/>
                <a:gd name="T16" fmla="*/ 84 w 92"/>
                <a:gd name="T17" fmla="*/ 178 h 214"/>
                <a:gd name="T18" fmla="*/ 85 w 92"/>
                <a:gd name="T19" fmla="*/ 113 h 214"/>
                <a:gd name="T20" fmla="*/ 69 w 92"/>
                <a:gd name="T21" fmla="*/ 88 h 214"/>
                <a:gd name="T22" fmla="*/ 65 w 92"/>
                <a:gd name="T23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214">
                  <a:moveTo>
                    <a:pt x="26" y="0"/>
                  </a:moveTo>
                  <a:cubicBezTo>
                    <a:pt x="16" y="15"/>
                    <a:pt x="7" y="31"/>
                    <a:pt x="4" y="49"/>
                  </a:cubicBezTo>
                  <a:cubicBezTo>
                    <a:pt x="0" y="67"/>
                    <a:pt x="2" y="86"/>
                    <a:pt x="11" y="102"/>
                  </a:cubicBezTo>
                  <a:cubicBezTo>
                    <a:pt x="17" y="112"/>
                    <a:pt x="26" y="121"/>
                    <a:pt x="28" y="132"/>
                  </a:cubicBezTo>
                  <a:cubicBezTo>
                    <a:pt x="31" y="145"/>
                    <a:pt x="24" y="158"/>
                    <a:pt x="23" y="172"/>
                  </a:cubicBezTo>
                  <a:cubicBezTo>
                    <a:pt x="21" y="188"/>
                    <a:pt x="30" y="205"/>
                    <a:pt x="44" y="214"/>
                  </a:cubicBezTo>
                  <a:cubicBezTo>
                    <a:pt x="56" y="210"/>
                    <a:pt x="68" y="206"/>
                    <a:pt x="80" y="201"/>
                  </a:cubicBezTo>
                  <a:cubicBezTo>
                    <a:pt x="84" y="200"/>
                    <a:pt x="89" y="198"/>
                    <a:pt x="90" y="194"/>
                  </a:cubicBezTo>
                  <a:cubicBezTo>
                    <a:pt x="92" y="188"/>
                    <a:pt x="87" y="183"/>
                    <a:pt x="84" y="178"/>
                  </a:cubicBezTo>
                  <a:cubicBezTo>
                    <a:pt x="72" y="159"/>
                    <a:pt x="91" y="134"/>
                    <a:pt x="85" y="113"/>
                  </a:cubicBezTo>
                  <a:cubicBezTo>
                    <a:pt x="82" y="104"/>
                    <a:pt x="75" y="96"/>
                    <a:pt x="69" y="88"/>
                  </a:cubicBezTo>
                  <a:cubicBezTo>
                    <a:pt x="53" y="65"/>
                    <a:pt x="51" y="32"/>
                    <a:pt x="65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6" name="Freeform 157">
              <a:extLst>
                <a:ext uri="{FF2B5EF4-FFF2-40B4-BE49-F238E27FC236}">
                  <a16:creationId xmlns:a16="http://schemas.microsoft.com/office/drawing/2014/main" id="{A7A5A087-0D47-451A-B76D-9DD3A9EC4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2121"/>
              <a:ext cx="102" cy="541"/>
            </a:xfrm>
            <a:custGeom>
              <a:avLst/>
              <a:gdLst>
                <a:gd name="T0" fmla="*/ 43 w 43"/>
                <a:gd name="T1" fmla="*/ 228 h 228"/>
                <a:gd name="T2" fmla="*/ 42 w 43"/>
                <a:gd name="T3" fmla="*/ 228 h 228"/>
                <a:gd name="T4" fmla="*/ 40 w 43"/>
                <a:gd name="T5" fmla="*/ 227 h 228"/>
                <a:gd name="T6" fmla="*/ 34 w 43"/>
                <a:gd name="T7" fmla="*/ 223 h 228"/>
                <a:gd name="T8" fmla="*/ 29 w 43"/>
                <a:gd name="T9" fmla="*/ 197 h 228"/>
                <a:gd name="T10" fmla="*/ 35 w 43"/>
                <a:gd name="T11" fmla="*/ 179 h 228"/>
                <a:gd name="T12" fmla="*/ 41 w 43"/>
                <a:gd name="T13" fmla="*/ 159 h 228"/>
                <a:gd name="T14" fmla="*/ 37 w 43"/>
                <a:gd name="T15" fmla="*/ 136 h 228"/>
                <a:gd name="T16" fmla="*/ 25 w 43"/>
                <a:gd name="T17" fmla="*/ 113 h 228"/>
                <a:gd name="T18" fmla="*/ 11 w 43"/>
                <a:gd name="T19" fmla="*/ 91 h 228"/>
                <a:gd name="T20" fmla="*/ 3 w 43"/>
                <a:gd name="T21" fmla="*/ 69 h 228"/>
                <a:gd name="T22" fmla="*/ 8 w 43"/>
                <a:gd name="T23" fmla="*/ 29 h 228"/>
                <a:gd name="T24" fmla="*/ 23 w 43"/>
                <a:gd name="T25" fmla="*/ 6 h 228"/>
                <a:gd name="T26" fmla="*/ 28 w 43"/>
                <a:gd name="T27" fmla="*/ 2 h 228"/>
                <a:gd name="T28" fmla="*/ 31 w 43"/>
                <a:gd name="T29" fmla="*/ 0 h 228"/>
                <a:gd name="T30" fmla="*/ 29 w 43"/>
                <a:gd name="T31" fmla="*/ 2 h 228"/>
                <a:gd name="T32" fmla="*/ 23 w 43"/>
                <a:gd name="T33" fmla="*/ 7 h 228"/>
                <a:gd name="T34" fmla="*/ 9 w 43"/>
                <a:gd name="T35" fmla="*/ 29 h 228"/>
                <a:gd name="T36" fmla="*/ 5 w 43"/>
                <a:gd name="T37" fmla="*/ 69 h 228"/>
                <a:gd name="T38" fmla="*/ 13 w 43"/>
                <a:gd name="T39" fmla="*/ 90 h 228"/>
                <a:gd name="T40" fmla="*/ 27 w 43"/>
                <a:gd name="T41" fmla="*/ 112 h 228"/>
                <a:gd name="T42" fmla="*/ 39 w 43"/>
                <a:gd name="T43" fmla="*/ 135 h 228"/>
                <a:gd name="T44" fmla="*/ 42 w 43"/>
                <a:gd name="T45" fmla="*/ 159 h 228"/>
                <a:gd name="T46" fmla="*/ 36 w 43"/>
                <a:gd name="T47" fmla="*/ 180 h 228"/>
                <a:gd name="T48" fmla="*/ 30 w 43"/>
                <a:gd name="T49" fmla="*/ 197 h 228"/>
                <a:gd name="T50" fmla="*/ 35 w 43"/>
                <a:gd name="T51" fmla="*/ 222 h 228"/>
                <a:gd name="T52" fmla="*/ 43 w 43"/>
                <a:gd name="T5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228">
                  <a:moveTo>
                    <a:pt x="43" y="228"/>
                  </a:moveTo>
                  <a:cubicBezTo>
                    <a:pt x="43" y="228"/>
                    <a:pt x="43" y="228"/>
                    <a:pt x="42" y="228"/>
                  </a:cubicBezTo>
                  <a:cubicBezTo>
                    <a:pt x="42" y="228"/>
                    <a:pt x="41" y="227"/>
                    <a:pt x="40" y="227"/>
                  </a:cubicBezTo>
                  <a:cubicBezTo>
                    <a:pt x="39" y="227"/>
                    <a:pt x="36" y="225"/>
                    <a:pt x="34" y="223"/>
                  </a:cubicBezTo>
                  <a:cubicBezTo>
                    <a:pt x="30" y="218"/>
                    <a:pt x="26" y="208"/>
                    <a:pt x="29" y="197"/>
                  </a:cubicBezTo>
                  <a:cubicBezTo>
                    <a:pt x="30" y="191"/>
                    <a:pt x="32" y="185"/>
                    <a:pt x="35" y="179"/>
                  </a:cubicBezTo>
                  <a:cubicBezTo>
                    <a:pt x="37" y="173"/>
                    <a:pt x="40" y="166"/>
                    <a:pt x="41" y="159"/>
                  </a:cubicBezTo>
                  <a:cubicBezTo>
                    <a:pt x="41" y="151"/>
                    <a:pt x="40" y="143"/>
                    <a:pt x="37" y="136"/>
                  </a:cubicBezTo>
                  <a:cubicBezTo>
                    <a:pt x="34" y="128"/>
                    <a:pt x="30" y="121"/>
                    <a:pt x="25" y="113"/>
                  </a:cubicBezTo>
                  <a:cubicBezTo>
                    <a:pt x="20" y="106"/>
                    <a:pt x="15" y="99"/>
                    <a:pt x="11" y="91"/>
                  </a:cubicBezTo>
                  <a:cubicBezTo>
                    <a:pt x="7" y="84"/>
                    <a:pt x="4" y="77"/>
                    <a:pt x="3" y="69"/>
                  </a:cubicBezTo>
                  <a:cubicBezTo>
                    <a:pt x="0" y="54"/>
                    <a:pt x="3" y="40"/>
                    <a:pt x="8" y="29"/>
                  </a:cubicBezTo>
                  <a:cubicBezTo>
                    <a:pt x="12" y="18"/>
                    <a:pt x="18" y="11"/>
                    <a:pt x="23" y="6"/>
                  </a:cubicBezTo>
                  <a:cubicBezTo>
                    <a:pt x="25" y="4"/>
                    <a:pt x="27" y="3"/>
                    <a:pt x="28" y="2"/>
                  </a:cubicBezTo>
                  <a:cubicBezTo>
                    <a:pt x="30" y="1"/>
                    <a:pt x="31" y="0"/>
                    <a:pt x="31" y="0"/>
                  </a:cubicBezTo>
                  <a:cubicBezTo>
                    <a:pt x="31" y="0"/>
                    <a:pt x="30" y="1"/>
                    <a:pt x="29" y="2"/>
                  </a:cubicBezTo>
                  <a:cubicBezTo>
                    <a:pt x="27" y="3"/>
                    <a:pt x="26" y="5"/>
                    <a:pt x="23" y="7"/>
                  </a:cubicBezTo>
                  <a:cubicBezTo>
                    <a:pt x="19" y="12"/>
                    <a:pt x="13" y="19"/>
                    <a:pt x="9" y="29"/>
                  </a:cubicBezTo>
                  <a:cubicBezTo>
                    <a:pt x="5" y="40"/>
                    <a:pt x="2" y="54"/>
                    <a:pt x="5" y="69"/>
                  </a:cubicBezTo>
                  <a:cubicBezTo>
                    <a:pt x="6" y="76"/>
                    <a:pt x="9" y="83"/>
                    <a:pt x="13" y="90"/>
                  </a:cubicBezTo>
                  <a:cubicBezTo>
                    <a:pt x="17" y="98"/>
                    <a:pt x="22" y="105"/>
                    <a:pt x="27" y="112"/>
                  </a:cubicBezTo>
                  <a:cubicBezTo>
                    <a:pt x="31" y="120"/>
                    <a:pt x="36" y="127"/>
                    <a:pt x="39" y="135"/>
                  </a:cubicBezTo>
                  <a:cubicBezTo>
                    <a:pt x="41" y="143"/>
                    <a:pt x="43" y="151"/>
                    <a:pt x="42" y="159"/>
                  </a:cubicBezTo>
                  <a:cubicBezTo>
                    <a:pt x="42" y="166"/>
                    <a:pt x="39" y="173"/>
                    <a:pt x="36" y="180"/>
                  </a:cubicBezTo>
                  <a:cubicBezTo>
                    <a:pt x="34" y="186"/>
                    <a:pt x="31" y="192"/>
                    <a:pt x="30" y="197"/>
                  </a:cubicBezTo>
                  <a:cubicBezTo>
                    <a:pt x="28" y="208"/>
                    <a:pt x="31" y="218"/>
                    <a:pt x="35" y="222"/>
                  </a:cubicBezTo>
                  <a:cubicBezTo>
                    <a:pt x="39" y="227"/>
                    <a:pt x="43" y="227"/>
                    <a:pt x="43" y="22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7" name="Freeform 158">
              <a:extLst>
                <a:ext uri="{FF2B5EF4-FFF2-40B4-BE49-F238E27FC236}">
                  <a16:creationId xmlns:a16="http://schemas.microsoft.com/office/drawing/2014/main" id="{325DB2A2-6BA7-4D07-A33B-4A2D87B12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" y="3199"/>
              <a:ext cx="164" cy="359"/>
            </a:xfrm>
            <a:custGeom>
              <a:avLst/>
              <a:gdLst>
                <a:gd name="T0" fmla="*/ 32 w 69"/>
                <a:gd name="T1" fmla="*/ 2 h 151"/>
                <a:gd name="T2" fmla="*/ 62 w 69"/>
                <a:gd name="T3" fmla="*/ 31 h 151"/>
                <a:gd name="T4" fmla="*/ 69 w 69"/>
                <a:gd name="T5" fmla="*/ 72 h 151"/>
                <a:gd name="T6" fmla="*/ 41 w 69"/>
                <a:gd name="T7" fmla="*/ 151 h 151"/>
                <a:gd name="T8" fmla="*/ 5 w 69"/>
                <a:gd name="T9" fmla="*/ 81 h 151"/>
                <a:gd name="T10" fmla="*/ 32 w 69"/>
                <a:gd name="T11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51">
                  <a:moveTo>
                    <a:pt x="32" y="2"/>
                  </a:moveTo>
                  <a:cubicBezTo>
                    <a:pt x="45" y="7"/>
                    <a:pt x="56" y="18"/>
                    <a:pt x="62" y="31"/>
                  </a:cubicBezTo>
                  <a:cubicBezTo>
                    <a:pt x="68" y="43"/>
                    <a:pt x="69" y="58"/>
                    <a:pt x="69" y="72"/>
                  </a:cubicBezTo>
                  <a:cubicBezTo>
                    <a:pt x="68" y="99"/>
                    <a:pt x="55" y="128"/>
                    <a:pt x="41" y="151"/>
                  </a:cubicBezTo>
                  <a:cubicBezTo>
                    <a:pt x="16" y="133"/>
                    <a:pt x="8" y="99"/>
                    <a:pt x="5" y="81"/>
                  </a:cubicBezTo>
                  <a:cubicBezTo>
                    <a:pt x="0" y="54"/>
                    <a:pt x="8" y="0"/>
                    <a:pt x="32" y="2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8" name="Freeform 159">
              <a:extLst>
                <a:ext uri="{FF2B5EF4-FFF2-40B4-BE49-F238E27FC236}">
                  <a16:creationId xmlns:a16="http://schemas.microsoft.com/office/drawing/2014/main" id="{5EF2EF85-9306-45CE-AF8D-25A3A7C1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" y="3508"/>
              <a:ext cx="192" cy="164"/>
            </a:xfrm>
            <a:custGeom>
              <a:avLst/>
              <a:gdLst>
                <a:gd name="T0" fmla="*/ 6 w 81"/>
                <a:gd name="T1" fmla="*/ 66 h 69"/>
                <a:gd name="T2" fmla="*/ 14 w 81"/>
                <a:gd name="T3" fmla="*/ 21 h 69"/>
                <a:gd name="T4" fmla="*/ 55 w 81"/>
                <a:gd name="T5" fmla="*/ 1 h 69"/>
                <a:gd name="T6" fmla="*/ 75 w 81"/>
                <a:gd name="T7" fmla="*/ 6 h 69"/>
                <a:gd name="T8" fmla="*/ 79 w 81"/>
                <a:gd name="T9" fmla="*/ 25 h 69"/>
                <a:gd name="T10" fmla="*/ 67 w 81"/>
                <a:gd name="T11" fmla="*/ 42 h 69"/>
                <a:gd name="T12" fmla="*/ 6 w 81"/>
                <a:gd name="T13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69">
                  <a:moveTo>
                    <a:pt x="6" y="66"/>
                  </a:moveTo>
                  <a:cubicBezTo>
                    <a:pt x="0" y="51"/>
                    <a:pt x="4" y="34"/>
                    <a:pt x="14" y="21"/>
                  </a:cubicBezTo>
                  <a:cubicBezTo>
                    <a:pt x="24" y="9"/>
                    <a:pt x="39" y="2"/>
                    <a:pt x="55" y="1"/>
                  </a:cubicBezTo>
                  <a:cubicBezTo>
                    <a:pt x="62" y="0"/>
                    <a:pt x="70" y="1"/>
                    <a:pt x="75" y="6"/>
                  </a:cubicBezTo>
                  <a:cubicBezTo>
                    <a:pt x="80" y="11"/>
                    <a:pt x="81" y="19"/>
                    <a:pt x="79" y="25"/>
                  </a:cubicBezTo>
                  <a:cubicBezTo>
                    <a:pt x="77" y="32"/>
                    <a:pt x="72" y="37"/>
                    <a:pt x="67" y="42"/>
                  </a:cubicBezTo>
                  <a:cubicBezTo>
                    <a:pt x="49" y="57"/>
                    <a:pt x="30" y="69"/>
                    <a:pt x="6" y="66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9" name="Freeform 160">
              <a:extLst>
                <a:ext uri="{FF2B5EF4-FFF2-40B4-BE49-F238E27FC236}">
                  <a16:creationId xmlns:a16="http://schemas.microsoft.com/office/drawing/2014/main" id="{610270C8-FA42-405D-97C2-96047EB2F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" y="3572"/>
              <a:ext cx="157" cy="288"/>
            </a:xfrm>
            <a:custGeom>
              <a:avLst/>
              <a:gdLst>
                <a:gd name="T0" fmla="*/ 1 w 66"/>
                <a:gd name="T1" fmla="*/ 121 h 121"/>
                <a:gd name="T2" fmla="*/ 1 w 66"/>
                <a:gd name="T3" fmla="*/ 115 h 121"/>
                <a:gd name="T4" fmla="*/ 3 w 66"/>
                <a:gd name="T5" fmla="*/ 100 h 121"/>
                <a:gd name="T6" fmla="*/ 15 w 66"/>
                <a:gd name="T7" fmla="*/ 50 h 121"/>
                <a:gd name="T8" fmla="*/ 47 w 66"/>
                <a:gd name="T9" fmla="*/ 9 h 121"/>
                <a:gd name="T10" fmla="*/ 61 w 66"/>
                <a:gd name="T11" fmla="*/ 2 h 121"/>
                <a:gd name="T12" fmla="*/ 66 w 66"/>
                <a:gd name="T13" fmla="*/ 0 h 121"/>
                <a:gd name="T14" fmla="*/ 48 w 66"/>
                <a:gd name="T15" fmla="*/ 11 h 121"/>
                <a:gd name="T16" fmla="*/ 18 w 66"/>
                <a:gd name="T17" fmla="*/ 51 h 121"/>
                <a:gd name="T18" fmla="*/ 5 w 66"/>
                <a:gd name="T19" fmla="*/ 100 h 121"/>
                <a:gd name="T20" fmla="*/ 1 w 66"/>
                <a:gd name="T21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1">
                  <a:moveTo>
                    <a:pt x="1" y="121"/>
                  </a:moveTo>
                  <a:cubicBezTo>
                    <a:pt x="0" y="121"/>
                    <a:pt x="1" y="119"/>
                    <a:pt x="1" y="115"/>
                  </a:cubicBezTo>
                  <a:cubicBezTo>
                    <a:pt x="1" y="112"/>
                    <a:pt x="2" y="106"/>
                    <a:pt x="3" y="100"/>
                  </a:cubicBezTo>
                  <a:cubicBezTo>
                    <a:pt x="4" y="87"/>
                    <a:pt x="7" y="69"/>
                    <a:pt x="15" y="50"/>
                  </a:cubicBezTo>
                  <a:cubicBezTo>
                    <a:pt x="23" y="31"/>
                    <a:pt x="36" y="17"/>
                    <a:pt x="47" y="9"/>
                  </a:cubicBezTo>
                  <a:cubicBezTo>
                    <a:pt x="52" y="6"/>
                    <a:pt x="57" y="3"/>
                    <a:pt x="61" y="2"/>
                  </a:cubicBezTo>
                  <a:cubicBezTo>
                    <a:pt x="64" y="1"/>
                    <a:pt x="66" y="0"/>
                    <a:pt x="66" y="0"/>
                  </a:cubicBezTo>
                  <a:cubicBezTo>
                    <a:pt x="66" y="1"/>
                    <a:pt x="58" y="3"/>
                    <a:pt x="48" y="11"/>
                  </a:cubicBezTo>
                  <a:cubicBezTo>
                    <a:pt x="38" y="19"/>
                    <a:pt x="26" y="33"/>
                    <a:pt x="18" y="51"/>
                  </a:cubicBezTo>
                  <a:cubicBezTo>
                    <a:pt x="10" y="69"/>
                    <a:pt x="7" y="87"/>
                    <a:pt x="5" y="100"/>
                  </a:cubicBezTo>
                  <a:cubicBezTo>
                    <a:pt x="2" y="113"/>
                    <a:pt x="1" y="121"/>
                    <a:pt x="1" y="1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0" name="Freeform 161">
              <a:extLst>
                <a:ext uri="{FF2B5EF4-FFF2-40B4-BE49-F238E27FC236}">
                  <a16:creationId xmlns:a16="http://schemas.microsoft.com/office/drawing/2014/main" id="{96EDB813-FBB7-49FD-A1A1-B894B098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3304"/>
              <a:ext cx="50" cy="567"/>
            </a:xfrm>
            <a:custGeom>
              <a:avLst/>
              <a:gdLst>
                <a:gd name="T0" fmla="*/ 0 w 21"/>
                <a:gd name="T1" fmla="*/ 0 h 239"/>
                <a:gd name="T2" fmla="*/ 2 w 21"/>
                <a:gd name="T3" fmla="*/ 9 h 239"/>
                <a:gd name="T4" fmla="*/ 6 w 21"/>
                <a:gd name="T5" fmla="*/ 34 h 239"/>
                <a:gd name="T6" fmla="*/ 14 w 21"/>
                <a:gd name="T7" fmla="*/ 119 h 239"/>
                <a:gd name="T8" fmla="*/ 20 w 21"/>
                <a:gd name="T9" fmla="*/ 204 h 239"/>
                <a:gd name="T10" fmla="*/ 21 w 21"/>
                <a:gd name="T11" fmla="*/ 229 h 239"/>
                <a:gd name="T12" fmla="*/ 21 w 21"/>
                <a:gd name="T13" fmla="*/ 239 h 239"/>
                <a:gd name="T14" fmla="*/ 20 w 21"/>
                <a:gd name="T15" fmla="*/ 229 h 239"/>
                <a:gd name="T16" fmla="*/ 18 w 21"/>
                <a:gd name="T17" fmla="*/ 204 h 239"/>
                <a:gd name="T18" fmla="*/ 11 w 21"/>
                <a:gd name="T19" fmla="*/ 119 h 239"/>
                <a:gd name="T20" fmla="*/ 3 w 21"/>
                <a:gd name="T21" fmla="*/ 35 h 239"/>
                <a:gd name="T22" fmla="*/ 1 w 21"/>
                <a:gd name="T23" fmla="*/ 9 h 239"/>
                <a:gd name="T24" fmla="*/ 0 w 21"/>
                <a:gd name="T2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39">
                  <a:moveTo>
                    <a:pt x="0" y="0"/>
                  </a:moveTo>
                  <a:cubicBezTo>
                    <a:pt x="1" y="0"/>
                    <a:pt x="1" y="3"/>
                    <a:pt x="2" y="9"/>
                  </a:cubicBezTo>
                  <a:cubicBezTo>
                    <a:pt x="3" y="15"/>
                    <a:pt x="4" y="24"/>
                    <a:pt x="6" y="34"/>
                  </a:cubicBezTo>
                  <a:cubicBezTo>
                    <a:pt x="8" y="56"/>
                    <a:pt x="12" y="86"/>
                    <a:pt x="14" y="119"/>
                  </a:cubicBezTo>
                  <a:cubicBezTo>
                    <a:pt x="17" y="152"/>
                    <a:pt x="19" y="182"/>
                    <a:pt x="20" y="204"/>
                  </a:cubicBezTo>
                  <a:cubicBezTo>
                    <a:pt x="21" y="215"/>
                    <a:pt x="21" y="223"/>
                    <a:pt x="21" y="229"/>
                  </a:cubicBezTo>
                  <a:cubicBezTo>
                    <a:pt x="21" y="235"/>
                    <a:pt x="21" y="239"/>
                    <a:pt x="21" y="239"/>
                  </a:cubicBezTo>
                  <a:cubicBezTo>
                    <a:pt x="21" y="239"/>
                    <a:pt x="20" y="236"/>
                    <a:pt x="20" y="229"/>
                  </a:cubicBezTo>
                  <a:cubicBezTo>
                    <a:pt x="19" y="223"/>
                    <a:pt x="19" y="214"/>
                    <a:pt x="18" y="204"/>
                  </a:cubicBezTo>
                  <a:cubicBezTo>
                    <a:pt x="16" y="182"/>
                    <a:pt x="14" y="152"/>
                    <a:pt x="11" y="119"/>
                  </a:cubicBezTo>
                  <a:cubicBezTo>
                    <a:pt x="9" y="86"/>
                    <a:pt x="6" y="56"/>
                    <a:pt x="3" y="35"/>
                  </a:cubicBezTo>
                  <a:cubicBezTo>
                    <a:pt x="2" y="24"/>
                    <a:pt x="2" y="16"/>
                    <a:pt x="1" y="9"/>
                  </a:cubicBezTo>
                  <a:cubicBezTo>
                    <a:pt x="0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1" name="Freeform 162">
              <a:extLst>
                <a:ext uri="{FF2B5EF4-FFF2-40B4-BE49-F238E27FC236}">
                  <a16:creationId xmlns:a16="http://schemas.microsoft.com/office/drawing/2014/main" id="{4D691758-7CA4-4AE8-AE21-28C905B5F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3522"/>
              <a:ext cx="218" cy="197"/>
            </a:xfrm>
            <a:custGeom>
              <a:avLst/>
              <a:gdLst>
                <a:gd name="T0" fmla="*/ 92 w 92"/>
                <a:gd name="T1" fmla="*/ 78 h 83"/>
                <a:gd name="T2" fmla="*/ 29 w 92"/>
                <a:gd name="T3" fmla="*/ 5 h 83"/>
                <a:gd name="T4" fmla="*/ 6 w 92"/>
                <a:gd name="T5" fmla="*/ 6 h 83"/>
                <a:gd name="T6" fmla="*/ 5 w 92"/>
                <a:gd name="T7" fmla="*/ 30 h 83"/>
                <a:gd name="T8" fmla="*/ 91 w 92"/>
                <a:gd name="T9" fmla="*/ 8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3">
                  <a:moveTo>
                    <a:pt x="92" y="78"/>
                  </a:moveTo>
                  <a:cubicBezTo>
                    <a:pt x="84" y="46"/>
                    <a:pt x="60" y="17"/>
                    <a:pt x="29" y="5"/>
                  </a:cubicBezTo>
                  <a:cubicBezTo>
                    <a:pt x="22" y="2"/>
                    <a:pt x="11" y="0"/>
                    <a:pt x="6" y="6"/>
                  </a:cubicBezTo>
                  <a:cubicBezTo>
                    <a:pt x="0" y="13"/>
                    <a:pt x="2" y="23"/>
                    <a:pt x="5" y="30"/>
                  </a:cubicBezTo>
                  <a:cubicBezTo>
                    <a:pt x="20" y="62"/>
                    <a:pt x="56" y="83"/>
                    <a:pt x="91" y="8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2" name="Freeform 163">
              <a:extLst>
                <a:ext uri="{FF2B5EF4-FFF2-40B4-BE49-F238E27FC236}">
                  <a16:creationId xmlns:a16="http://schemas.microsoft.com/office/drawing/2014/main" id="{CBF08A2E-C8D6-4482-87E7-66290729D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" y="3593"/>
              <a:ext cx="181" cy="257"/>
            </a:xfrm>
            <a:custGeom>
              <a:avLst/>
              <a:gdLst>
                <a:gd name="T0" fmla="*/ 0 w 76"/>
                <a:gd name="T1" fmla="*/ 0 h 108"/>
                <a:gd name="T2" fmla="*/ 5 w 76"/>
                <a:gd name="T3" fmla="*/ 2 h 108"/>
                <a:gd name="T4" fmla="*/ 11 w 76"/>
                <a:gd name="T5" fmla="*/ 4 h 108"/>
                <a:gd name="T6" fmla="*/ 19 w 76"/>
                <a:gd name="T7" fmla="*/ 8 h 108"/>
                <a:gd name="T8" fmla="*/ 37 w 76"/>
                <a:gd name="T9" fmla="*/ 21 h 108"/>
                <a:gd name="T10" fmla="*/ 55 w 76"/>
                <a:gd name="T11" fmla="*/ 42 h 108"/>
                <a:gd name="T12" fmla="*/ 68 w 76"/>
                <a:gd name="T13" fmla="*/ 66 h 108"/>
                <a:gd name="T14" fmla="*/ 74 w 76"/>
                <a:gd name="T15" fmla="*/ 87 h 108"/>
                <a:gd name="T16" fmla="*/ 75 w 76"/>
                <a:gd name="T17" fmla="*/ 96 h 108"/>
                <a:gd name="T18" fmla="*/ 75 w 76"/>
                <a:gd name="T19" fmla="*/ 102 h 108"/>
                <a:gd name="T20" fmla="*/ 75 w 76"/>
                <a:gd name="T21" fmla="*/ 108 h 108"/>
                <a:gd name="T22" fmla="*/ 72 w 76"/>
                <a:gd name="T23" fmla="*/ 88 h 108"/>
                <a:gd name="T24" fmla="*/ 65 w 76"/>
                <a:gd name="T25" fmla="*/ 67 h 108"/>
                <a:gd name="T26" fmla="*/ 52 w 76"/>
                <a:gd name="T27" fmla="*/ 44 h 108"/>
                <a:gd name="T28" fmla="*/ 35 w 76"/>
                <a:gd name="T29" fmla="*/ 24 h 108"/>
                <a:gd name="T30" fmla="*/ 18 w 76"/>
                <a:gd name="T31" fmla="*/ 10 h 108"/>
                <a:gd name="T32" fmla="*/ 0 w 76"/>
                <a:gd name="T3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08">
                  <a:moveTo>
                    <a:pt x="0" y="0"/>
                  </a:moveTo>
                  <a:cubicBezTo>
                    <a:pt x="0" y="0"/>
                    <a:pt x="2" y="1"/>
                    <a:pt x="5" y="2"/>
                  </a:cubicBezTo>
                  <a:cubicBezTo>
                    <a:pt x="7" y="3"/>
                    <a:pt x="9" y="3"/>
                    <a:pt x="11" y="4"/>
                  </a:cubicBezTo>
                  <a:cubicBezTo>
                    <a:pt x="13" y="6"/>
                    <a:pt x="16" y="7"/>
                    <a:pt x="19" y="8"/>
                  </a:cubicBezTo>
                  <a:cubicBezTo>
                    <a:pt x="24" y="12"/>
                    <a:pt x="30" y="16"/>
                    <a:pt x="37" y="21"/>
                  </a:cubicBezTo>
                  <a:cubicBezTo>
                    <a:pt x="43" y="27"/>
                    <a:pt x="49" y="34"/>
                    <a:pt x="55" y="42"/>
                  </a:cubicBezTo>
                  <a:cubicBezTo>
                    <a:pt x="60" y="50"/>
                    <a:pt x="65" y="58"/>
                    <a:pt x="68" y="66"/>
                  </a:cubicBezTo>
                  <a:cubicBezTo>
                    <a:pt x="71" y="74"/>
                    <a:pt x="73" y="81"/>
                    <a:pt x="74" y="87"/>
                  </a:cubicBezTo>
                  <a:cubicBezTo>
                    <a:pt x="75" y="90"/>
                    <a:pt x="75" y="93"/>
                    <a:pt x="75" y="96"/>
                  </a:cubicBezTo>
                  <a:cubicBezTo>
                    <a:pt x="75" y="98"/>
                    <a:pt x="76" y="100"/>
                    <a:pt x="75" y="102"/>
                  </a:cubicBezTo>
                  <a:cubicBezTo>
                    <a:pt x="75" y="106"/>
                    <a:pt x="75" y="108"/>
                    <a:pt x="75" y="108"/>
                  </a:cubicBezTo>
                  <a:cubicBezTo>
                    <a:pt x="75" y="108"/>
                    <a:pt x="75" y="100"/>
                    <a:pt x="72" y="88"/>
                  </a:cubicBezTo>
                  <a:cubicBezTo>
                    <a:pt x="71" y="82"/>
                    <a:pt x="68" y="74"/>
                    <a:pt x="65" y="67"/>
                  </a:cubicBezTo>
                  <a:cubicBezTo>
                    <a:pt x="62" y="59"/>
                    <a:pt x="58" y="51"/>
                    <a:pt x="52" y="44"/>
                  </a:cubicBezTo>
                  <a:cubicBezTo>
                    <a:pt x="47" y="36"/>
                    <a:pt x="41" y="29"/>
                    <a:pt x="35" y="24"/>
                  </a:cubicBezTo>
                  <a:cubicBezTo>
                    <a:pt x="29" y="18"/>
                    <a:pt x="23" y="14"/>
                    <a:pt x="18" y="10"/>
                  </a:cubicBezTo>
                  <a:cubicBezTo>
                    <a:pt x="7" y="4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334" name="Oval 333">
            <a:extLst>
              <a:ext uri="{FF2B5EF4-FFF2-40B4-BE49-F238E27FC236}">
                <a16:creationId xmlns:a16="http://schemas.microsoft.com/office/drawing/2014/main" id="{59ED42A0-DC9A-41AF-A9D2-CB82BC9243DE}"/>
              </a:ext>
            </a:extLst>
          </p:cNvPr>
          <p:cNvSpPr/>
          <p:nvPr/>
        </p:nvSpPr>
        <p:spPr>
          <a:xfrm>
            <a:off x="6343559" y="1001834"/>
            <a:ext cx="579252" cy="579252"/>
          </a:xfrm>
          <a:prstGeom prst="ellipse">
            <a:avLst/>
          </a:prstGeom>
          <a:solidFill>
            <a:srgbClr val="28719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C577706A-C698-4E2A-8546-C4E154BCF9C0}"/>
              </a:ext>
            </a:extLst>
          </p:cNvPr>
          <p:cNvSpPr txBox="1"/>
          <p:nvPr/>
        </p:nvSpPr>
        <p:spPr>
          <a:xfrm>
            <a:off x="7077492" y="940700"/>
            <a:ext cx="4341748" cy="69979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60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 provide design specifications, and suggestions.</a:t>
            </a:r>
            <a:endParaRPr lang="en-ID" sz="16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7885314E-97E5-4603-A74B-95D8B46BE441}"/>
              </a:ext>
            </a:extLst>
          </p:cNvPr>
          <p:cNvSpPr/>
          <p:nvPr/>
        </p:nvSpPr>
        <p:spPr>
          <a:xfrm>
            <a:off x="6373737" y="2394618"/>
            <a:ext cx="579252" cy="579252"/>
          </a:xfrm>
          <a:prstGeom prst="ellipse">
            <a:avLst/>
          </a:prstGeom>
          <a:solidFill>
            <a:srgbClr val="28719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8887397B-8550-431C-A196-C4D75D00C1B8}"/>
              </a:ext>
            </a:extLst>
          </p:cNvPr>
          <p:cNvSpPr txBox="1"/>
          <p:nvPr/>
        </p:nvSpPr>
        <p:spPr>
          <a:xfrm>
            <a:off x="7080418" y="1801457"/>
            <a:ext cx="4858623" cy="17812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600" b="0" i="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task of project designing is segregated into sub-tasks</a:t>
            </a:r>
            <a:r>
              <a:rPr lang="en-US" sz="1600" dirty="0">
                <a:solidFill>
                  <a:srgbClr val="2424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D" sz="16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6" name="Oval 345">
            <a:extLst>
              <a:ext uri="{FF2B5EF4-FFF2-40B4-BE49-F238E27FC236}">
                <a16:creationId xmlns:a16="http://schemas.microsoft.com/office/drawing/2014/main" id="{9D30E5BC-45AD-4EAB-A5BC-5AF16D1B8104}"/>
              </a:ext>
            </a:extLst>
          </p:cNvPr>
          <p:cNvSpPr/>
          <p:nvPr/>
        </p:nvSpPr>
        <p:spPr>
          <a:xfrm>
            <a:off x="6373737" y="3751294"/>
            <a:ext cx="579252" cy="579252"/>
          </a:xfrm>
          <a:prstGeom prst="ellipse">
            <a:avLst/>
          </a:prstGeom>
          <a:solidFill>
            <a:srgbClr val="28719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389259DF-3236-49C2-956F-1BEC4AB466B1}"/>
              </a:ext>
            </a:extLst>
          </p:cNvPr>
          <p:cNvSpPr txBox="1"/>
          <p:nvPr/>
        </p:nvSpPr>
        <p:spPr>
          <a:xfrm>
            <a:off x="7076345" y="3548207"/>
            <a:ext cx="4385014" cy="9564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600" b="0" i="0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Comparison and contrast of design specifications.</a:t>
            </a:r>
            <a:endParaRPr lang="en-ID" sz="16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97FE4B17-AB96-4240-9966-0463D81FE945}"/>
              </a:ext>
            </a:extLst>
          </p:cNvPr>
          <p:cNvCxnSpPr/>
          <p:nvPr/>
        </p:nvCxnSpPr>
        <p:spPr>
          <a:xfrm>
            <a:off x="6337300" y="2134214"/>
            <a:ext cx="54006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381FE879-2EF2-41A0-8D91-9F9715BA5FC5}"/>
              </a:ext>
            </a:extLst>
          </p:cNvPr>
          <p:cNvCxnSpPr/>
          <p:nvPr/>
        </p:nvCxnSpPr>
        <p:spPr>
          <a:xfrm>
            <a:off x="6337299" y="3393605"/>
            <a:ext cx="54006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Freeform 17">
            <a:extLst>
              <a:ext uri="{FF2B5EF4-FFF2-40B4-BE49-F238E27FC236}">
                <a16:creationId xmlns:a16="http://schemas.microsoft.com/office/drawing/2014/main" id="{2EB12256-77E5-4085-B20E-FAE76B8CD9EC}"/>
              </a:ext>
            </a:extLst>
          </p:cNvPr>
          <p:cNvSpPr>
            <a:spLocks/>
          </p:cNvSpPr>
          <p:nvPr/>
        </p:nvSpPr>
        <p:spPr bwMode="auto">
          <a:xfrm>
            <a:off x="6498240" y="1161420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369" name="Freeform 17">
            <a:extLst>
              <a:ext uri="{FF2B5EF4-FFF2-40B4-BE49-F238E27FC236}">
                <a16:creationId xmlns:a16="http://schemas.microsoft.com/office/drawing/2014/main" id="{7170619C-1E0C-43FA-8555-3DE099905F9B}"/>
              </a:ext>
            </a:extLst>
          </p:cNvPr>
          <p:cNvSpPr>
            <a:spLocks/>
          </p:cNvSpPr>
          <p:nvPr/>
        </p:nvSpPr>
        <p:spPr bwMode="auto">
          <a:xfrm>
            <a:off x="6501166" y="2537115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1" name="Freeform 17">
            <a:extLst>
              <a:ext uri="{FF2B5EF4-FFF2-40B4-BE49-F238E27FC236}">
                <a16:creationId xmlns:a16="http://schemas.microsoft.com/office/drawing/2014/main" id="{1DF5CD19-4217-4C4D-915F-EEE53CEA049A}"/>
              </a:ext>
            </a:extLst>
          </p:cNvPr>
          <p:cNvSpPr>
            <a:spLocks/>
          </p:cNvSpPr>
          <p:nvPr/>
        </p:nvSpPr>
        <p:spPr bwMode="auto">
          <a:xfrm>
            <a:off x="6497093" y="3887997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2" name="Freeform 17">
            <a:extLst>
              <a:ext uri="{FF2B5EF4-FFF2-40B4-BE49-F238E27FC236}">
                <a16:creationId xmlns:a16="http://schemas.microsoft.com/office/drawing/2014/main" id="{68DE9F9C-8BE7-4452-9CB9-6E046D71081A}"/>
              </a:ext>
            </a:extLst>
          </p:cNvPr>
          <p:cNvSpPr>
            <a:spLocks/>
          </p:cNvSpPr>
          <p:nvPr/>
        </p:nvSpPr>
        <p:spPr bwMode="auto">
          <a:xfrm>
            <a:off x="6416561" y="5564413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4930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1143330" y="5446191"/>
            <a:ext cx="961758" cy="1418593"/>
            <a:chOff x="4236904" y="4856439"/>
            <a:chExt cx="961758" cy="1418593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6904" y="4856439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806516" y="-1361102"/>
            <a:ext cx="4578965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emo (Design Specification)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1147" y="6113454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2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72075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Course Content</a:t>
            </a:r>
          </a:p>
        </p:txBody>
      </p:sp>
      <p:pic>
        <p:nvPicPr>
          <p:cNvPr id="55" name="Picture 5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2EE0134-2095-D545-26E7-4DFC8F74D4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999"/>
          <a:stretch/>
        </p:blipFill>
        <p:spPr>
          <a:xfrm>
            <a:off x="5972290" y="2610198"/>
            <a:ext cx="5731510" cy="331317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6A06720-EEB4-AFB7-5ACA-815AD1E4FFE7}"/>
              </a:ext>
            </a:extLst>
          </p:cNvPr>
          <p:cNvSpPr txBox="1">
            <a:spLocks/>
          </p:cNvSpPr>
          <p:nvPr/>
        </p:nvSpPr>
        <p:spPr>
          <a:xfrm>
            <a:off x="2213463" y="6113454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de</a:t>
            </a:r>
            <a:r>
              <a:rPr lang="en-US" sz="1600" b="1" u="sng" dirty="0">
                <a:solidFill>
                  <a:srgbClr val="2424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y</a:t>
            </a:r>
            <a:endParaRPr lang="en-US" sz="1600" b="1" i="0" u="sng" dirty="0">
              <a:solidFill>
                <a:srgbClr val="242424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87120FC-5AB3-FBB2-CC9C-2D395C216A26}"/>
              </a:ext>
            </a:extLst>
          </p:cNvPr>
          <p:cNvSpPr txBox="1">
            <a:spLocks/>
          </p:cNvSpPr>
          <p:nvPr/>
        </p:nvSpPr>
        <p:spPr>
          <a:xfrm>
            <a:off x="8118593" y="6073042"/>
            <a:ext cx="1700110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ployability</a:t>
            </a: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pic>
        <p:nvPicPr>
          <p:cNvPr id="18" name="Picture 17" descr="Graphical user interface&#10;&#10;Description automatically generated">
            <a:extLst>
              <a:ext uri="{FF2B5EF4-FFF2-40B4-BE49-F238E27FC236}">
                <a16:creationId xmlns:a16="http://schemas.microsoft.com/office/drawing/2014/main" id="{F19069C2-0C45-2855-8155-D9BCFBF7A4E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6" b="5609"/>
          <a:stretch/>
        </p:blipFill>
        <p:spPr>
          <a:xfrm>
            <a:off x="474215" y="2610198"/>
            <a:ext cx="5225497" cy="331317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100BAB7-7331-B772-228E-F36A7764EB07}"/>
              </a:ext>
            </a:extLst>
          </p:cNvPr>
          <p:cNvSpPr/>
          <p:nvPr/>
        </p:nvSpPr>
        <p:spPr>
          <a:xfrm>
            <a:off x="4382591" y="3268573"/>
            <a:ext cx="1264162" cy="260612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 w="3810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3903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1170654" y="5463430"/>
            <a:ext cx="961758" cy="1418593"/>
            <a:chOff x="4236904" y="4856439"/>
            <a:chExt cx="961758" cy="1418593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6904" y="4856439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831050" y="-1361102"/>
            <a:ext cx="4578965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emo (Design Specification)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931" y="6202398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3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Overview</a:t>
            </a:r>
          </a:p>
        </p:txBody>
      </p:sp>
      <p:pic>
        <p:nvPicPr>
          <p:cNvPr id="15" name="Picture 1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508E895C-9FC0-E144-D354-1B6FBE9C7F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35"/>
          <a:stretch/>
        </p:blipFill>
        <p:spPr bwMode="auto">
          <a:xfrm>
            <a:off x="527957" y="2709726"/>
            <a:ext cx="5230413" cy="304222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EF9B519-E6FF-AE65-FFF3-9118A7E1A67B}"/>
              </a:ext>
            </a:extLst>
          </p:cNvPr>
          <p:cNvSpPr/>
          <p:nvPr/>
        </p:nvSpPr>
        <p:spPr>
          <a:xfrm>
            <a:off x="582775" y="3150634"/>
            <a:ext cx="3625431" cy="248982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85845E0-6E33-CA40-66C2-E88F0C95F138}"/>
              </a:ext>
            </a:extLst>
          </p:cNvPr>
          <p:cNvSpPr txBox="1">
            <a:spLocks/>
          </p:cNvSpPr>
          <p:nvPr/>
        </p:nvSpPr>
        <p:spPr>
          <a:xfrm>
            <a:off x="2213463" y="6113454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de</a:t>
            </a:r>
            <a:r>
              <a:rPr lang="en-US" sz="1600" b="1" u="sng" dirty="0">
                <a:solidFill>
                  <a:srgbClr val="2424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y</a:t>
            </a:r>
            <a:endParaRPr lang="en-US" sz="1600" b="1" i="0" u="sng" dirty="0">
              <a:solidFill>
                <a:srgbClr val="242424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pic>
        <p:nvPicPr>
          <p:cNvPr id="19" name="Picture 1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581ECA1-CA2F-2F73-8B59-EEC5A07DBD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35"/>
          <a:stretch/>
        </p:blipFill>
        <p:spPr bwMode="auto">
          <a:xfrm>
            <a:off x="5989231" y="2709726"/>
            <a:ext cx="5731510" cy="304222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9BE85DD-C27B-6BEE-DDCB-5F668CC8E6B3}"/>
              </a:ext>
            </a:extLst>
          </p:cNvPr>
          <p:cNvSpPr txBox="1">
            <a:spLocks/>
          </p:cNvSpPr>
          <p:nvPr/>
        </p:nvSpPr>
        <p:spPr>
          <a:xfrm>
            <a:off x="8118593" y="6073042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ployability</a:t>
            </a: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2287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1152870" y="5329811"/>
            <a:ext cx="961758" cy="1520941"/>
            <a:chOff x="4218631" y="4883368"/>
            <a:chExt cx="961758" cy="1520941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8631" y="4985716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831050" y="-1361102"/>
            <a:ext cx="4578965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emo (Design Specification)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571" y="6164487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4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Student Review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F8D1093-EDB3-AB1E-E63B-3D9E4CF83549}"/>
              </a:ext>
            </a:extLst>
          </p:cNvPr>
          <p:cNvSpPr txBox="1">
            <a:spLocks/>
          </p:cNvSpPr>
          <p:nvPr/>
        </p:nvSpPr>
        <p:spPr>
          <a:xfrm>
            <a:off x="8118593" y="6073042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ployability</a:t>
            </a: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7DA4740-B5D8-DEA2-6591-50A90C58ED4E}"/>
              </a:ext>
            </a:extLst>
          </p:cNvPr>
          <p:cNvSpPr txBox="1">
            <a:spLocks/>
          </p:cNvSpPr>
          <p:nvPr/>
        </p:nvSpPr>
        <p:spPr>
          <a:xfrm>
            <a:off x="2201354" y="6047125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ursera</a:t>
            </a: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pic>
        <p:nvPicPr>
          <p:cNvPr id="19" name="Picture 18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AD7EA153-4E1F-C4C3-7F49-15C5C31363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09"/>
          <a:stretch/>
        </p:blipFill>
        <p:spPr bwMode="auto">
          <a:xfrm>
            <a:off x="705224" y="2697557"/>
            <a:ext cx="5080606" cy="304308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0" name="Picture 19" descr="Graphical user interface&#10;&#10;Description automatically generated">
            <a:extLst>
              <a:ext uri="{FF2B5EF4-FFF2-40B4-BE49-F238E27FC236}">
                <a16:creationId xmlns:a16="http://schemas.microsoft.com/office/drawing/2014/main" id="{9965A24E-CF2B-0D0E-FD97-78381CA50E6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92"/>
          <a:stretch/>
        </p:blipFill>
        <p:spPr bwMode="auto">
          <a:xfrm>
            <a:off x="6127026" y="2686015"/>
            <a:ext cx="5336498" cy="306616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EBC95E9-F005-B666-C8FB-040235459554}"/>
              </a:ext>
            </a:extLst>
          </p:cNvPr>
          <p:cNvSpPr/>
          <p:nvPr/>
        </p:nvSpPr>
        <p:spPr>
          <a:xfrm>
            <a:off x="703462" y="3420091"/>
            <a:ext cx="4660399" cy="2299802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 w="3810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95980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1128346" y="5347001"/>
            <a:ext cx="978946" cy="1529931"/>
            <a:chOff x="4201443" y="4883368"/>
            <a:chExt cx="978946" cy="1529931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1443" y="4994706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824614" y="-1379200"/>
            <a:ext cx="4542770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-29496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emo (Design Specification)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6852" y="6164289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5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FAQ</a:t>
            </a:r>
          </a:p>
        </p:txBody>
      </p:sp>
      <p:pic>
        <p:nvPicPr>
          <p:cNvPr id="15" name="Picture 1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974F6F9-3363-D4F5-9EFD-CFFE4918A2B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06" b="5609"/>
          <a:stretch/>
        </p:blipFill>
        <p:spPr bwMode="auto">
          <a:xfrm>
            <a:off x="582775" y="2757719"/>
            <a:ext cx="5317469" cy="304308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6" name="Picture 1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8D5749D-CE4E-9DAF-0DBB-F1828402ED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79"/>
          <a:stretch/>
        </p:blipFill>
        <p:spPr bwMode="auto">
          <a:xfrm>
            <a:off x="6235934" y="2743573"/>
            <a:ext cx="5317469" cy="303756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E53A403-1E32-A885-CE8B-9590BD0D0962}"/>
              </a:ext>
            </a:extLst>
          </p:cNvPr>
          <p:cNvSpPr/>
          <p:nvPr/>
        </p:nvSpPr>
        <p:spPr>
          <a:xfrm>
            <a:off x="638597" y="3429000"/>
            <a:ext cx="5069746" cy="221145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9D4947-C33E-5419-908B-8DB46B88880D}"/>
              </a:ext>
            </a:extLst>
          </p:cNvPr>
          <p:cNvSpPr txBox="1">
            <a:spLocks/>
          </p:cNvSpPr>
          <p:nvPr/>
        </p:nvSpPr>
        <p:spPr>
          <a:xfrm>
            <a:off x="8118593" y="6073042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ployability</a:t>
            </a:r>
          </a:p>
          <a:p>
            <a:pPr algn="ctr"/>
            <a:br>
              <a:rPr lang="en-US" sz="4000" b="1" dirty="0"/>
            </a:b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BAD6515-4657-45EB-73B6-D2264B149A95}"/>
              </a:ext>
            </a:extLst>
          </p:cNvPr>
          <p:cNvSpPr txBox="1">
            <a:spLocks/>
          </p:cNvSpPr>
          <p:nvPr/>
        </p:nvSpPr>
        <p:spPr>
          <a:xfrm>
            <a:off x="2204585" y="6029369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ursera</a:t>
            </a: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70695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1160564" y="5440654"/>
            <a:ext cx="961758" cy="1418593"/>
            <a:chOff x="4236904" y="4856439"/>
            <a:chExt cx="961758" cy="1418593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6904" y="4856439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821303" y="-1375889"/>
            <a:ext cx="4549391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-29496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Demo (Design Specification)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5889" y="6145858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16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Chat Rooms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3134B7BD-8E02-E9FC-9527-0B16729F99F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b="7466"/>
          <a:stretch/>
        </p:blipFill>
        <p:spPr>
          <a:xfrm>
            <a:off x="1921130" y="2391235"/>
            <a:ext cx="7757160" cy="36195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A693C05-06C5-3670-8192-AA027106F334}"/>
              </a:ext>
            </a:extLst>
          </p:cNvPr>
          <p:cNvSpPr txBox="1">
            <a:spLocks/>
          </p:cNvSpPr>
          <p:nvPr/>
        </p:nvSpPr>
        <p:spPr>
          <a:xfrm>
            <a:off x="4770232" y="6191516"/>
            <a:ext cx="1595057" cy="273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i="0" u="sng" dirty="0">
                <a:solidFill>
                  <a:srgbClr val="2424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umbleTalk</a:t>
            </a:r>
            <a:endParaRPr lang="en-US" sz="2400" b="1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58335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742693" y="-1279523"/>
            <a:ext cx="4706612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Wirefram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3161" y="645160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DD451E-2FAD-41AD-BDC0-8D1DCE3571CD}" type="slidenum">
              <a:rPr lang="en-ID" smtClean="0"/>
              <a:pPr/>
              <a:t>17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Course Content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F3F4E1-09DA-A1C9-D23A-AB4A069AFE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220" y="2526711"/>
            <a:ext cx="6779593" cy="354532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983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738253" y="-1292840"/>
            <a:ext cx="4715490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Wirefram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8672" y="645160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DD451E-2FAD-41AD-BDC0-8D1DCE3571CD}" type="slidenum">
              <a:rPr lang="en-ID" smtClean="0"/>
              <a:pPr/>
              <a:t>18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Overview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3C7B54B-19E8-522F-E8B5-DE38596889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753" y="2517833"/>
            <a:ext cx="7032462" cy="382083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022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738254" y="-1292840"/>
            <a:ext cx="4715490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Wirefram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50916" y="645160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DD451E-2FAD-41AD-BDC0-8D1DCE3571CD}" type="slidenum">
              <a:rPr lang="en-ID" smtClean="0"/>
              <a:pPr/>
              <a:t>19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Student Reviews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F8474F-2A34-4531-BDA2-AC328BDFEF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0819" y="2517833"/>
            <a:ext cx="6859996" cy="373723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9970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Freeform: Shape 693">
            <a:extLst>
              <a:ext uri="{FF2B5EF4-FFF2-40B4-BE49-F238E27FC236}">
                <a16:creationId xmlns:a16="http://schemas.microsoft.com/office/drawing/2014/main" id="{194499D0-8A38-40B1-B2A9-557C55E7BB71}"/>
              </a:ext>
            </a:extLst>
          </p:cNvPr>
          <p:cNvSpPr/>
          <p:nvPr/>
        </p:nvSpPr>
        <p:spPr>
          <a:xfrm>
            <a:off x="0" y="3930695"/>
            <a:ext cx="12192000" cy="2927305"/>
          </a:xfrm>
          <a:custGeom>
            <a:avLst/>
            <a:gdLst>
              <a:gd name="connsiteX0" fmla="*/ 1333500 w 12192000"/>
              <a:gd name="connsiteY0" fmla="*/ 208 h 2927305"/>
              <a:gd name="connsiteX1" fmla="*/ 6096000 w 12192000"/>
              <a:gd name="connsiteY1" fmla="*/ 212331 h 2927305"/>
              <a:gd name="connsiteX2" fmla="*/ 12192000 w 12192000"/>
              <a:gd name="connsiteY2" fmla="*/ 212331 h 2927305"/>
              <a:gd name="connsiteX3" fmla="*/ 12192000 w 12192000"/>
              <a:gd name="connsiteY3" fmla="*/ 2692129 h 2927305"/>
              <a:gd name="connsiteX4" fmla="*/ 12190186 w 12192000"/>
              <a:gd name="connsiteY4" fmla="*/ 2692726 h 2927305"/>
              <a:gd name="connsiteX5" fmla="*/ 12190186 w 12192000"/>
              <a:gd name="connsiteY5" fmla="*/ 2927305 h 2927305"/>
              <a:gd name="connsiteX6" fmla="*/ 0 w 12192000"/>
              <a:gd name="connsiteY6" fmla="*/ 2927305 h 2927305"/>
              <a:gd name="connsiteX7" fmla="*/ 0 w 12192000"/>
              <a:gd name="connsiteY7" fmla="*/ 2692129 h 2927305"/>
              <a:gd name="connsiteX8" fmla="*/ 0 w 12192000"/>
              <a:gd name="connsiteY8" fmla="*/ 1200105 h 2927305"/>
              <a:gd name="connsiteX9" fmla="*/ 0 w 12192000"/>
              <a:gd name="connsiteY9" fmla="*/ 212331 h 2927305"/>
              <a:gd name="connsiteX10" fmla="*/ 1333500 w 12192000"/>
              <a:gd name="connsiteY10" fmla="*/ 208 h 29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2927305">
                <a:moveTo>
                  <a:pt x="1333500" y="208"/>
                </a:moveTo>
                <a:cubicBezTo>
                  <a:pt x="2921000" y="14799"/>
                  <a:pt x="4508500" y="786970"/>
                  <a:pt x="6096000" y="212331"/>
                </a:cubicBezTo>
                <a:cubicBezTo>
                  <a:pt x="8128000" y="-523207"/>
                  <a:pt x="10160000" y="947869"/>
                  <a:pt x="12192000" y="212331"/>
                </a:cubicBezTo>
                <a:lnTo>
                  <a:pt x="12192000" y="2692129"/>
                </a:lnTo>
                <a:lnTo>
                  <a:pt x="12190186" y="2692726"/>
                </a:lnTo>
                <a:lnTo>
                  <a:pt x="12190186" y="2927305"/>
                </a:lnTo>
                <a:lnTo>
                  <a:pt x="0" y="2927305"/>
                </a:lnTo>
                <a:lnTo>
                  <a:pt x="0" y="2692129"/>
                </a:lnTo>
                <a:lnTo>
                  <a:pt x="0" y="1200105"/>
                </a:lnTo>
                <a:lnTo>
                  <a:pt x="0" y="212331"/>
                </a:lnTo>
                <a:cubicBezTo>
                  <a:pt x="444500" y="51432"/>
                  <a:pt x="889000" y="-3877"/>
                  <a:pt x="1333500" y="20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2</a:t>
            </a:fld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6"/>
            <a:ext cx="10978551" cy="698728"/>
          </a:xfrm>
        </p:spPr>
        <p:txBody>
          <a:bodyPr>
            <a:normAutofit/>
          </a:bodyPr>
          <a:lstStyle/>
          <a:p>
            <a:r>
              <a:rPr lang="en-ID" sz="4000" dirty="0">
                <a:solidFill>
                  <a:srgbClr val="002E3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Organization: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BC2D0-8324-498A-A02E-45A310624B6C}"/>
              </a:ext>
            </a:extLst>
          </p:cNvPr>
          <p:cNvGrpSpPr/>
          <p:nvPr/>
        </p:nvGrpSpPr>
        <p:grpSpPr>
          <a:xfrm>
            <a:off x="1590297" y="1557443"/>
            <a:ext cx="9130317" cy="4935431"/>
            <a:chOff x="550904" y="1555300"/>
            <a:chExt cx="9130317" cy="4811253"/>
          </a:xfrm>
        </p:grpSpPr>
        <p:sp>
          <p:nvSpPr>
            <p:cNvPr id="362" name="Rectangle: Rounded Corners 361">
              <a:extLst>
                <a:ext uri="{FF2B5EF4-FFF2-40B4-BE49-F238E27FC236}">
                  <a16:creationId xmlns:a16="http://schemas.microsoft.com/office/drawing/2014/main" id="{AE10C6F4-8829-403F-9737-580E32C493AB}"/>
                </a:ext>
              </a:extLst>
            </p:cNvPr>
            <p:cNvSpPr/>
            <p:nvPr/>
          </p:nvSpPr>
          <p:spPr>
            <a:xfrm>
              <a:off x="550904" y="2001949"/>
              <a:ext cx="2953835" cy="3217539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 dirty="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363" name="Rectangle: Top Corners Rounded 362">
              <a:extLst>
                <a:ext uri="{FF2B5EF4-FFF2-40B4-BE49-F238E27FC236}">
                  <a16:creationId xmlns:a16="http://schemas.microsoft.com/office/drawing/2014/main" id="{E157AF6B-F7D9-465D-88A9-EAB44EB8C0CC}"/>
                </a:ext>
              </a:extLst>
            </p:cNvPr>
            <p:cNvSpPr/>
            <p:nvPr/>
          </p:nvSpPr>
          <p:spPr>
            <a:xfrm>
              <a:off x="550904" y="1737846"/>
              <a:ext cx="2953833" cy="528205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49" name="Rectangle: Rounded Corners 648">
              <a:extLst>
                <a:ext uri="{FF2B5EF4-FFF2-40B4-BE49-F238E27FC236}">
                  <a16:creationId xmlns:a16="http://schemas.microsoft.com/office/drawing/2014/main" id="{9B08538A-D93F-4357-834F-668538C1FFB7}"/>
                </a:ext>
              </a:extLst>
            </p:cNvPr>
            <p:cNvSpPr/>
            <p:nvPr/>
          </p:nvSpPr>
          <p:spPr>
            <a:xfrm>
              <a:off x="3646173" y="2001949"/>
              <a:ext cx="2953835" cy="3202286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 dirty="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50" name="Rectangle: Top Corners Rounded 649">
              <a:extLst>
                <a:ext uri="{FF2B5EF4-FFF2-40B4-BE49-F238E27FC236}">
                  <a16:creationId xmlns:a16="http://schemas.microsoft.com/office/drawing/2014/main" id="{DE5DA378-DD38-4FC2-A7DE-7F311ECAD0AF}"/>
                </a:ext>
              </a:extLst>
            </p:cNvPr>
            <p:cNvSpPr/>
            <p:nvPr/>
          </p:nvSpPr>
          <p:spPr>
            <a:xfrm>
              <a:off x="3646173" y="1737846"/>
              <a:ext cx="2953833" cy="528205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51" name="Group 650">
              <a:extLst>
                <a:ext uri="{FF2B5EF4-FFF2-40B4-BE49-F238E27FC236}">
                  <a16:creationId xmlns:a16="http://schemas.microsoft.com/office/drawing/2014/main" id="{0FAD4AD6-E131-47DC-B52F-0ABC47A6FD8F}"/>
                </a:ext>
              </a:extLst>
            </p:cNvPr>
            <p:cNvGrpSpPr/>
            <p:nvPr/>
          </p:nvGrpSpPr>
          <p:grpSpPr>
            <a:xfrm>
              <a:off x="3777900" y="1555300"/>
              <a:ext cx="225425" cy="488760"/>
              <a:chOff x="1048530" y="1700440"/>
              <a:chExt cx="225425" cy="488760"/>
            </a:xfrm>
          </p:grpSpPr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B18C8283-F8B3-446E-9930-10305588518E}"/>
                  </a:ext>
                </a:extLst>
              </p:cNvPr>
              <p:cNvSpPr/>
              <p:nvPr/>
            </p:nvSpPr>
            <p:spPr>
              <a:xfrm>
                <a:off x="1048530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53" name="Rectangle: Rounded Corners 652">
                <a:extLst>
                  <a:ext uri="{FF2B5EF4-FFF2-40B4-BE49-F238E27FC236}">
                    <a16:creationId xmlns:a16="http://schemas.microsoft.com/office/drawing/2014/main" id="{A231ED14-C078-46F5-94A5-FB26A8AD18CC}"/>
                  </a:ext>
                </a:extLst>
              </p:cNvPr>
              <p:cNvSpPr/>
              <p:nvPr/>
            </p:nvSpPr>
            <p:spPr>
              <a:xfrm rot="5400000">
                <a:off x="9503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grpSp>
          <p:nvGrpSpPr>
            <p:cNvPr id="654" name="Group 653">
              <a:extLst>
                <a:ext uri="{FF2B5EF4-FFF2-40B4-BE49-F238E27FC236}">
                  <a16:creationId xmlns:a16="http://schemas.microsoft.com/office/drawing/2014/main" id="{DD973A8C-1846-4088-BF05-ECE76B43B79A}"/>
                </a:ext>
              </a:extLst>
            </p:cNvPr>
            <p:cNvGrpSpPr/>
            <p:nvPr/>
          </p:nvGrpSpPr>
          <p:grpSpPr>
            <a:xfrm>
              <a:off x="6250124" y="1555300"/>
              <a:ext cx="225425" cy="488760"/>
              <a:chOff x="4069704" y="1700440"/>
              <a:chExt cx="225425" cy="488760"/>
            </a:xfrm>
          </p:grpSpPr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AC5C41A7-2131-4924-8239-C2AEE0629284}"/>
                  </a:ext>
                </a:extLst>
              </p:cNvPr>
              <p:cNvSpPr/>
              <p:nvPr/>
            </p:nvSpPr>
            <p:spPr>
              <a:xfrm>
                <a:off x="4069704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56" name="Rectangle: Rounded Corners 655">
                <a:extLst>
                  <a:ext uri="{FF2B5EF4-FFF2-40B4-BE49-F238E27FC236}">
                    <a16:creationId xmlns:a16="http://schemas.microsoft.com/office/drawing/2014/main" id="{F032E9F8-E6A9-4BDA-8DC6-2FEC3746ED7A}"/>
                  </a:ext>
                </a:extLst>
              </p:cNvPr>
              <p:cNvSpPr/>
              <p:nvPr/>
            </p:nvSpPr>
            <p:spPr>
              <a:xfrm rot="5400000">
                <a:off x="39729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57" name="TextBox 656">
              <a:extLst>
                <a:ext uri="{FF2B5EF4-FFF2-40B4-BE49-F238E27FC236}">
                  <a16:creationId xmlns:a16="http://schemas.microsoft.com/office/drawing/2014/main" id="{8BC053D2-9481-43CB-94FD-E7131170AD99}"/>
                </a:ext>
              </a:extLst>
            </p:cNvPr>
            <p:cNvSpPr txBox="1"/>
            <p:nvPr/>
          </p:nvSpPr>
          <p:spPr>
            <a:xfrm>
              <a:off x="3623226" y="4118764"/>
              <a:ext cx="2976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59" name="Rectangle: Rounded Corners 658">
              <a:extLst>
                <a:ext uri="{FF2B5EF4-FFF2-40B4-BE49-F238E27FC236}">
                  <a16:creationId xmlns:a16="http://schemas.microsoft.com/office/drawing/2014/main" id="{99FA98C5-7FE9-4A5B-9DE8-FCA06D964FCE}"/>
                </a:ext>
              </a:extLst>
            </p:cNvPr>
            <p:cNvSpPr/>
            <p:nvPr/>
          </p:nvSpPr>
          <p:spPr>
            <a:xfrm>
              <a:off x="6727386" y="2001949"/>
              <a:ext cx="2953835" cy="3199093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60" name="Rectangle: Top Corners Rounded 659">
              <a:extLst>
                <a:ext uri="{FF2B5EF4-FFF2-40B4-BE49-F238E27FC236}">
                  <a16:creationId xmlns:a16="http://schemas.microsoft.com/office/drawing/2014/main" id="{EEB9817C-2742-49F5-97E7-8E010E2DFD53}"/>
                </a:ext>
              </a:extLst>
            </p:cNvPr>
            <p:cNvSpPr/>
            <p:nvPr/>
          </p:nvSpPr>
          <p:spPr>
            <a:xfrm>
              <a:off x="6727386" y="1737846"/>
              <a:ext cx="2953833" cy="528205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61" name="Group 660">
              <a:extLst>
                <a:ext uri="{FF2B5EF4-FFF2-40B4-BE49-F238E27FC236}">
                  <a16:creationId xmlns:a16="http://schemas.microsoft.com/office/drawing/2014/main" id="{47944CF9-529E-4521-9B6C-7257A40E0C3D}"/>
                </a:ext>
              </a:extLst>
            </p:cNvPr>
            <p:cNvGrpSpPr/>
            <p:nvPr/>
          </p:nvGrpSpPr>
          <p:grpSpPr>
            <a:xfrm>
              <a:off x="6859113" y="1555300"/>
              <a:ext cx="225425" cy="488760"/>
              <a:chOff x="1048530" y="1700440"/>
              <a:chExt cx="225425" cy="488760"/>
            </a:xfrm>
          </p:grpSpPr>
          <p:sp>
            <p:nvSpPr>
              <p:cNvPr id="662" name="Oval 661">
                <a:extLst>
                  <a:ext uri="{FF2B5EF4-FFF2-40B4-BE49-F238E27FC236}">
                    <a16:creationId xmlns:a16="http://schemas.microsoft.com/office/drawing/2014/main" id="{80CB091F-80A6-42C6-A2EC-ADAFA85BBB2E}"/>
                  </a:ext>
                </a:extLst>
              </p:cNvPr>
              <p:cNvSpPr/>
              <p:nvPr/>
            </p:nvSpPr>
            <p:spPr>
              <a:xfrm>
                <a:off x="1048530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63" name="Rectangle: Rounded Corners 662">
                <a:extLst>
                  <a:ext uri="{FF2B5EF4-FFF2-40B4-BE49-F238E27FC236}">
                    <a16:creationId xmlns:a16="http://schemas.microsoft.com/office/drawing/2014/main" id="{5CB3892C-482F-4B2F-84CB-AFE1C3E4C0A5}"/>
                  </a:ext>
                </a:extLst>
              </p:cNvPr>
              <p:cNvSpPr/>
              <p:nvPr/>
            </p:nvSpPr>
            <p:spPr>
              <a:xfrm rot="5400000">
                <a:off x="9503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grpSp>
          <p:nvGrpSpPr>
            <p:cNvPr id="664" name="Group 663">
              <a:extLst>
                <a:ext uri="{FF2B5EF4-FFF2-40B4-BE49-F238E27FC236}">
                  <a16:creationId xmlns:a16="http://schemas.microsoft.com/office/drawing/2014/main" id="{B759C9BC-E505-4713-BCAB-2F113B8FD0CB}"/>
                </a:ext>
              </a:extLst>
            </p:cNvPr>
            <p:cNvGrpSpPr/>
            <p:nvPr/>
          </p:nvGrpSpPr>
          <p:grpSpPr>
            <a:xfrm>
              <a:off x="9331337" y="1555300"/>
              <a:ext cx="225425" cy="488760"/>
              <a:chOff x="4069704" y="1700440"/>
              <a:chExt cx="225425" cy="488760"/>
            </a:xfrm>
          </p:grpSpPr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6652265B-8C63-419D-8DBE-9CB1261408DF}"/>
                  </a:ext>
                </a:extLst>
              </p:cNvPr>
              <p:cNvSpPr/>
              <p:nvPr/>
            </p:nvSpPr>
            <p:spPr>
              <a:xfrm>
                <a:off x="4069704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66" name="Rectangle: Rounded Corners 665">
                <a:extLst>
                  <a:ext uri="{FF2B5EF4-FFF2-40B4-BE49-F238E27FC236}">
                    <a16:creationId xmlns:a16="http://schemas.microsoft.com/office/drawing/2014/main" id="{7A1FBFEA-FB6A-43C1-A9C7-F54D84A51401}"/>
                  </a:ext>
                </a:extLst>
              </p:cNvPr>
              <p:cNvSpPr/>
              <p:nvPr/>
            </p:nvSpPr>
            <p:spPr>
              <a:xfrm rot="5400000">
                <a:off x="39729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67" name="TextBox 666">
              <a:extLst>
                <a:ext uri="{FF2B5EF4-FFF2-40B4-BE49-F238E27FC236}">
                  <a16:creationId xmlns:a16="http://schemas.microsoft.com/office/drawing/2014/main" id="{BB4084F1-AD72-4F3C-ACB9-75777FA0336A}"/>
                </a:ext>
              </a:extLst>
            </p:cNvPr>
            <p:cNvSpPr txBox="1"/>
            <p:nvPr/>
          </p:nvSpPr>
          <p:spPr>
            <a:xfrm>
              <a:off x="6704439" y="4118675"/>
              <a:ext cx="2976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A68235C-8472-4F5F-8B96-9ED9462B0BF9}"/>
                </a:ext>
              </a:extLst>
            </p:cNvPr>
            <p:cNvGrpSpPr/>
            <p:nvPr/>
          </p:nvGrpSpPr>
          <p:grpSpPr>
            <a:xfrm>
              <a:off x="682631" y="1555300"/>
              <a:ext cx="225425" cy="488760"/>
              <a:chOff x="1048530" y="1700440"/>
              <a:chExt cx="225425" cy="488760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E7F2C9BE-14D6-4576-B9C1-600C0EC1185F}"/>
                  </a:ext>
                </a:extLst>
              </p:cNvPr>
              <p:cNvSpPr/>
              <p:nvPr/>
            </p:nvSpPr>
            <p:spPr>
              <a:xfrm>
                <a:off x="1048530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6" name="Rectangle: Rounded Corners 365">
                <a:extLst>
                  <a:ext uri="{FF2B5EF4-FFF2-40B4-BE49-F238E27FC236}">
                    <a16:creationId xmlns:a16="http://schemas.microsoft.com/office/drawing/2014/main" id="{A5683C38-B1AA-4FF0-B298-5FCB4C5302F6}"/>
                  </a:ext>
                </a:extLst>
              </p:cNvPr>
              <p:cNvSpPr/>
              <p:nvPr/>
            </p:nvSpPr>
            <p:spPr>
              <a:xfrm rot="5400000">
                <a:off x="9503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664E367-5878-4AE3-9C5A-FBD6ACC731E0}"/>
                </a:ext>
              </a:extLst>
            </p:cNvPr>
            <p:cNvGrpSpPr/>
            <p:nvPr/>
          </p:nvGrpSpPr>
          <p:grpSpPr>
            <a:xfrm>
              <a:off x="3154855" y="1555300"/>
              <a:ext cx="225425" cy="488760"/>
              <a:chOff x="4069704" y="1700440"/>
              <a:chExt cx="225425" cy="488760"/>
            </a:xfrm>
          </p:grpSpPr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2F6CA100-2947-4057-AA0C-3AD64E86DA40}"/>
                  </a:ext>
                </a:extLst>
              </p:cNvPr>
              <p:cNvSpPr/>
              <p:nvPr/>
            </p:nvSpPr>
            <p:spPr>
              <a:xfrm>
                <a:off x="4069704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7" name="Rectangle: Rounded Corners 366">
                <a:extLst>
                  <a:ext uri="{FF2B5EF4-FFF2-40B4-BE49-F238E27FC236}">
                    <a16:creationId xmlns:a16="http://schemas.microsoft.com/office/drawing/2014/main" id="{C925C0C0-0E3A-41AD-A3A4-F2F205D7974F}"/>
                  </a:ext>
                </a:extLst>
              </p:cNvPr>
              <p:cNvSpPr/>
              <p:nvPr/>
            </p:nvSpPr>
            <p:spPr>
              <a:xfrm rot="5400000">
                <a:off x="3972990" y="1841786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D7D8D47-11C0-4808-8A11-D456B564A85F}"/>
                </a:ext>
              </a:extLst>
            </p:cNvPr>
            <p:cNvSpPr txBox="1"/>
            <p:nvPr/>
          </p:nvSpPr>
          <p:spPr>
            <a:xfrm>
              <a:off x="605704" y="4358371"/>
              <a:ext cx="2976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/L Programme Manager</a:t>
              </a:r>
            </a:p>
            <a:p>
              <a:pPr algn="ctr"/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CB22C2D-348F-4E03-9789-556155DCC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80289" y="2341679"/>
              <a:ext cx="1695064" cy="1652415"/>
            </a:xfrm>
            <a:custGeom>
              <a:avLst/>
              <a:gdLst>
                <a:gd name="connsiteX0" fmla="*/ 847532 w 1695064"/>
                <a:gd name="connsiteY0" fmla="*/ 0 h 1695064"/>
                <a:gd name="connsiteX1" fmla="*/ 1695064 w 1695064"/>
                <a:gd name="connsiteY1" fmla="*/ 847532 h 1695064"/>
                <a:gd name="connsiteX2" fmla="*/ 847532 w 1695064"/>
                <a:gd name="connsiteY2" fmla="*/ 1695064 h 1695064"/>
                <a:gd name="connsiteX3" fmla="*/ 0 w 1695064"/>
                <a:gd name="connsiteY3" fmla="*/ 847532 h 1695064"/>
                <a:gd name="connsiteX4" fmla="*/ 847532 w 1695064"/>
                <a:gd name="connsiteY4" fmla="*/ 0 h 169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064" h="1695064">
                  <a:moveTo>
                    <a:pt x="847532" y="0"/>
                  </a:moveTo>
                  <a:cubicBezTo>
                    <a:pt x="1315611" y="0"/>
                    <a:pt x="1695064" y="379453"/>
                    <a:pt x="1695064" y="847532"/>
                  </a:cubicBezTo>
                  <a:cubicBezTo>
                    <a:pt x="1695064" y="1315611"/>
                    <a:pt x="1315611" y="1695064"/>
                    <a:pt x="847532" y="1695064"/>
                  </a:cubicBezTo>
                  <a:cubicBezTo>
                    <a:pt x="379453" y="1695064"/>
                    <a:pt x="0" y="1315611"/>
                    <a:pt x="0" y="847532"/>
                  </a:cubicBezTo>
                  <a:cubicBezTo>
                    <a:pt x="0" y="379453"/>
                    <a:pt x="379453" y="0"/>
                    <a:pt x="847532" y="0"/>
                  </a:cubicBezTo>
                  <a:close/>
                </a:path>
              </a:pathLst>
            </a:custGeom>
          </p:spPr>
        </p:pic>
        <p:sp>
          <p:nvSpPr>
            <p:cNvPr id="625" name="Picture Placeholder 62">
              <a:extLst>
                <a:ext uri="{FF2B5EF4-FFF2-40B4-BE49-F238E27FC236}">
                  <a16:creationId xmlns:a16="http://schemas.microsoft.com/office/drawing/2014/main" id="{79572B28-6B1D-4A0C-872F-0E41894AEB71}"/>
                </a:ext>
              </a:extLst>
            </p:cNvPr>
            <p:cNvSpPr txBox="1">
              <a:spLocks/>
            </p:cNvSpPr>
            <p:nvPr/>
          </p:nvSpPr>
          <p:spPr>
            <a:xfrm>
              <a:off x="4599462" y="2398306"/>
              <a:ext cx="1442604" cy="1442604"/>
            </a:xfrm>
            <a:prstGeom prst="ellipse">
              <a:avLst/>
            </a:prstGeom>
          </p:spPr>
        </p:sp>
        <p:sp>
          <p:nvSpPr>
            <p:cNvPr id="614" name="Rectangle: Rounded Corners 613">
              <a:extLst>
                <a:ext uri="{FF2B5EF4-FFF2-40B4-BE49-F238E27FC236}">
                  <a16:creationId xmlns:a16="http://schemas.microsoft.com/office/drawing/2014/main" id="{159BE5F1-2159-4068-B6E6-EF749050A2DE}"/>
                </a:ext>
              </a:extLst>
            </p:cNvPr>
            <p:cNvSpPr/>
            <p:nvPr/>
          </p:nvSpPr>
          <p:spPr>
            <a:xfrm>
              <a:off x="942445" y="3689827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rketa Mojzisova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37" name="Picture Placeholder 62">
              <a:extLst>
                <a:ext uri="{FF2B5EF4-FFF2-40B4-BE49-F238E27FC236}">
                  <a16:creationId xmlns:a16="http://schemas.microsoft.com/office/drawing/2014/main" id="{D3634ACF-E084-4494-8328-27FBCA83034C}"/>
                </a:ext>
              </a:extLst>
            </p:cNvPr>
            <p:cNvSpPr txBox="1">
              <a:spLocks/>
            </p:cNvSpPr>
            <p:nvPr/>
          </p:nvSpPr>
          <p:spPr>
            <a:xfrm>
              <a:off x="7764698" y="2398306"/>
              <a:ext cx="1442604" cy="1442604"/>
            </a:xfrm>
            <a:prstGeom prst="ellipse">
              <a:avLst/>
            </a:prstGeom>
          </p:spPr>
        </p:sp>
        <p:sp>
          <p:nvSpPr>
            <p:cNvPr id="639" name="Picture Placeholder 62">
              <a:extLst>
                <a:ext uri="{FF2B5EF4-FFF2-40B4-BE49-F238E27FC236}">
                  <a16:creationId xmlns:a16="http://schemas.microsoft.com/office/drawing/2014/main" id="{4A2C3180-50F3-4BF0-92F7-CA35574BBABE}"/>
                </a:ext>
              </a:extLst>
            </p:cNvPr>
            <p:cNvSpPr txBox="1">
              <a:spLocks/>
            </p:cNvSpPr>
            <p:nvPr/>
          </p:nvSpPr>
          <p:spPr>
            <a:xfrm>
              <a:off x="4599460" y="2398306"/>
              <a:ext cx="1442604" cy="1442604"/>
            </a:xfrm>
            <a:prstGeom prst="ellipse">
              <a:avLst/>
            </a:prstGeom>
          </p:spPr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8EEE00D-8D66-4F42-9244-112D77869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403800" y="2468308"/>
              <a:ext cx="1566822" cy="1527400"/>
            </a:xfrm>
            <a:custGeom>
              <a:avLst/>
              <a:gdLst>
                <a:gd name="connsiteX0" fmla="*/ 847532 w 1695064"/>
                <a:gd name="connsiteY0" fmla="*/ 0 h 1695064"/>
                <a:gd name="connsiteX1" fmla="*/ 1695064 w 1695064"/>
                <a:gd name="connsiteY1" fmla="*/ 847532 h 1695064"/>
                <a:gd name="connsiteX2" fmla="*/ 847532 w 1695064"/>
                <a:gd name="connsiteY2" fmla="*/ 1695064 h 1695064"/>
                <a:gd name="connsiteX3" fmla="*/ 0 w 1695064"/>
                <a:gd name="connsiteY3" fmla="*/ 847532 h 1695064"/>
                <a:gd name="connsiteX4" fmla="*/ 847532 w 1695064"/>
                <a:gd name="connsiteY4" fmla="*/ 0 h 169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064" h="1695064">
                  <a:moveTo>
                    <a:pt x="847532" y="0"/>
                  </a:moveTo>
                  <a:cubicBezTo>
                    <a:pt x="1315611" y="0"/>
                    <a:pt x="1695064" y="379453"/>
                    <a:pt x="1695064" y="847532"/>
                  </a:cubicBezTo>
                  <a:cubicBezTo>
                    <a:pt x="1695064" y="1315611"/>
                    <a:pt x="1315611" y="1695064"/>
                    <a:pt x="847532" y="1695064"/>
                  </a:cubicBezTo>
                  <a:cubicBezTo>
                    <a:pt x="379453" y="1695064"/>
                    <a:pt x="0" y="1315611"/>
                    <a:pt x="0" y="847532"/>
                  </a:cubicBezTo>
                  <a:cubicBezTo>
                    <a:pt x="0" y="379453"/>
                    <a:pt x="379453" y="0"/>
                    <a:pt x="847532" y="0"/>
                  </a:cubicBezTo>
                  <a:close/>
                </a:path>
              </a:pathLst>
            </a:cu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88566612-9D03-4688-9682-BD3F31A3D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356771" y="2320355"/>
              <a:ext cx="1289115" cy="1289115"/>
            </a:xfrm>
            <a:custGeom>
              <a:avLst/>
              <a:gdLst>
                <a:gd name="connsiteX0" fmla="*/ 847532 w 1695064"/>
                <a:gd name="connsiteY0" fmla="*/ 0 h 1695064"/>
                <a:gd name="connsiteX1" fmla="*/ 1695064 w 1695064"/>
                <a:gd name="connsiteY1" fmla="*/ 847532 h 1695064"/>
                <a:gd name="connsiteX2" fmla="*/ 847532 w 1695064"/>
                <a:gd name="connsiteY2" fmla="*/ 1695064 h 1695064"/>
                <a:gd name="connsiteX3" fmla="*/ 0 w 1695064"/>
                <a:gd name="connsiteY3" fmla="*/ 847532 h 1695064"/>
                <a:gd name="connsiteX4" fmla="*/ 847532 w 1695064"/>
                <a:gd name="connsiteY4" fmla="*/ 0 h 169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064" h="1695064">
                  <a:moveTo>
                    <a:pt x="847532" y="0"/>
                  </a:moveTo>
                  <a:cubicBezTo>
                    <a:pt x="1315611" y="0"/>
                    <a:pt x="1695064" y="379453"/>
                    <a:pt x="1695064" y="847532"/>
                  </a:cubicBezTo>
                  <a:cubicBezTo>
                    <a:pt x="1695064" y="1315611"/>
                    <a:pt x="1315611" y="1695064"/>
                    <a:pt x="847532" y="1695064"/>
                  </a:cubicBezTo>
                  <a:cubicBezTo>
                    <a:pt x="379453" y="1695064"/>
                    <a:pt x="0" y="1315611"/>
                    <a:pt x="0" y="847532"/>
                  </a:cubicBezTo>
                  <a:cubicBezTo>
                    <a:pt x="0" y="379453"/>
                    <a:pt x="379453" y="0"/>
                    <a:pt x="847532" y="0"/>
                  </a:cubicBezTo>
                  <a:close/>
                </a:path>
              </a:pathLst>
            </a:custGeom>
          </p:spPr>
        </p:pic>
        <p:sp>
          <p:nvSpPr>
            <p:cNvPr id="658" name="Rectangle: Rounded Corners 657">
              <a:extLst>
                <a:ext uri="{FF2B5EF4-FFF2-40B4-BE49-F238E27FC236}">
                  <a16:creationId xmlns:a16="http://schemas.microsoft.com/office/drawing/2014/main" id="{993B1622-A0C1-489E-A739-076666CFF5AA}"/>
                </a:ext>
              </a:extLst>
            </p:cNvPr>
            <p:cNvSpPr/>
            <p:nvPr/>
          </p:nvSpPr>
          <p:spPr>
            <a:xfrm>
              <a:off x="4043090" y="3689827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abinda Khan</a:t>
              </a:r>
            </a:p>
          </p:txBody>
        </p:sp>
        <p:sp>
          <p:nvSpPr>
            <p:cNvPr id="668" name="Rectangle: Rounded Corners 667">
              <a:extLst>
                <a:ext uri="{FF2B5EF4-FFF2-40B4-BE49-F238E27FC236}">
                  <a16:creationId xmlns:a16="http://schemas.microsoft.com/office/drawing/2014/main" id="{0552E73E-9B72-4C08-894B-BB6FEE26F7F8}"/>
                </a:ext>
              </a:extLst>
            </p:cNvPr>
            <p:cNvSpPr/>
            <p:nvPr/>
          </p:nvSpPr>
          <p:spPr>
            <a:xfrm>
              <a:off x="7124303" y="3689827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nirudh Phadke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75" name="Group 674">
              <a:extLst>
                <a:ext uri="{FF2B5EF4-FFF2-40B4-BE49-F238E27FC236}">
                  <a16:creationId xmlns:a16="http://schemas.microsoft.com/office/drawing/2014/main" id="{3C34FDD6-537C-4A69-AFAE-F10681051CF3}"/>
                </a:ext>
              </a:extLst>
            </p:cNvPr>
            <p:cNvGrpSpPr/>
            <p:nvPr/>
          </p:nvGrpSpPr>
          <p:grpSpPr>
            <a:xfrm>
              <a:off x="1570621" y="5452153"/>
              <a:ext cx="914400" cy="914400"/>
              <a:chOff x="1570621" y="5597293"/>
              <a:chExt cx="914400" cy="914400"/>
            </a:xfrm>
          </p:grpSpPr>
          <p:sp>
            <p:nvSpPr>
              <p:cNvPr id="671" name="Oval 670">
                <a:extLst>
                  <a:ext uri="{FF2B5EF4-FFF2-40B4-BE49-F238E27FC236}">
                    <a16:creationId xmlns:a16="http://schemas.microsoft.com/office/drawing/2014/main" id="{6DE8D5E3-BD7F-43CE-9890-235C1BE01F54}"/>
                  </a:ext>
                </a:extLst>
              </p:cNvPr>
              <p:cNvSpPr/>
              <p:nvPr/>
            </p:nvSpPr>
            <p:spPr>
              <a:xfrm>
                <a:off x="1570621" y="5597293"/>
                <a:ext cx="914400" cy="914400"/>
              </a:xfrm>
              <a:prstGeom prst="ellipse">
                <a:avLst/>
              </a:prstGeom>
              <a:solidFill>
                <a:srgbClr val="0D616C"/>
              </a:solidFill>
              <a:ln w="38100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72" name="Group 671">
                <a:extLst>
                  <a:ext uri="{FF2B5EF4-FFF2-40B4-BE49-F238E27FC236}">
                    <a16:creationId xmlns:a16="http://schemas.microsoft.com/office/drawing/2014/main" id="{012BF9E0-7417-4AA5-A833-B88D57E07F4A}"/>
                  </a:ext>
                </a:extLst>
              </p:cNvPr>
              <p:cNvGrpSpPr/>
              <p:nvPr/>
            </p:nvGrpSpPr>
            <p:grpSpPr>
              <a:xfrm>
                <a:off x="1855577" y="5879868"/>
                <a:ext cx="344488" cy="349250"/>
                <a:chOff x="7743826" y="2890838"/>
                <a:chExt cx="344488" cy="349250"/>
              </a:xfrm>
            </p:grpSpPr>
            <p:sp>
              <p:nvSpPr>
                <p:cNvPr id="673" name="Freeform 14">
                  <a:extLst>
                    <a:ext uri="{FF2B5EF4-FFF2-40B4-BE49-F238E27FC236}">
                      <a16:creationId xmlns:a16="http://schemas.microsoft.com/office/drawing/2014/main" id="{5F892A64-29FC-4D2E-ABF8-A3BAB3A534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0663" y="3011488"/>
                  <a:ext cx="150813" cy="106363"/>
                </a:xfrm>
                <a:custGeom>
                  <a:avLst/>
                  <a:gdLst>
                    <a:gd name="T0" fmla="*/ 95 w 95"/>
                    <a:gd name="T1" fmla="*/ 0 h 67"/>
                    <a:gd name="T2" fmla="*/ 24 w 95"/>
                    <a:gd name="T3" fmla="*/ 67 h 67"/>
                    <a:gd name="T4" fmla="*/ 0 w 95"/>
                    <a:gd name="T5" fmla="*/ 4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5" h="67">
                      <a:moveTo>
                        <a:pt x="95" y="0"/>
                      </a:moveTo>
                      <a:lnTo>
                        <a:pt x="24" y="67"/>
                      </a:lnTo>
                      <a:lnTo>
                        <a:pt x="0" y="43"/>
                      </a:lnTo>
                    </a:path>
                  </a:pathLst>
                </a:cu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74" name="Oval 673">
                  <a:extLst>
                    <a:ext uri="{FF2B5EF4-FFF2-40B4-BE49-F238E27FC236}">
                      <a16:creationId xmlns:a16="http://schemas.microsoft.com/office/drawing/2014/main" id="{E8730087-A08D-4CBF-90CA-5A7051A7F0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3826" y="2890838"/>
                  <a:ext cx="344488" cy="349250"/>
                </a:xfrm>
                <a:prstGeom prst="ellipse">
                  <a:avLst/>
                </a:pr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676" name="Group 675">
              <a:extLst>
                <a:ext uri="{FF2B5EF4-FFF2-40B4-BE49-F238E27FC236}">
                  <a16:creationId xmlns:a16="http://schemas.microsoft.com/office/drawing/2014/main" id="{6785D216-101F-4D41-9534-C25257DFABEF}"/>
                </a:ext>
              </a:extLst>
            </p:cNvPr>
            <p:cNvGrpSpPr/>
            <p:nvPr/>
          </p:nvGrpSpPr>
          <p:grpSpPr>
            <a:xfrm>
              <a:off x="4665890" y="5452153"/>
              <a:ext cx="914400" cy="914400"/>
              <a:chOff x="1570621" y="5597293"/>
              <a:chExt cx="914400" cy="914400"/>
            </a:xfrm>
          </p:grpSpPr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F68B3B15-3E21-4C5D-9D13-88216C1D749C}"/>
                  </a:ext>
                </a:extLst>
              </p:cNvPr>
              <p:cNvSpPr/>
              <p:nvPr/>
            </p:nvSpPr>
            <p:spPr>
              <a:xfrm>
                <a:off x="1570621" y="5597293"/>
                <a:ext cx="914400" cy="914400"/>
              </a:xfrm>
              <a:prstGeom prst="ellipse">
                <a:avLst/>
              </a:prstGeom>
              <a:solidFill>
                <a:srgbClr val="0D616C"/>
              </a:solidFill>
              <a:ln w="38100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78" name="Group 677">
                <a:extLst>
                  <a:ext uri="{FF2B5EF4-FFF2-40B4-BE49-F238E27FC236}">
                    <a16:creationId xmlns:a16="http://schemas.microsoft.com/office/drawing/2014/main" id="{ACF774FF-EA0E-4BE0-8ACA-BE75EABB961D}"/>
                  </a:ext>
                </a:extLst>
              </p:cNvPr>
              <p:cNvGrpSpPr/>
              <p:nvPr/>
            </p:nvGrpSpPr>
            <p:grpSpPr>
              <a:xfrm>
                <a:off x="1855577" y="5879868"/>
                <a:ext cx="344488" cy="349250"/>
                <a:chOff x="7743826" y="2890838"/>
                <a:chExt cx="344488" cy="349250"/>
              </a:xfrm>
            </p:grpSpPr>
            <p:sp>
              <p:nvSpPr>
                <p:cNvPr id="679" name="Freeform 14">
                  <a:extLst>
                    <a:ext uri="{FF2B5EF4-FFF2-40B4-BE49-F238E27FC236}">
                      <a16:creationId xmlns:a16="http://schemas.microsoft.com/office/drawing/2014/main" id="{13377308-065F-41E0-81FF-9417C6D14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0663" y="3011488"/>
                  <a:ext cx="150813" cy="106363"/>
                </a:xfrm>
                <a:custGeom>
                  <a:avLst/>
                  <a:gdLst>
                    <a:gd name="T0" fmla="*/ 95 w 95"/>
                    <a:gd name="T1" fmla="*/ 0 h 67"/>
                    <a:gd name="T2" fmla="*/ 24 w 95"/>
                    <a:gd name="T3" fmla="*/ 67 h 67"/>
                    <a:gd name="T4" fmla="*/ 0 w 95"/>
                    <a:gd name="T5" fmla="*/ 4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5" h="67">
                      <a:moveTo>
                        <a:pt x="95" y="0"/>
                      </a:moveTo>
                      <a:lnTo>
                        <a:pt x="24" y="67"/>
                      </a:lnTo>
                      <a:lnTo>
                        <a:pt x="0" y="43"/>
                      </a:lnTo>
                    </a:path>
                  </a:pathLst>
                </a:cu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80" name="Oval 679">
                  <a:extLst>
                    <a:ext uri="{FF2B5EF4-FFF2-40B4-BE49-F238E27FC236}">
                      <a16:creationId xmlns:a16="http://schemas.microsoft.com/office/drawing/2014/main" id="{F4E24AEA-B563-452C-B37B-BFBDBABAFD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3826" y="2890838"/>
                  <a:ext cx="344488" cy="349250"/>
                </a:xfrm>
                <a:prstGeom prst="ellipse">
                  <a:avLst/>
                </a:pr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17D8DD3E-011D-4018-A19B-62C4E87B8A58}"/>
                </a:ext>
              </a:extLst>
            </p:cNvPr>
            <p:cNvGrpSpPr/>
            <p:nvPr/>
          </p:nvGrpSpPr>
          <p:grpSpPr>
            <a:xfrm>
              <a:off x="7747103" y="5452153"/>
              <a:ext cx="914400" cy="914400"/>
              <a:chOff x="1570621" y="5597293"/>
              <a:chExt cx="914400" cy="914400"/>
            </a:xfrm>
          </p:grpSpPr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57289CDB-1899-46A5-AF6E-1ECCB248077B}"/>
                  </a:ext>
                </a:extLst>
              </p:cNvPr>
              <p:cNvSpPr/>
              <p:nvPr/>
            </p:nvSpPr>
            <p:spPr>
              <a:xfrm>
                <a:off x="1570621" y="5597293"/>
                <a:ext cx="914400" cy="914400"/>
              </a:xfrm>
              <a:prstGeom prst="ellipse">
                <a:avLst/>
              </a:prstGeom>
              <a:solidFill>
                <a:srgbClr val="0D616C"/>
              </a:solidFill>
              <a:ln w="38100">
                <a:solidFill>
                  <a:srgbClr val="F2F2F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83" name="Group 682">
                <a:extLst>
                  <a:ext uri="{FF2B5EF4-FFF2-40B4-BE49-F238E27FC236}">
                    <a16:creationId xmlns:a16="http://schemas.microsoft.com/office/drawing/2014/main" id="{F9EF521E-C61D-47EC-BE22-10D8A29C0397}"/>
                  </a:ext>
                </a:extLst>
              </p:cNvPr>
              <p:cNvGrpSpPr/>
              <p:nvPr/>
            </p:nvGrpSpPr>
            <p:grpSpPr>
              <a:xfrm>
                <a:off x="1855577" y="5879868"/>
                <a:ext cx="344488" cy="349250"/>
                <a:chOff x="7743826" y="2890838"/>
                <a:chExt cx="344488" cy="349250"/>
              </a:xfrm>
            </p:grpSpPr>
            <p:sp>
              <p:nvSpPr>
                <p:cNvPr id="684" name="Freeform 14">
                  <a:extLst>
                    <a:ext uri="{FF2B5EF4-FFF2-40B4-BE49-F238E27FC236}">
                      <a16:creationId xmlns:a16="http://schemas.microsoft.com/office/drawing/2014/main" id="{D9FBD1E8-3CF8-4C78-A522-EF7C3986EB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0663" y="3011488"/>
                  <a:ext cx="150813" cy="106363"/>
                </a:xfrm>
                <a:custGeom>
                  <a:avLst/>
                  <a:gdLst>
                    <a:gd name="T0" fmla="*/ 95 w 95"/>
                    <a:gd name="T1" fmla="*/ 0 h 67"/>
                    <a:gd name="T2" fmla="*/ 24 w 95"/>
                    <a:gd name="T3" fmla="*/ 67 h 67"/>
                    <a:gd name="T4" fmla="*/ 0 w 95"/>
                    <a:gd name="T5" fmla="*/ 4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5" h="67">
                      <a:moveTo>
                        <a:pt x="95" y="0"/>
                      </a:moveTo>
                      <a:lnTo>
                        <a:pt x="24" y="67"/>
                      </a:lnTo>
                      <a:lnTo>
                        <a:pt x="0" y="43"/>
                      </a:lnTo>
                    </a:path>
                  </a:pathLst>
                </a:cu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85" name="Oval 684">
                  <a:extLst>
                    <a:ext uri="{FF2B5EF4-FFF2-40B4-BE49-F238E27FC236}">
                      <a16:creationId xmlns:a16="http://schemas.microsoft.com/office/drawing/2014/main" id="{FF1C86B9-16B2-408A-A8B5-480515EB24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3826" y="2890838"/>
                  <a:ext cx="344488" cy="349250"/>
                </a:xfrm>
                <a:prstGeom prst="ellipse">
                  <a:avLst/>
                </a:prstGeom>
                <a:noFill/>
                <a:ln w="31750" cap="rnd">
                  <a:solidFill>
                    <a:srgbClr val="F2F2F2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sp>
        <p:nvSpPr>
          <p:cNvPr id="187" name="Title 1">
            <a:extLst>
              <a:ext uri="{FF2B5EF4-FFF2-40B4-BE49-F238E27FC236}">
                <a16:creationId xmlns:a16="http://schemas.microsoft.com/office/drawing/2014/main" id="{85F419A2-CC63-FEE6-E9B3-74A80A5F61D8}"/>
              </a:ext>
            </a:extLst>
          </p:cNvPr>
          <p:cNvSpPr txBox="1">
            <a:spLocks/>
          </p:cNvSpPr>
          <p:nvPr/>
        </p:nvSpPr>
        <p:spPr>
          <a:xfrm>
            <a:off x="4171232" y="918905"/>
            <a:ext cx="5160106" cy="698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ID" sz="4000" u="sng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ent Detail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29D9A63A-6B25-7222-CB11-05ADBBB21E11}"/>
              </a:ext>
            </a:extLst>
          </p:cNvPr>
          <p:cNvSpPr txBox="1"/>
          <p:nvPr/>
        </p:nvSpPr>
        <p:spPr>
          <a:xfrm>
            <a:off x="7743832" y="4451999"/>
            <a:ext cx="29767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d of Digital Content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4662B489-7561-3F72-81DA-2585492E4D79}"/>
              </a:ext>
            </a:extLst>
          </p:cNvPr>
          <p:cNvGrpSpPr/>
          <p:nvPr/>
        </p:nvGrpSpPr>
        <p:grpSpPr>
          <a:xfrm>
            <a:off x="11391891" y="5390211"/>
            <a:ext cx="716915" cy="945126"/>
            <a:chOff x="446698" y="5667636"/>
            <a:chExt cx="523709" cy="690418"/>
          </a:xfrm>
        </p:grpSpPr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6D33CD8-A32B-B6D2-4500-D19B4528F9D8}"/>
                </a:ext>
              </a:extLst>
            </p:cNvPr>
            <p:cNvSpPr/>
            <p:nvPr/>
          </p:nvSpPr>
          <p:spPr>
            <a:xfrm>
              <a:off x="446698" y="5667636"/>
              <a:ext cx="523709" cy="690418"/>
            </a:xfrm>
            <a:custGeom>
              <a:avLst/>
              <a:gdLst>
                <a:gd name="connsiteX0" fmla="*/ 146025 w 523709"/>
                <a:gd name="connsiteY0" fmla="*/ 681429 h 690418"/>
                <a:gd name="connsiteX1" fmla="*/ 1543 w 523709"/>
                <a:gd name="connsiteY1" fmla="*/ 388995 h 690418"/>
                <a:gd name="connsiteX2" fmla="*/ 5170 w 523709"/>
                <a:gd name="connsiteY2" fmla="*/ 334263 h 690418"/>
                <a:gd name="connsiteX3" fmla="*/ 52726 w 523709"/>
                <a:gd name="connsiteY3" fmla="*/ 311330 h 690418"/>
                <a:gd name="connsiteX4" fmla="*/ 84839 w 523709"/>
                <a:gd name="connsiteY4" fmla="*/ 344990 h 690418"/>
                <a:gd name="connsiteX5" fmla="*/ 134501 w 523709"/>
                <a:gd name="connsiteY5" fmla="*/ 383303 h 690418"/>
                <a:gd name="connsiteX6" fmla="*/ 175448 w 523709"/>
                <a:gd name="connsiteY6" fmla="*/ 383960 h 690418"/>
                <a:gd name="connsiteX7" fmla="*/ 190539 w 523709"/>
                <a:gd name="connsiteY7" fmla="*/ 333332 h 690418"/>
                <a:gd name="connsiteX8" fmla="*/ 181706 w 523709"/>
                <a:gd name="connsiteY8" fmla="*/ 230436 h 690418"/>
                <a:gd name="connsiteX9" fmla="*/ 183344 w 523709"/>
                <a:gd name="connsiteY9" fmla="*/ 175321 h 690418"/>
                <a:gd name="connsiteX10" fmla="*/ 218441 w 523709"/>
                <a:gd name="connsiteY10" fmla="*/ 134053 h 690418"/>
                <a:gd name="connsiteX11" fmla="*/ 266114 w 523709"/>
                <a:gd name="connsiteY11" fmla="*/ 154139 h 690418"/>
                <a:gd name="connsiteX12" fmla="*/ 268454 w 523709"/>
                <a:gd name="connsiteY12" fmla="*/ 177017 h 690418"/>
                <a:gd name="connsiteX13" fmla="*/ 282025 w 523709"/>
                <a:gd name="connsiteY13" fmla="*/ 194422 h 690418"/>
                <a:gd name="connsiteX14" fmla="*/ 302966 w 523709"/>
                <a:gd name="connsiteY14" fmla="*/ 184461 h 690418"/>
                <a:gd name="connsiteX15" fmla="*/ 344731 w 523709"/>
                <a:gd name="connsiteY15" fmla="*/ 114842 h 690418"/>
                <a:gd name="connsiteX16" fmla="*/ 383104 w 523709"/>
                <a:gd name="connsiteY16" fmla="*/ 43362 h 690418"/>
                <a:gd name="connsiteX17" fmla="*/ 452244 w 523709"/>
                <a:gd name="connsiteY17" fmla="*/ 506 h 690418"/>
                <a:gd name="connsiteX18" fmla="*/ 520800 w 523709"/>
                <a:gd name="connsiteY18" fmla="*/ 36684 h 690418"/>
                <a:gd name="connsiteX19" fmla="*/ 499918 w 523709"/>
                <a:gd name="connsiteY19" fmla="*/ 111831 h 690418"/>
                <a:gd name="connsiteX20" fmla="*/ 415042 w 523709"/>
                <a:gd name="connsiteY20" fmla="*/ 199786 h 690418"/>
                <a:gd name="connsiteX21" fmla="*/ 401003 w 523709"/>
                <a:gd name="connsiteY21" fmla="*/ 216206 h 690418"/>
                <a:gd name="connsiteX22" fmla="*/ 424401 w 523709"/>
                <a:gd name="connsiteY22" fmla="*/ 243243 h 690418"/>
                <a:gd name="connsiteX23" fmla="*/ 470729 w 523709"/>
                <a:gd name="connsiteY23" fmla="*/ 244885 h 690418"/>
                <a:gd name="connsiteX24" fmla="*/ 510154 w 523709"/>
                <a:gd name="connsiteY24" fmla="*/ 263877 h 690418"/>
                <a:gd name="connsiteX25" fmla="*/ 488921 w 523709"/>
                <a:gd name="connsiteY25" fmla="*/ 317077 h 690418"/>
                <a:gd name="connsiteX26" fmla="*/ 382285 w 523709"/>
                <a:gd name="connsiteY26" fmla="*/ 384945 h 690418"/>
                <a:gd name="connsiteX27" fmla="*/ 342391 w 523709"/>
                <a:gd name="connsiteY27" fmla="*/ 406838 h 690418"/>
                <a:gd name="connsiteX28" fmla="*/ 333793 w 523709"/>
                <a:gd name="connsiteY28" fmla="*/ 446683 h 690418"/>
                <a:gd name="connsiteX29" fmla="*/ 375265 w 523709"/>
                <a:gd name="connsiteY29" fmla="*/ 458395 h 690418"/>
                <a:gd name="connsiteX30" fmla="*/ 417265 w 523709"/>
                <a:gd name="connsiteY30" fmla="*/ 439951 h 690418"/>
                <a:gd name="connsiteX31" fmla="*/ 497636 w 523709"/>
                <a:gd name="connsiteY31" fmla="*/ 448544 h 690418"/>
                <a:gd name="connsiteX32" fmla="*/ 508341 w 523709"/>
                <a:gd name="connsiteY32" fmla="*/ 499609 h 690418"/>
                <a:gd name="connsiteX33" fmla="*/ 482077 w 523709"/>
                <a:gd name="connsiteY33" fmla="*/ 547226 h 690418"/>
                <a:gd name="connsiteX34" fmla="*/ 328938 w 523709"/>
                <a:gd name="connsiteY34" fmla="*/ 664626 h 690418"/>
                <a:gd name="connsiteX35" fmla="*/ 146083 w 523709"/>
                <a:gd name="connsiteY35" fmla="*/ 681812 h 69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3709" h="690418">
                  <a:moveTo>
                    <a:pt x="146025" y="681429"/>
                  </a:moveTo>
                  <a:cubicBezTo>
                    <a:pt x="39038" y="621935"/>
                    <a:pt x="6281" y="500156"/>
                    <a:pt x="1543" y="388995"/>
                  </a:cubicBezTo>
                  <a:cubicBezTo>
                    <a:pt x="724" y="370441"/>
                    <a:pt x="-2961" y="351066"/>
                    <a:pt x="5170" y="334263"/>
                  </a:cubicBezTo>
                  <a:cubicBezTo>
                    <a:pt x="13300" y="317460"/>
                    <a:pt x="34417" y="304762"/>
                    <a:pt x="52726" y="311330"/>
                  </a:cubicBezTo>
                  <a:cubicBezTo>
                    <a:pt x="67934" y="316803"/>
                    <a:pt x="75597" y="332347"/>
                    <a:pt x="84839" y="344990"/>
                  </a:cubicBezTo>
                  <a:cubicBezTo>
                    <a:pt x="97205" y="361881"/>
                    <a:pt x="114420" y="375164"/>
                    <a:pt x="134501" y="383303"/>
                  </a:cubicBezTo>
                  <a:cubicBezTo>
                    <a:pt x="147604" y="388776"/>
                    <a:pt x="163456" y="391239"/>
                    <a:pt x="175448" y="383960"/>
                  </a:cubicBezTo>
                  <a:cubicBezTo>
                    <a:pt x="191826" y="373944"/>
                    <a:pt x="192119" y="351777"/>
                    <a:pt x="190539" y="333332"/>
                  </a:cubicBezTo>
                  <a:cubicBezTo>
                    <a:pt x="187614" y="299070"/>
                    <a:pt x="184672" y="264769"/>
                    <a:pt x="181706" y="230436"/>
                  </a:cubicBezTo>
                  <a:cubicBezTo>
                    <a:pt x="180186" y="212046"/>
                    <a:pt x="178606" y="193218"/>
                    <a:pt x="183344" y="175321"/>
                  </a:cubicBezTo>
                  <a:cubicBezTo>
                    <a:pt x="188082" y="157423"/>
                    <a:pt x="200366" y="140292"/>
                    <a:pt x="218441" y="134053"/>
                  </a:cubicBezTo>
                  <a:cubicBezTo>
                    <a:pt x="236516" y="127813"/>
                    <a:pt x="260733" y="136351"/>
                    <a:pt x="266114" y="154139"/>
                  </a:cubicBezTo>
                  <a:cubicBezTo>
                    <a:pt x="267454" y="161703"/>
                    <a:pt x="268238" y="169349"/>
                    <a:pt x="268454" y="177017"/>
                  </a:cubicBezTo>
                  <a:cubicBezTo>
                    <a:pt x="269624" y="184625"/>
                    <a:pt x="274303" y="192835"/>
                    <a:pt x="282025" y="194422"/>
                  </a:cubicBezTo>
                  <a:cubicBezTo>
                    <a:pt x="289746" y="196009"/>
                    <a:pt x="297526" y="190263"/>
                    <a:pt x="302966" y="184461"/>
                  </a:cubicBezTo>
                  <a:cubicBezTo>
                    <a:pt x="321801" y="164484"/>
                    <a:pt x="333676" y="139581"/>
                    <a:pt x="344731" y="114842"/>
                  </a:cubicBezTo>
                  <a:cubicBezTo>
                    <a:pt x="355787" y="90103"/>
                    <a:pt x="366257" y="64926"/>
                    <a:pt x="383104" y="43362"/>
                  </a:cubicBezTo>
                  <a:cubicBezTo>
                    <a:pt x="399950" y="21797"/>
                    <a:pt x="424050" y="3954"/>
                    <a:pt x="452244" y="506"/>
                  </a:cubicBezTo>
                  <a:cubicBezTo>
                    <a:pt x="480439" y="-2942"/>
                    <a:pt x="511616" y="11453"/>
                    <a:pt x="520800" y="36684"/>
                  </a:cubicBezTo>
                  <a:cubicBezTo>
                    <a:pt x="529984" y="61916"/>
                    <a:pt x="515887" y="89610"/>
                    <a:pt x="499918" y="111831"/>
                  </a:cubicBezTo>
                  <a:cubicBezTo>
                    <a:pt x="476297" y="144819"/>
                    <a:pt x="447711" y="174445"/>
                    <a:pt x="415042" y="199786"/>
                  </a:cubicBezTo>
                  <a:cubicBezTo>
                    <a:pt x="408619" y="203727"/>
                    <a:pt x="403700" y="209474"/>
                    <a:pt x="401003" y="216206"/>
                  </a:cubicBezTo>
                  <a:cubicBezTo>
                    <a:pt x="397669" y="228739"/>
                    <a:pt x="411064" y="240069"/>
                    <a:pt x="424401" y="243243"/>
                  </a:cubicBezTo>
                  <a:cubicBezTo>
                    <a:pt x="439434" y="246801"/>
                    <a:pt x="455228" y="244283"/>
                    <a:pt x="470729" y="244885"/>
                  </a:cubicBezTo>
                  <a:cubicBezTo>
                    <a:pt x="486230" y="245487"/>
                    <a:pt x="503310" y="250687"/>
                    <a:pt x="510154" y="263877"/>
                  </a:cubicBezTo>
                  <a:cubicBezTo>
                    <a:pt x="519747" y="282158"/>
                    <a:pt x="504305" y="303011"/>
                    <a:pt x="488921" y="317077"/>
                  </a:cubicBezTo>
                  <a:cubicBezTo>
                    <a:pt x="457801" y="345259"/>
                    <a:pt x="421734" y="368219"/>
                    <a:pt x="382285" y="384945"/>
                  </a:cubicBezTo>
                  <a:cubicBezTo>
                    <a:pt x="368246" y="390911"/>
                    <a:pt x="353037" y="396274"/>
                    <a:pt x="342391" y="406838"/>
                  </a:cubicBezTo>
                  <a:cubicBezTo>
                    <a:pt x="331745" y="417401"/>
                    <a:pt x="325720" y="434204"/>
                    <a:pt x="333793" y="446683"/>
                  </a:cubicBezTo>
                  <a:cubicBezTo>
                    <a:pt x="341865" y="459162"/>
                    <a:pt x="360349" y="462063"/>
                    <a:pt x="375265" y="458395"/>
                  </a:cubicBezTo>
                  <a:cubicBezTo>
                    <a:pt x="390181" y="454728"/>
                    <a:pt x="403226" y="446081"/>
                    <a:pt x="417265" y="439951"/>
                  </a:cubicBezTo>
                  <a:cubicBezTo>
                    <a:pt x="443529" y="428566"/>
                    <a:pt x="478626" y="427910"/>
                    <a:pt x="497636" y="448544"/>
                  </a:cubicBezTo>
                  <a:cubicBezTo>
                    <a:pt x="510154" y="462172"/>
                    <a:pt x="512728" y="482094"/>
                    <a:pt x="508341" y="499609"/>
                  </a:cubicBezTo>
                  <a:cubicBezTo>
                    <a:pt x="503088" y="516970"/>
                    <a:pt x="494156" y="533165"/>
                    <a:pt x="482077" y="547226"/>
                  </a:cubicBezTo>
                  <a:cubicBezTo>
                    <a:pt x="443049" y="598362"/>
                    <a:pt x="390199" y="638880"/>
                    <a:pt x="328938" y="664626"/>
                  </a:cubicBezTo>
                  <a:cubicBezTo>
                    <a:pt x="267811" y="689310"/>
                    <a:pt x="210076" y="698834"/>
                    <a:pt x="146083" y="681812"/>
                  </a:cubicBezTo>
                </a:path>
              </a:pathLst>
            </a:custGeom>
            <a:solidFill>
              <a:srgbClr val="F5F5F5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E396E9B0-3865-5F13-318A-3FB87FC62ACE}"/>
                </a:ext>
              </a:extLst>
            </p:cNvPr>
            <p:cNvSpPr/>
            <p:nvPr/>
          </p:nvSpPr>
          <p:spPr>
            <a:xfrm>
              <a:off x="610281" y="5681771"/>
              <a:ext cx="327325" cy="673752"/>
            </a:xfrm>
            <a:custGeom>
              <a:avLst/>
              <a:gdLst>
                <a:gd name="connsiteX0" fmla="*/ 1744 w 327325"/>
                <a:gd name="connsiteY0" fmla="*/ 672768 h 673752"/>
                <a:gd name="connsiteX1" fmla="*/ 7594 w 327325"/>
                <a:gd name="connsiteY1" fmla="*/ 596143 h 673752"/>
                <a:gd name="connsiteX2" fmla="*/ 63573 w 327325"/>
                <a:gd name="connsiteY2" fmla="*/ 413666 h 673752"/>
                <a:gd name="connsiteX3" fmla="*/ 81122 w 327325"/>
                <a:gd name="connsiteY3" fmla="*/ 366541 h 673752"/>
                <a:gd name="connsiteX4" fmla="*/ 99021 w 327325"/>
                <a:gd name="connsiteY4" fmla="*/ 321059 h 673752"/>
                <a:gd name="connsiteX5" fmla="*/ 141722 w 327325"/>
                <a:gd name="connsiteY5" fmla="*/ 238961 h 673752"/>
                <a:gd name="connsiteX6" fmla="*/ 186178 w 327325"/>
                <a:gd name="connsiteY6" fmla="*/ 167809 h 673752"/>
                <a:gd name="connsiteX7" fmla="*/ 227943 w 327325"/>
                <a:gd name="connsiteY7" fmla="*/ 107330 h 673752"/>
                <a:gd name="connsiteX8" fmla="*/ 298137 w 327325"/>
                <a:gd name="connsiteY8" fmla="*/ 26709 h 673752"/>
                <a:gd name="connsiteX9" fmla="*/ 319429 w 327325"/>
                <a:gd name="connsiteY9" fmla="*/ 6677 h 673752"/>
                <a:gd name="connsiteX10" fmla="*/ 325278 w 327325"/>
                <a:gd name="connsiteY10" fmla="*/ 1642 h 673752"/>
                <a:gd name="connsiteX11" fmla="*/ 327326 w 327325"/>
                <a:gd name="connsiteY11" fmla="*/ 0 h 673752"/>
                <a:gd name="connsiteX12" fmla="*/ 325512 w 327325"/>
                <a:gd name="connsiteY12" fmla="*/ 1916 h 673752"/>
                <a:gd name="connsiteX13" fmla="*/ 320072 w 327325"/>
                <a:gd name="connsiteY13" fmla="*/ 7389 h 673752"/>
                <a:gd name="connsiteX14" fmla="*/ 299248 w 327325"/>
                <a:gd name="connsiteY14" fmla="*/ 27859 h 673752"/>
                <a:gd name="connsiteX15" fmla="*/ 230108 w 327325"/>
                <a:gd name="connsiteY15" fmla="*/ 108972 h 673752"/>
                <a:gd name="connsiteX16" fmla="*/ 188810 w 327325"/>
                <a:gd name="connsiteY16" fmla="*/ 169505 h 673752"/>
                <a:gd name="connsiteX17" fmla="*/ 144705 w 327325"/>
                <a:gd name="connsiteY17" fmla="*/ 240986 h 673752"/>
                <a:gd name="connsiteX18" fmla="*/ 102355 w 327325"/>
                <a:gd name="connsiteY18" fmla="*/ 323084 h 673752"/>
                <a:gd name="connsiteX19" fmla="*/ 84807 w 327325"/>
                <a:gd name="connsiteY19" fmla="*/ 368347 h 673752"/>
                <a:gd name="connsiteX20" fmla="*/ 67551 w 327325"/>
                <a:gd name="connsiteY20" fmla="*/ 415472 h 673752"/>
                <a:gd name="connsiteX21" fmla="*/ 11396 w 327325"/>
                <a:gd name="connsiteY21" fmla="*/ 597511 h 673752"/>
                <a:gd name="connsiteX22" fmla="*/ 4903 w 327325"/>
                <a:gd name="connsiteY22" fmla="*/ 673753 h 67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325" h="673752">
                  <a:moveTo>
                    <a:pt x="1744" y="672768"/>
                  </a:moveTo>
                  <a:cubicBezTo>
                    <a:pt x="2622" y="628544"/>
                    <a:pt x="-5626" y="653064"/>
                    <a:pt x="7594" y="596143"/>
                  </a:cubicBezTo>
                  <a:cubicBezTo>
                    <a:pt x="22510" y="534366"/>
                    <a:pt x="41199" y="473439"/>
                    <a:pt x="63573" y="413666"/>
                  </a:cubicBezTo>
                  <a:cubicBezTo>
                    <a:pt x="69423" y="397739"/>
                    <a:pt x="75272" y="382030"/>
                    <a:pt x="81122" y="366541"/>
                  </a:cubicBezTo>
                  <a:cubicBezTo>
                    <a:pt x="86971" y="351052"/>
                    <a:pt x="92470" y="335727"/>
                    <a:pt x="99021" y="321059"/>
                  </a:cubicBezTo>
                  <a:cubicBezTo>
                    <a:pt x="111627" y="292976"/>
                    <a:pt x="125882" y="265571"/>
                    <a:pt x="141722" y="238961"/>
                  </a:cubicBezTo>
                  <a:cubicBezTo>
                    <a:pt x="156638" y="213401"/>
                    <a:pt x="171847" y="189702"/>
                    <a:pt x="186178" y="167809"/>
                  </a:cubicBezTo>
                  <a:cubicBezTo>
                    <a:pt x="200509" y="145916"/>
                    <a:pt x="214431" y="125391"/>
                    <a:pt x="227943" y="107330"/>
                  </a:cubicBezTo>
                  <a:cubicBezTo>
                    <a:pt x="249001" y="78743"/>
                    <a:pt x="272475" y="51782"/>
                    <a:pt x="298137" y="26709"/>
                  </a:cubicBezTo>
                  <a:cubicBezTo>
                    <a:pt x="307203" y="17843"/>
                    <a:pt x="314457" y="11165"/>
                    <a:pt x="319429" y="6677"/>
                  </a:cubicBezTo>
                  <a:lnTo>
                    <a:pt x="325278" y="1642"/>
                  </a:lnTo>
                  <a:cubicBezTo>
                    <a:pt x="325922" y="1056"/>
                    <a:pt x="326606" y="504"/>
                    <a:pt x="327326" y="0"/>
                  </a:cubicBezTo>
                  <a:cubicBezTo>
                    <a:pt x="326776" y="679"/>
                    <a:pt x="326167" y="1319"/>
                    <a:pt x="325512" y="1916"/>
                  </a:cubicBezTo>
                  <a:lnTo>
                    <a:pt x="320072" y="7389"/>
                  </a:lnTo>
                  <a:cubicBezTo>
                    <a:pt x="315276" y="12041"/>
                    <a:pt x="308373" y="18828"/>
                    <a:pt x="299248" y="27859"/>
                  </a:cubicBezTo>
                  <a:cubicBezTo>
                    <a:pt x="274060" y="53238"/>
                    <a:pt x="250949" y="80352"/>
                    <a:pt x="230108" y="108972"/>
                  </a:cubicBezTo>
                  <a:cubicBezTo>
                    <a:pt x="216771" y="127033"/>
                    <a:pt x="203083" y="147284"/>
                    <a:pt x="188810" y="169505"/>
                  </a:cubicBezTo>
                  <a:cubicBezTo>
                    <a:pt x="174538" y="191727"/>
                    <a:pt x="159563" y="215426"/>
                    <a:pt x="144705" y="240986"/>
                  </a:cubicBezTo>
                  <a:cubicBezTo>
                    <a:pt x="128999" y="267607"/>
                    <a:pt x="114861" y="295017"/>
                    <a:pt x="102355" y="323084"/>
                  </a:cubicBezTo>
                  <a:cubicBezTo>
                    <a:pt x="95862" y="337697"/>
                    <a:pt x="90305" y="352858"/>
                    <a:pt x="84807" y="368347"/>
                  </a:cubicBezTo>
                  <a:cubicBezTo>
                    <a:pt x="79308" y="383837"/>
                    <a:pt x="73108" y="399599"/>
                    <a:pt x="67551" y="415472"/>
                  </a:cubicBezTo>
                  <a:cubicBezTo>
                    <a:pt x="45212" y="475124"/>
                    <a:pt x="26464" y="535899"/>
                    <a:pt x="11396" y="597511"/>
                  </a:cubicBezTo>
                  <a:cubicBezTo>
                    <a:pt x="-1882" y="654432"/>
                    <a:pt x="6073" y="629693"/>
                    <a:pt x="4903" y="673753"/>
                  </a:cubicBezTo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843EF25-0B58-094D-1FB2-F60E3D161F3F}"/>
                </a:ext>
              </a:extLst>
            </p:cNvPr>
            <p:cNvSpPr/>
            <p:nvPr/>
          </p:nvSpPr>
          <p:spPr>
            <a:xfrm>
              <a:off x="665314" y="5801579"/>
              <a:ext cx="44690" cy="200702"/>
            </a:xfrm>
            <a:custGeom>
              <a:avLst/>
              <a:gdLst>
                <a:gd name="connsiteX0" fmla="*/ 44690 w 44690"/>
                <a:gd name="connsiteY0" fmla="*/ 200703 h 200702"/>
                <a:gd name="connsiteX1" fmla="*/ 42175 w 44690"/>
                <a:gd name="connsiteY1" fmla="*/ 192986 h 200702"/>
                <a:gd name="connsiteX2" fmla="*/ 36793 w 44690"/>
                <a:gd name="connsiteY2" fmla="*/ 171585 h 200702"/>
                <a:gd name="connsiteX3" fmla="*/ 22345 w 44690"/>
                <a:gd name="connsiteY3" fmla="*/ 100434 h 200702"/>
                <a:gd name="connsiteX4" fmla="*/ 7195 w 44690"/>
                <a:gd name="connsiteY4" fmla="*/ 29282 h 200702"/>
                <a:gd name="connsiteX5" fmla="*/ 1755 w 44690"/>
                <a:gd name="connsiteY5" fmla="*/ 7936 h 200702"/>
                <a:gd name="connsiteX6" fmla="*/ 0 w 44690"/>
                <a:gd name="connsiteY6" fmla="*/ 0 h 200702"/>
                <a:gd name="connsiteX7" fmla="*/ 3100 w 44690"/>
                <a:gd name="connsiteY7" fmla="*/ 7553 h 200702"/>
                <a:gd name="connsiteX8" fmla="*/ 9710 w 44690"/>
                <a:gd name="connsiteY8" fmla="*/ 28680 h 200702"/>
                <a:gd name="connsiteX9" fmla="*/ 25913 w 44690"/>
                <a:gd name="connsiteY9" fmla="*/ 99831 h 200702"/>
                <a:gd name="connsiteX10" fmla="*/ 39308 w 44690"/>
                <a:gd name="connsiteY10" fmla="*/ 170983 h 200702"/>
                <a:gd name="connsiteX11" fmla="*/ 43579 w 44690"/>
                <a:gd name="connsiteY11" fmla="*/ 192602 h 200702"/>
                <a:gd name="connsiteX12" fmla="*/ 44690 w 44690"/>
                <a:gd name="connsiteY12" fmla="*/ 200703 h 20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690" h="200702">
                  <a:moveTo>
                    <a:pt x="44690" y="200703"/>
                  </a:moveTo>
                  <a:cubicBezTo>
                    <a:pt x="43561" y="198218"/>
                    <a:pt x="42719" y="195635"/>
                    <a:pt x="42175" y="192986"/>
                  </a:cubicBezTo>
                  <a:cubicBezTo>
                    <a:pt x="40712" y="188005"/>
                    <a:pt x="38899" y="180671"/>
                    <a:pt x="36793" y="171585"/>
                  </a:cubicBezTo>
                  <a:cubicBezTo>
                    <a:pt x="32582" y="153469"/>
                    <a:pt x="27668" y="128237"/>
                    <a:pt x="22345" y="100434"/>
                  </a:cubicBezTo>
                  <a:cubicBezTo>
                    <a:pt x="17022" y="72629"/>
                    <a:pt x="11699" y="47453"/>
                    <a:pt x="7195" y="29282"/>
                  </a:cubicBezTo>
                  <a:cubicBezTo>
                    <a:pt x="4972" y="20251"/>
                    <a:pt x="3100" y="12862"/>
                    <a:pt x="1755" y="7936"/>
                  </a:cubicBezTo>
                  <a:cubicBezTo>
                    <a:pt x="866" y="5358"/>
                    <a:pt x="281" y="2698"/>
                    <a:pt x="0" y="0"/>
                  </a:cubicBezTo>
                  <a:cubicBezTo>
                    <a:pt x="1328" y="2403"/>
                    <a:pt x="2363" y="4937"/>
                    <a:pt x="3100" y="7553"/>
                  </a:cubicBezTo>
                  <a:cubicBezTo>
                    <a:pt x="4855" y="12479"/>
                    <a:pt x="7136" y="19704"/>
                    <a:pt x="9710" y="28680"/>
                  </a:cubicBezTo>
                  <a:cubicBezTo>
                    <a:pt x="14858" y="46632"/>
                    <a:pt x="20590" y="71754"/>
                    <a:pt x="25913" y="99831"/>
                  </a:cubicBezTo>
                  <a:cubicBezTo>
                    <a:pt x="31236" y="127909"/>
                    <a:pt x="35740" y="152155"/>
                    <a:pt x="39308" y="170983"/>
                  </a:cubicBezTo>
                  <a:cubicBezTo>
                    <a:pt x="41005" y="179576"/>
                    <a:pt x="42409" y="186801"/>
                    <a:pt x="43579" y="192602"/>
                  </a:cubicBezTo>
                  <a:cubicBezTo>
                    <a:pt x="44292" y="195252"/>
                    <a:pt x="44666" y="197972"/>
                    <a:pt x="44690" y="20070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9DFE371A-B510-D1CB-A3F8-A97EE9D194C8}"/>
                </a:ext>
              </a:extLst>
            </p:cNvPr>
            <p:cNvSpPr/>
            <p:nvPr/>
          </p:nvSpPr>
          <p:spPr>
            <a:xfrm>
              <a:off x="710004" y="5940537"/>
              <a:ext cx="249538" cy="61744"/>
            </a:xfrm>
            <a:custGeom>
              <a:avLst/>
              <a:gdLst>
                <a:gd name="connsiteX0" fmla="*/ 249538 w 249538"/>
                <a:gd name="connsiteY0" fmla="*/ 62 h 61744"/>
                <a:gd name="connsiteX1" fmla="*/ 239536 w 249538"/>
                <a:gd name="connsiteY1" fmla="*/ 1868 h 61744"/>
                <a:gd name="connsiteX2" fmla="*/ 212277 w 249538"/>
                <a:gd name="connsiteY2" fmla="*/ 6301 h 61744"/>
                <a:gd name="connsiteX3" fmla="*/ 123248 w 249538"/>
                <a:gd name="connsiteY3" fmla="*/ 25293 h 61744"/>
                <a:gd name="connsiteX4" fmla="*/ 35857 w 249538"/>
                <a:gd name="connsiteY4" fmla="*/ 50196 h 61744"/>
                <a:gd name="connsiteX5" fmla="*/ 9710 w 249538"/>
                <a:gd name="connsiteY5" fmla="*/ 58844 h 61744"/>
                <a:gd name="connsiteX6" fmla="*/ 0 w 249538"/>
                <a:gd name="connsiteY6" fmla="*/ 61745 h 61744"/>
                <a:gd name="connsiteX7" fmla="*/ 9184 w 249538"/>
                <a:gd name="connsiteY7" fmla="*/ 57585 h 61744"/>
                <a:gd name="connsiteX8" fmla="*/ 34980 w 249538"/>
                <a:gd name="connsiteY8" fmla="*/ 47897 h 61744"/>
                <a:gd name="connsiteX9" fmla="*/ 122312 w 249538"/>
                <a:gd name="connsiteY9" fmla="*/ 22009 h 61744"/>
                <a:gd name="connsiteX10" fmla="*/ 211868 w 249538"/>
                <a:gd name="connsiteY10" fmla="*/ 3893 h 61744"/>
                <a:gd name="connsiteX11" fmla="*/ 239360 w 249538"/>
                <a:gd name="connsiteY11" fmla="*/ 554 h 61744"/>
                <a:gd name="connsiteX12" fmla="*/ 249538 w 249538"/>
                <a:gd name="connsiteY12" fmla="*/ 62 h 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538" h="61744">
                  <a:moveTo>
                    <a:pt x="249538" y="62"/>
                  </a:moveTo>
                  <a:cubicBezTo>
                    <a:pt x="246274" y="959"/>
                    <a:pt x="242923" y="1561"/>
                    <a:pt x="239536" y="1868"/>
                  </a:cubicBezTo>
                  <a:cubicBezTo>
                    <a:pt x="233101" y="2853"/>
                    <a:pt x="223742" y="4276"/>
                    <a:pt x="212277" y="6301"/>
                  </a:cubicBezTo>
                  <a:cubicBezTo>
                    <a:pt x="189289" y="10242"/>
                    <a:pt x="157760" y="16755"/>
                    <a:pt x="123248" y="25293"/>
                  </a:cubicBezTo>
                  <a:cubicBezTo>
                    <a:pt x="88736" y="33831"/>
                    <a:pt x="57968" y="43026"/>
                    <a:pt x="35857" y="50196"/>
                  </a:cubicBezTo>
                  <a:cubicBezTo>
                    <a:pt x="24743" y="53699"/>
                    <a:pt x="15852" y="56764"/>
                    <a:pt x="9710" y="58844"/>
                  </a:cubicBezTo>
                  <a:cubicBezTo>
                    <a:pt x="6581" y="60103"/>
                    <a:pt x="3328" y="61072"/>
                    <a:pt x="0" y="61745"/>
                  </a:cubicBezTo>
                  <a:cubicBezTo>
                    <a:pt x="2925" y="60108"/>
                    <a:pt x="5996" y="58713"/>
                    <a:pt x="9184" y="57585"/>
                  </a:cubicBezTo>
                  <a:cubicBezTo>
                    <a:pt x="15033" y="55122"/>
                    <a:pt x="23983" y="51674"/>
                    <a:pt x="34980" y="47897"/>
                  </a:cubicBezTo>
                  <a:cubicBezTo>
                    <a:pt x="56915" y="40126"/>
                    <a:pt x="87625" y="30657"/>
                    <a:pt x="122312" y="22009"/>
                  </a:cubicBezTo>
                  <a:cubicBezTo>
                    <a:pt x="151811" y="14533"/>
                    <a:pt x="181702" y="8485"/>
                    <a:pt x="211868" y="3893"/>
                  </a:cubicBezTo>
                  <a:cubicBezTo>
                    <a:pt x="223567" y="2141"/>
                    <a:pt x="232867" y="1101"/>
                    <a:pt x="239360" y="554"/>
                  </a:cubicBezTo>
                  <a:cubicBezTo>
                    <a:pt x="242724" y="62"/>
                    <a:pt x="246134" y="-103"/>
                    <a:pt x="249538" y="62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286A3385-58F9-ED4E-9EE4-D613F9461372}"/>
                </a:ext>
              </a:extLst>
            </p:cNvPr>
            <p:cNvSpPr/>
            <p:nvPr/>
          </p:nvSpPr>
          <p:spPr>
            <a:xfrm>
              <a:off x="469533" y="5979295"/>
              <a:ext cx="151033" cy="293692"/>
            </a:xfrm>
            <a:custGeom>
              <a:avLst/>
              <a:gdLst>
                <a:gd name="connsiteX0" fmla="*/ 151033 w 151033"/>
                <a:gd name="connsiteY0" fmla="*/ 293693 h 293692"/>
                <a:gd name="connsiteX1" fmla="*/ 149103 w 151033"/>
                <a:gd name="connsiteY1" fmla="*/ 290956 h 293692"/>
                <a:gd name="connsiteX2" fmla="*/ 144072 w 151033"/>
                <a:gd name="connsiteY2" fmla="*/ 282691 h 293692"/>
                <a:gd name="connsiteX3" fmla="*/ 126524 w 151033"/>
                <a:gd name="connsiteY3" fmla="*/ 251768 h 293692"/>
                <a:gd name="connsiteX4" fmla="*/ 73879 w 151033"/>
                <a:gd name="connsiteY4" fmla="*/ 147777 h 293692"/>
                <a:gd name="connsiteX5" fmla="*/ 21994 w 151033"/>
                <a:gd name="connsiteY5" fmla="*/ 43293 h 293692"/>
                <a:gd name="connsiteX6" fmla="*/ 5615 w 151033"/>
                <a:gd name="connsiteY6" fmla="*/ 11932 h 293692"/>
                <a:gd name="connsiteX7" fmla="*/ 1287 w 151033"/>
                <a:gd name="connsiteY7" fmla="*/ 3065 h 293692"/>
                <a:gd name="connsiteX8" fmla="*/ 0 w 151033"/>
                <a:gd name="connsiteY8" fmla="*/ 0 h 293692"/>
                <a:gd name="connsiteX9" fmla="*/ 1930 w 151033"/>
                <a:gd name="connsiteY9" fmla="*/ 2737 h 293692"/>
                <a:gd name="connsiteX10" fmla="*/ 6961 w 151033"/>
                <a:gd name="connsiteY10" fmla="*/ 11001 h 293692"/>
                <a:gd name="connsiteX11" fmla="*/ 24509 w 151033"/>
                <a:gd name="connsiteY11" fmla="*/ 41925 h 293692"/>
                <a:gd name="connsiteX12" fmla="*/ 77155 w 151033"/>
                <a:gd name="connsiteY12" fmla="*/ 145916 h 293692"/>
                <a:gd name="connsiteX13" fmla="*/ 129039 w 151033"/>
                <a:gd name="connsiteY13" fmla="*/ 250400 h 293692"/>
                <a:gd name="connsiteX14" fmla="*/ 145418 w 151033"/>
                <a:gd name="connsiteY14" fmla="*/ 281761 h 293692"/>
                <a:gd name="connsiteX15" fmla="*/ 149863 w 151033"/>
                <a:gd name="connsiteY15" fmla="*/ 290354 h 293692"/>
                <a:gd name="connsiteX16" fmla="*/ 151033 w 151033"/>
                <a:gd name="connsiteY16" fmla="*/ 293693 h 29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1033" h="293692">
                  <a:moveTo>
                    <a:pt x="151033" y="293693"/>
                  </a:moveTo>
                  <a:cubicBezTo>
                    <a:pt x="150255" y="292872"/>
                    <a:pt x="149606" y="291947"/>
                    <a:pt x="149103" y="290956"/>
                  </a:cubicBezTo>
                  <a:cubicBezTo>
                    <a:pt x="147699" y="288712"/>
                    <a:pt x="146061" y="285975"/>
                    <a:pt x="144072" y="282691"/>
                  </a:cubicBezTo>
                  <a:cubicBezTo>
                    <a:pt x="139744" y="275467"/>
                    <a:pt x="133836" y="264904"/>
                    <a:pt x="126524" y="251768"/>
                  </a:cubicBezTo>
                  <a:cubicBezTo>
                    <a:pt x="112193" y="225496"/>
                    <a:pt x="93591" y="188607"/>
                    <a:pt x="73879" y="147777"/>
                  </a:cubicBezTo>
                  <a:cubicBezTo>
                    <a:pt x="54166" y="106947"/>
                    <a:pt x="35740" y="69783"/>
                    <a:pt x="21994" y="43293"/>
                  </a:cubicBezTo>
                  <a:cubicBezTo>
                    <a:pt x="15267" y="30376"/>
                    <a:pt x="9769" y="19758"/>
                    <a:pt x="5615" y="11932"/>
                  </a:cubicBezTo>
                  <a:lnTo>
                    <a:pt x="1287" y="3065"/>
                  </a:lnTo>
                  <a:cubicBezTo>
                    <a:pt x="684" y="2113"/>
                    <a:pt x="252" y="1078"/>
                    <a:pt x="0" y="0"/>
                  </a:cubicBezTo>
                  <a:cubicBezTo>
                    <a:pt x="755" y="843"/>
                    <a:pt x="1398" y="1757"/>
                    <a:pt x="1930" y="2737"/>
                  </a:cubicBezTo>
                  <a:cubicBezTo>
                    <a:pt x="3276" y="4981"/>
                    <a:pt x="4914" y="7717"/>
                    <a:pt x="6961" y="11001"/>
                  </a:cubicBezTo>
                  <a:cubicBezTo>
                    <a:pt x="11231" y="18226"/>
                    <a:pt x="17197" y="28789"/>
                    <a:pt x="24509" y="41925"/>
                  </a:cubicBezTo>
                  <a:cubicBezTo>
                    <a:pt x="38899" y="68196"/>
                    <a:pt x="57500" y="105086"/>
                    <a:pt x="77155" y="145916"/>
                  </a:cubicBezTo>
                  <a:cubicBezTo>
                    <a:pt x="96809" y="186746"/>
                    <a:pt x="115352" y="223909"/>
                    <a:pt x="129039" y="250400"/>
                  </a:cubicBezTo>
                  <a:cubicBezTo>
                    <a:pt x="135825" y="263316"/>
                    <a:pt x="141323" y="273880"/>
                    <a:pt x="145418" y="281761"/>
                  </a:cubicBezTo>
                  <a:cubicBezTo>
                    <a:pt x="147231" y="285209"/>
                    <a:pt x="148635" y="288001"/>
                    <a:pt x="149863" y="290354"/>
                  </a:cubicBezTo>
                  <a:cubicBezTo>
                    <a:pt x="150413" y="291410"/>
                    <a:pt x="150811" y="292532"/>
                    <a:pt x="151033" y="29369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A241FCF-9B41-74DD-4759-F71A8DB98EB3}"/>
                </a:ext>
              </a:extLst>
            </p:cNvPr>
            <p:cNvSpPr/>
            <p:nvPr/>
          </p:nvSpPr>
          <p:spPr>
            <a:xfrm>
              <a:off x="620624" y="6148362"/>
              <a:ext cx="328155" cy="124625"/>
            </a:xfrm>
            <a:custGeom>
              <a:avLst/>
              <a:gdLst>
                <a:gd name="connsiteX0" fmla="*/ 328155 w 328155"/>
                <a:gd name="connsiteY0" fmla="*/ 0 h 124625"/>
                <a:gd name="connsiteX1" fmla="*/ 324938 w 328155"/>
                <a:gd name="connsiteY1" fmla="*/ 1532 h 124625"/>
                <a:gd name="connsiteX2" fmla="*/ 315403 w 328155"/>
                <a:gd name="connsiteY2" fmla="*/ 5254 h 124625"/>
                <a:gd name="connsiteX3" fmla="*/ 280307 w 328155"/>
                <a:gd name="connsiteY3" fmla="*/ 18664 h 124625"/>
                <a:gd name="connsiteX4" fmla="*/ 164838 w 328155"/>
                <a:gd name="connsiteY4" fmla="*/ 63927 h 124625"/>
                <a:gd name="connsiteX5" fmla="*/ 48843 w 328155"/>
                <a:gd name="connsiteY5" fmla="*/ 108260 h 124625"/>
                <a:gd name="connsiteX6" fmla="*/ 13278 w 328155"/>
                <a:gd name="connsiteY6" fmla="*/ 120630 h 124625"/>
                <a:gd name="connsiteX7" fmla="*/ 3510 w 328155"/>
                <a:gd name="connsiteY7" fmla="*/ 123749 h 124625"/>
                <a:gd name="connsiteX8" fmla="*/ 0 w 328155"/>
                <a:gd name="connsiteY8" fmla="*/ 124625 h 124625"/>
                <a:gd name="connsiteX9" fmla="*/ 3217 w 328155"/>
                <a:gd name="connsiteY9" fmla="*/ 123093 h 124625"/>
                <a:gd name="connsiteX10" fmla="*/ 12752 w 328155"/>
                <a:gd name="connsiteY10" fmla="*/ 119371 h 124625"/>
                <a:gd name="connsiteX11" fmla="*/ 47849 w 328155"/>
                <a:gd name="connsiteY11" fmla="*/ 105962 h 124625"/>
                <a:gd name="connsiteX12" fmla="*/ 163376 w 328155"/>
                <a:gd name="connsiteY12" fmla="*/ 60753 h 124625"/>
                <a:gd name="connsiteX13" fmla="*/ 279312 w 328155"/>
                <a:gd name="connsiteY13" fmla="*/ 16420 h 124625"/>
                <a:gd name="connsiteX14" fmla="*/ 314936 w 328155"/>
                <a:gd name="connsiteY14" fmla="*/ 4050 h 124625"/>
                <a:gd name="connsiteX15" fmla="*/ 324704 w 328155"/>
                <a:gd name="connsiteY15" fmla="*/ 876 h 124625"/>
                <a:gd name="connsiteX16" fmla="*/ 328155 w 328155"/>
                <a:gd name="connsiteY16" fmla="*/ 0 h 12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8155" h="124625">
                  <a:moveTo>
                    <a:pt x="328155" y="0"/>
                  </a:moveTo>
                  <a:cubicBezTo>
                    <a:pt x="327173" y="662"/>
                    <a:pt x="326090" y="1182"/>
                    <a:pt x="324938" y="1532"/>
                  </a:cubicBezTo>
                  <a:lnTo>
                    <a:pt x="315403" y="5254"/>
                  </a:lnTo>
                  <a:cubicBezTo>
                    <a:pt x="306629" y="8648"/>
                    <a:pt x="294755" y="13190"/>
                    <a:pt x="280307" y="18664"/>
                  </a:cubicBezTo>
                  <a:cubicBezTo>
                    <a:pt x="250650" y="29993"/>
                    <a:pt x="210113" y="46030"/>
                    <a:pt x="164838" y="63927"/>
                  </a:cubicBezTo>
                  <a:cubicBezTo>
                    <a:pt x="119563" y="81825"/>
                    <a:pt x="78792" y="97478"/>
                    <a:pt x="48843" y="108260"/>
                  </a:cubicBezTo>
                  <a:cubicBezTo>
                    <a:pt x="33868" y="113733"/>
                    <a:pt x="21702" y="117838"/>
                    <a:pt x="13278" y="120630"/>
                  </a:cubicBezTo>
                  <a:lnTo>
                    <a:pt x="3510" y="123749"/>
                  </a:lnTo>
                  <a:cubicBezTo>
                    <a:pt x="2393" y="124204"/>
                    <a:pt x="1211" y="124499"/>
                    <a:pt x="0" y="124625"/>
                  </a:cubicBezTo>
                  <a:cubicBezTo>
                    <a:pt x="1012" y="124007"/>
                    <a:pt x="2088" y="123492"/>
                    <a:pt x="3217" y="123093"/>
                  </a:cubicBezTo>
                  <a:lnTo>
                    <a:pt x="12752" y="119371"/>
                  </a:lnTo>
                  <a:lnTo>
                    <a:pt x="47849" y="105962"/>
                  </a:lnTo>
                  <a:cubicBezTo>
                    <a:pt x="77505" y="94632"/>
                    <a:pt x="118042" y="78595"/>
                    <a:pt x="163376" y="60753"/>
                  </a:cubicBezTo>
                  <a:cubicBezTo>
                    <a:pt x="208709" y="42910"/>
                    <a:pt x="249421" y="27147"/>
                    <a:pt x="279312" y="16420"/>
                  </a:cubicBezTo>
                  <a:cubicBezTo>
                    <a:pt x="294287" y="10946"/>
                    <a:pt x="306454" y="6787"/>
                    <a:pt x="314936" y="4050"/>
                  </a:cubicBezTo>
                  <a:lnTo>
                    <a:pt x="324704" y="876"/>
                  </a:lnTo>
                  <a:cubicBezTo>
                    <a:pt x="325810" y="454"/>
                    <a:pt x="326974" y="159"/>
                    <a:pt x="328155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3D9B6A95-1D86-EBF7-E57C-6FA658F1FEA0}"/>
              </a:ext>
            </a:extLst>
          </p:cNvPr>
          <p:cNvSpPr txBox="1"/>
          <p:nvPr/>
        </p:nvSpPr>
        <p:spPr>
          <a:xfrm>
            <a:off x="4765495" y="4191665"/>
            <a:ext cx="29767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br>
              <a:rPr lang="en-IN" sz="1600" dirty="0"/>
            </a:br>
            <a:r>
              <a:rPr lang="en-IN" sz="16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ployer Engagement Coordinator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20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E8CD7CB8-8EB3-4391-BC4D-AE11B2432256}"/>
              </a:ext>
            </a:extLst>
          </p:cNvPr>
          <p:cNvGrpSpPr/>
          <p:nvPr/>
        </p:nvGrpSpPr>
        <p:grpSpPr>
          <a:xfrm>
            <a:off x="10847836" y="5454963"/>
            <a:ext cx="1249498" cy="1418593"/>
            <a:chOff x="4236904" y="4856439"/>
            <a:chExt cx="961758" cy="1418593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F85BA4B-3312-4B09-BDD5-DC41B5A5E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6904" y="4856439"/>
              <a:ext cx="961758" cy="1418593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2732F124-EDE5-42FC-B4D4-E8CE3AC12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378" y="4883368"/>
              <a:ext cx="388550" cy="1233935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750126A2-4382-4B82-A322-7DA09446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825" y="5194016"/>
              <a:ext cx="144264" cy="370277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A32E098-D1D7-4450-9DBD-D43725D5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204" y="5374826"/>
              <a:ext cx="429906" cy="189466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A1E10DA1-EDDE-45C2-B39A-3D8258F6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187" y="5773956"/>
              <a:ext cx="548202" cy="333730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684596" y="-1483022"/>
            <a:ext cx="4822805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Wirefram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9420" y="6248881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DD451E-2FAD-41AD-BDC0-8D1DCE3571CD}" type="slidenum">
              <a:rPr lang="en-ID" smtClean="0"/>
              <a:pPr/>
              <a:t>20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FAQ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CFF2F4-8F4C-F93A-974D-6EB6E3B6F5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194" y="2517833"/>
            <a:ext cx="6745246" cy="379106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530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B72147-C88F-4028-99E2-136F28570076}"/>
              </a:ext>
            </a:extLst>
          </p:cNvPr>
          <p:cNvSpPr/>
          <p:nvPr/>
        </p:nvSpPr>
        <p:spPr>
          <a:xfrm rot="5400000">
            <a:off x="3738254" y="-1292840"/>
            <a:ext cx="4715490" cy="115861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0"/>
            <a:ext cx="12192000" cy="211143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Wirefram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596" y="645160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DD451E-2FAD-41AD-BDC0-8D1DCE3571CD}" type="slidenum">
              <a:rPr lang="en-ID" smtClean="0"/>
              <a:pPr/>
              <a:t>21</a:t>
            </a:fld>
            <a:endParaRPr lang="en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B9083F3-A4EB-4A78-B86A-7480BE4228C4}"/>
              </a:ext>
            </a:extLst>
          </p:cNvPr>
          <p:cNvSpPr/>
          <p:nvPr/>
        </p:nvSpPr>
        <p:spPr>
          <a:xfrm>
            <a:off x="582775" y="1362243"/>
            <a:ext cx="11136085" cy="814647"/>
          </a:xfrm>
          <a:prstGeom prst="roundRect">
            <a:avLst/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Chat Rooms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CA9CEA2C-32E4-BA23-2ADB-E4ABA393C9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008" y="2402791"/>
            <a:ext cx="6549983" cy="381760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90866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>
            <a:extLst>
              <a:ext uri="{FF2B5EF4-FFF2-40B4-BE49-F238E27FC236}">
                <a16:creationId xmlns:a16="http://schemas.microsoft.com/office/drawing/2014/main" id="{1E17EFDD-CE80-475E-B9C6-DA1747FE9CF0}"/>
              </a:ext>
            </a:extLst>
          </p:cNvPr>
          <p:cNvSpPr/>
          <p:nvPr/>
        </p:nvSpPr>
        <p:spPr>
          <a:xfrm>
            <a:off x="0" y="-58993"/>
            <a:ext cx="12192000" cy="3449288"/>
          </a:xfrm>
          <a:prstGeom prst="rect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D578A6-65DF-4C08-8069-72D63D865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itical Reflection:</a:t>
            </a:r>
            <a:endParaRPr lang="en-ID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52032F2-450D-4EAA-8661-C9FDE6D33033}"/>
              </a:ext>
            </a:extLst>
          </p:cNvPr>
          <p:cNvGrpSpPr/>
          <p:nvPr/>
        </p:nvGrpSpPr>
        <p:grpSpPr>
          <a:xfrm>
            <a:off x="527957" y="1915104"/>
            <a:ext cx="2644945" cy="3909470"/>
            <a:chOff x="1567875" y="7481852"/>
            <a:chExt cx="2909440" cy="4300417"/>
          </a:xfrm>
        </p:grpSpPr>
        <p:sp>
          <p:nvSpPr>
            <p:cNvPr id="54" name="Rectangle 52">
              <a:extLst>
                <a:ext uri="{FF2B5EF4-FFF2-40B4-BE49-F238E27FC236}">
                  <a16:creationId xmlns:a16="http://schemas.microsoft.com/office/drawing/2014/main" id="{C9EE31FF-A6EC-4C3B-9020-2011972A6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5" name="Rectangle 53">
              <a:extLst>
                <a:ext uri="{FF2B5EF4-FFF2-40B4-BE49-F238E27FC236}">
                  <a16:creationId xmlns:a16="http://schemas.microsoft.com/office/drawing/2014/main" id="{2BC213A9-3423-4F90-B585-163A98393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478EB35A-7783-41CF-8CFD-82C40A0E2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E7F085C3-ABBC-4D80-B119-B9A05730C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913C4700-C545-4A41-9421-99E73AD6E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E3632253-F687-45C9-B1A6-026B65C3D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8B2D3F39-2525-4BB5-8DAD-CC4E7E083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0FCC4517-DD5C-408C-B6E6-49E79A236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5A2BD355-FAC7-4F2B-BE17-C7FA62F7D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588" y="7916060"/>
              <a:ext cx="2556015" cy="3524146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3EBE80C9-B3DE-492E-9C60-C8BE517DE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401" y="7673711"/>
              <a:ext cx="1046389" cy="35973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62">
              <a:extLst>
                <a:ext uri="{FF2B5EF4-FFF2-40B4-BE49-F238E27FC236}">
                  <a16:creationId xmlns:a16="http://schemas.microsoft.com/office/drawing/2014/main" id="{DA8BB4E4-2B05-4608-8C29-ECC2E3E07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Freeform 63">
              <a:extLst>
                <a:ext uri="{FF2B5EF4-FFF2-40B4-BE49-F238E27FC236}">
                  <a16:creationId xmlns:a16="http://schemas.microsoft.com/office/drawing/2014/main" id="{BA0D4198-3E5D-4BA2-A39C-39698FAC2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6" name="Freeform 64">
              <a:extLst>
                <a:ext uri="{FF2B5EF4-FFF2-40B4-BE49-F238E27FC236}">
                  <a16:creationId xmlns:a16="http://schemas.microsoft.com/office/drawing/2014/main" id="{4EE21866-8D6E-4BF3-B2E8-8D4BD28AC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8479014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7" name="Oval 65">
              <a:extLst>
                <a:ext uri="{FF2B5EF4-FFF2-40B4-BE49-F238E27FC236}">
                  <a16:creationId xmlns:a16="http://schemas.microsoft.com/office/drawing/2014/main" id="{952AA24B-2249-4F97-915A-2624F650E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58125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8" name="Oval 66">
              <a:extLst>
                <a:ext uri="{FF2B5EF4-FFF2-40B4-BE49-F238E27FC236}">
                  <a16:creationId xmlns:a16="http://schemas.microsoft.com/office/drawing/2014/main" id="{4027E108-C4D8-4896-B728-9B319D97F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670873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9" name="Oval 67">
              <a:extLst>
                <a:ext uri="{FF2B5EF4-FFF2-40B4-BE49-F238E27FC236}">
                  <a16:creationId xmlns:a16="http://schemas.microsoft.com/office/drawing/2014/main" id="{16D65A89-4633-49C2-92D3-A71CDBA53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761753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0" name="Oval 68">
              <a:extLst>
                <a:ext uri="{FF2B5EF4-FFF2-40B4-BE49-F238E27FC236}">
                  <a16:creationId xmlns:a16="http://schemas.microsoft.com/office/drawing/2014/main" id="{1A47C41A-3DEE-4A2C-ADB0-F14A01E71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84884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1" name="Freeform 69">
              <a:extLst>
                <a:ext uri="{FF2B5EF4-FFF2-40B4-BE49-F238E27FC236}">
                  <a16:creationId xmlns:a16="http://schemas.microsoft.com/office/drawing/2014/main" id="{12D76C1C-9635-4BFE-B365-E29C5BAE4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9577CD2-334E-429C-B48F-4F90B3848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3" name="Freeform 71">
              <a:extLst>
                <a:ext uri="{FF2B5EF4-FFF2-40B4-BE49-F238E27FC236}">
                  <a16:creationId xmlns:a16="http://schemas.microsoft.com/office/drawing/2014/main" id="{77E4A008-11DE-4877-B8EC-F933E3140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169454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4" name="Oval 72">
              <a:extLst>
                <a:ext uri="{FF2B5EF4-FFF2-40B4-BE49-F238E27FC236}">
                  <a16:creationId xmlns:a16="http://schemas.microsoft.com/office/drawing/2014/main" id="{1FEDCB8B-00D2-4AA3-BF3D-9BA1F31D7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24392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5" name="Oval 73">
              <a:extLst>
                <a:ext uri="{FF2B5EF4-FFF2-40B4-BE49-F238E27FC236}">
                  <a16:creationId xmlns:a16="http://schemas.microsoft.com/office/drawing/2014/main" id="{F72230AE-DBC5-4B9E-8E6E-3F61FE60A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333544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Oval 74">
              <a:extLst>
                <a:ext uri="{FF2B5EF4-FFF2-40B4-BE49-F238E27FC236}">
                  <a16:creationId xmlns:a16="http://schemas.microsoft.com/office/drawing/2014/main" id="{717A280D-B020-4BED-967E-325A1674C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423162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7" name="Oval 75">
              <a:extLst>
                <a:ext uri="{FF2B5EF4-FFF2-40B4-BE49-F238E27FC236}">
                  <a16:creationId xmlns:a16="http://schemas.microsoft.com/office/drawing/2014/main" id="{4EA16A62-2825-401B-AC6B-6DA3F9514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5102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Freeform 76">
              <a:extLst>
                <a:ext uri="{FF2B5EF4-FFF2-40B4-BE49-F238E27FC236}">
                  <a16:creationId xmlns:a16="http://schemas.microsoft.com/office/drawing/2014/main" id="{C74854D8-C42A-47F6-B0E3-67125FAA5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782897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9" name="Freeform 77">
              <a:extLst>
                <a:ext uri="{FF2B5EF4-FFF2-40B4-BE49-F238E27FC236}">
                  <a16:creationId xmlns:a16="http://schemas.microsoft.com/office/drawing/2014/main" id="{8A8FE237-45C1-4855-8C47-860D94C87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810666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0" name="Oval 78">
              <a:extLst>
                <a:ext uri="{FF2B5EF4-FFF2-40B4-BE49-F238E27FC236}">
                  <a16:creationId xmlns:a16="http://schemas.microsoft.com/office/drawing/2014/main" id="{9D434DA5-0FD3-42C6-85BF-5D0C7A2B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88513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Oval 79">
              <a:extLst>
                <a:ext uri="{FF2B5EF4-FFF2-40B4-BE49-F238E27FC236}">
                  <a16:creationId xmlns:a16="http://schemas.microsoft.com/office/drawing/2014/main" id="{93118D9C-00F8-4143-B826-DFBB21893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9747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Oval 80">
              <a:extLst>
                <a:ext uri="{FF2B5EF4-FFF2-40B4-BE49-F238E27FC236}">
                  <a16:creationId xmlns:a16="http://schemas.microsoft.com/office/drawing/2014/main" id="{6B0B2F19-24D3-4B01-A0E0-1821DEB67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061850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Oval 81">
              <a:extLst>
                <a:ext uri="{FF2B5EF4-FFF2-40B4-BE49-F238E27FC236}">
                  <a16:creationId xmlns:a16="http://schemas.microsoft.com/office/drawing/2014/main" id="{D07C3D0D-7A18-4F44-B363-48E515FAE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1514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Freeform 82">
              <a:extLst>
                <a:ext uri="{FF2B5EF4-FFF2-40B4-BE49-F238E27FC236}">
                  <a16:creationId xmlns:a16="http://schemas.microsoft.com/office/drawing/2014/main" id="{AC2941E7-7865-4A0F-8F18-97F924627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10403914"/>
              <a:ext cx="429158" cy="427896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Freeform 83">
              <a:extLst>
                <a:ext uri="{FF2B5EF4-FFF2-40B4-BE49-F238E27FC236}">
                  <a16:creationId xmlns:a16="http://schemas.microsoft.com/office/drawing/2014/main" id="{E7E6D385-9A27-4176-BA9F-58D0B9CF6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10430421"/>
              <a:ext cx="422847" cy="329442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84">
              <a:extLst>
                <a:ext uri="{FF2B5EF4-FFF2-40B4-BE49-F238E27FC236}">
                  <a16:creationId xmlns:a16="http://schemas.microsoft.com/office/drawing/2014/main" id="{E85F327B-43C3-4C5E-9B11-14D90592E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023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Oval 85">
              <a:extLst>
                <a:ext uri="{FF2B5EF4-FFF2-40B4-BE49-F238E27FC236}">
                  <a16:creationId xmlns:a16="http://schemas.microsoft.com/office/drawing/2014/main" id="{4984CD6A-BAF0-4ADE-B113-28BDE578A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91987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Oval 86">
              <a:extLst>
                <a:ext uri="{FF2B5EF4-FFF2-40B4-BE49-F238E27FC236}">
                  <a16:creationId xmlns:a16="http://schemas.microsoft.com/office/drawing/2014/main" id="{376240DE-8B42-4A58-9F07-1332F48C8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68286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Oval 87">
              <a:extLst>
                <a:ext uri="{FF2B5EF4-FFF2-40B4-BE49-F238E27FC236}">
                  <a16:creationId xmlns:a16="http://schemas.microsoft.com/office/drawing/2014/main" id="{26118FFE-EA04-494E-8D14-DE27ADEC9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77248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88">
              <a:extLst>
                <a:ext uri="{FF2B5EF4-FFF2-40B4-BE49-F238E27FC236}">
                  <a16:creationId xmlns:a16="http://schemas.microsoft.com/office/drawing/2014/main" id="{A84EE35D-F974-411F-95D1-ED76DC053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150" y="10855793"/>
              <a:ext cx="282739" cy="579363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Freeform 89">
              <a:extLst>
                <a:ext uri="{FF2B5EF4-FFF2-40B4-BE49-F238E27FC236}">
                  <a16:creationId xmlns:a16="http://schemas.microsoft.com/office/drawing/2014/main" id="{AE16BE82-DB93-4C78-B8FF-C68637C17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9579"/>
              <a:ext cx="540234" cy="578101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Freeform 90">
              <a:extLst>
                <a:ext uri="{FF2B5EF4-FFF2-40B4-BE49-F238E27FC236}">
                  <a16:creationId xmlns:a16="http://schemas.microsoft.com/office/drawing/2014/main" id="{6B3B1CCC-F182-4551-B207-FEF37804E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3268"/>
              <a:ext cx="546546" cy="584412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3" name="Freeform 91">
              <a:extLst>
                <a:ext uri="{FF2B5EF4-FFF2-40B4-BE49-F238E27FC236}">
                  <a16:creationId xmlns:a16="http://schemas.microsoft.com/office/drawing/2014/main" id="{50F8FDBC-F106-4A53-B825-C32ECDF1E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4" name="Freeform 92">
              <a:extLst>
                <a:ext uri="{FF2B5EF4-FFF2-40B4-BE49-F238E27FC236}">
                  <a16:creationId xmlns:a16="http://schemas.microsoft.com/office/drawing/2014/main" id="{1CA58FAB-81C7-41C6-AA94-B2560FE6E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FD0AABC1-3F19-45C5-AAC9-B68F075BC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519" y="8620384"/>
              <a:ext cx="422847" cy="333229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8E70C126-605F-466B-9535-B6C3649A4DAC}"/>
              </a:ext>
            </a:extLst>
          </p:cNvPr>
          <p:cNvSpPr/>
          <p:nvPr/>
        </p:nvSpPr>
        <p:spPr>
          <a:xfrm>
            <a:off x="3676658" y="1998944"/>
            <a:ext cx="3705984" cy="1940415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0FA8239C-A7E6-4B06-9DC7-7CC89DED8FC2}"/>
              </a:ext>
            </a:extLst>
          </p:cNvPr>
          <p:cNvSpPr/>
          <p:nvPr/>
        </p:nvSpPr>
        <p:spPr>
          <a:xfrm>
            <a:off x="7952616" y="1998944"/>
            <a:ext cx="3705984" cy="1940251"/>
          </a:xfrm>
          <a:prstGeom prst="roundRect">
            <a:avLst>
              <a:gd name="adj" fmla="val 50000"/>
            </a:avLst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FCA357FA-2649-4C58-BF5D-37E591A534FE}"/>
              </a:ext>
            </a:extLst>
          </p:cNvPr>
          <p:cNvSpPr/>
          <p:nvPr/>
        </p:nvSpPr>
        <p:spPr>
          <a:xfrm>
            <a:off x="3684898" y="4178347"/>
            <a:ext cx="3705984" cy="1769447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29E8D02C-8694-4C1B-8570-79B6A8BBAFB8}"/>
              </a:ext>
            </a:extLst>
          </p:cNvPr>
          <p:cNvSpPr/>
          <p:nvPr/>
        </p:nvSpPr>
        <p:spPr>
          <a:xfrm>
            <a:off x="7921532" y="4217547"/>
            <a:ext cx="3705984" cy="1715513"/>
          </a:xfrm>
          <a:prstGeom prst="roundRect">
            <a:avLst>
              <a:gd name="adj" fmla="val 50000"/>
            </a:avLst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628B640-C6BA-4CE6-9B0F-30E44A18544F}"/>
              </a:ext>
            </a:extLst>
          </p:cNvPr>
          <p:cNvSpPr/>
          <p:nvPr/>
        </p:nvSpPr>
        <p:spPr>
          <a:xfrm>
            <a:off x="3929197" y="2628301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DFE27853-0EE6-4046-A0E4-3FD83DC76DF7}"/>
              </a:ext>
            </a:extLst>
          </p:cNvPr>
          <p:cNvSpPr/>
          <p:nvPr/>
        </p:nvSpPr>
        <p:spPr>
          <a:xfrm>
            <a:off x="8186056" y="2607199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rgbClr val="0D61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</a:t>
            </a:r>
            <a:endParaRPr lang="en-ID" sz="32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689793E-3C3F-45F7-B54C-484EC7568DE1}"/>
              </a:ext>
            </a:extLst>
          </p:cNvPr>
          <p:cNvSpPr txBox="1"/>
          <p:nvPr/>
        </p:nvSpPr>
        <p:spPr>
          <a:xfrm>
            <a:off x="4836661" y="2225312"/>
            <a:ext cx="2153355" cy="2648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at went right!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7A929DE2-5852-4C8D-A13B-7910D09A1031}"/>
              </a:ext>
            </a:extLst>
          </p:cNvPr>
          <p:cNvSpPr txBox="1"/>
          <p:nvPr/>
        </p:nvSpPr>
        <p:spPr>
          <a:xfrm>
            <a:off x="4836662" y="2792610"/>
            <a:ext cx="2153355" cy="5976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just"/>
            <a:r>
              <a:rPr lang="en-AU" sz="13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 platform is facilitated by the product owner.</a:t>
            </a:r>
            <a:endParaRPr lang="en-ID" sz="13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AE0C8B40-44AC-474E-A727-4B88EB98A3E5}"/>
              </a:ext>
            </a:extLst>
          </p:cNvPr>
          <p:cNvSpPr txBox="1"/>
          <p:nvPr/>
        </p:nvSpPr>
        <p:spPr>
          <a:xfrm>
            <a:off x="5019322" y="4311964"/>
            <a:ext cx="2153355" cy="2648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ions taken: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C068570-981C-445F-B540-1A193DC46804}"/>
              </a:ext>
            </a:extLst>
          </p:cNvPr>
          <p:cNvSpPr txBox="1"/>
          <p:nvPr/>
        </p:nvSpPr>
        <p:spPr>
          <a:xfrm>
            <a:off x="4302835" y="4825118"/>
            <a:ext cx="2687181" cy="6133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AU" sz="13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sures undertaken for delivering quality work to the client</a:t>
            </a:r>
            <a:endParaRPr lang="en-ID" sz="13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DC0584A4-BA01-4CFE-A9E2-0B5D50B72850}"/>
              </a:ext>
            </a:extLst>
          </p:cNvPr>
          <p:cNvSpPr txBox="1"/>
          <p:nvPr/>
        </p:nvSpPr>
        <p:spPr>
          <a:xfrm>
            <a:off x="9047666" y="2205524"/>
            <a:ext cx="2153355" cy="2648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at went wrong!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CC04A9C-8EBC-4D6F-BAD0-A4D19294AF7B}"/>
              </a:ext>
            </a:extLst>
          </p:cNvPr>
          <p:cNvSpPr txBox="1"/>
          <p:nvPr/>
        </p:nvSpPr>
        <p:spPr>
          <a:xfrm>
            <a:off x="9047666" y="2790931"/>
            <a:ext cx="2041229" cy="41926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AU" sz="13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time management issue</a:t>
            </a:r>
            <a:endParaRPr lang="en-IN" sz="13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21002A1-3588-44AA-B021-05A6E3E8A9BB}"/>
              </a:ext>
            </a:extLst>
          </p:cNvPr>
          <p:cNvSpPr txBox="1"/>
          <p:nvPr/>
        </p:nvSpPr>
        <p:spPr>
          <a:xfrm>
            <a:off x="9200445" y="4290589"/>
            <a:ext cx="2153355" cy="2648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13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ions taken: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4C1196EA-AEA8-46D5-8331-9760AD00D168}"/>
              </a:ext>
            </a:extLst>
          </p:cNvPr>
          <p:cNvSpPr txBox="1"/>
          <p:nvPr/>
        </p:nvSpPr>
        <p:spPr>
          <a:xfrm>
            <a:off x="8371643" y="4701365"/>
            <a:ext cx="2810457" cy="12859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0" algn="ctr">
              <a:lnSpc>
                <a:spcPct val="115000"/>
              </a:lnSpc>
              <a:spcAft>
                <a:spcPts val="1000"/>
              </a:spcAft>
            </a:pPr>
            <a:r>
              <a:rPr lang="en-AU" sz="13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ecution of informal discussion meeting, among the team members</a:t>
            </a:r>
            <a:endParaRPr lang="en-IN" sz="13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5" name="Freeform 17">
            <a:extLst>
              <a:ext uri="{FF2B5EF4-FFF2-40B4-BE49-F238E27FC236}">
                <a16:creationId xmlns:a16="http://schemas.microsoft.com/office/drawing/2014/main" id="{35A3DEC1-0318-4782-8182-F274E7C0E734}"/>
              </a:ext>
            </a:extLst>
          </p:cNvPr>
          <p:cNvSpPr>
            <a:spLocks/>
          </p:cNvSpPr>
          <p:nvPr/>
        </p:nvSpPr>
        <p:spPr bwMode="auto">
          <a:xfrm>
            <a:off x="4079177" y="2820413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22CF4B-4762-E835-E4A5-DC0669848C45}"/>
              </a:ext>
            </a:extLst>
          </p:cNvPr>
          <p:cNvSpPr txBox="1"/>
          <p:nvPr/>
        </p:nvSpPr>
        <p:spPr>
          <a:xfrm>
            <a:off x="18921" y="6328893"/>
            <a:ext cx="11182100" cy="496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4192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Freeform: Shape 693">
            <a:extLst>
              <a:ext uri="{FF2B5EF4-FFF2-40B4-BE49-F238E27FC236}">
                <a16:creationId xmlns:a16="http://schemas.microsoft.com/office/drawing/2014/main" id="{194499D0-8A38-40B1-B2A9-557C55E7BB71}"/>
              </a:ext>
            </a:extLst>
          </p:cNvPr>
          <p:cNvSpPr/>
          <p:nvPr/>
        </p:nvSpPr>
        <p:spPr>
          <a:xfrm>
            <a:off x="0" y="3930695"/>
            <a:ext cx="12192000" cy="2927305"/>
          </a:xfrm>
          <a:custGeom>
            <a:avLst/>
            <a:gdLst>
              <a:gd name="connsiteX0" fmla="*/ 1333500 w 12192000"/>
              <a:gd name="connsiteY0" fmla="*/ 208 h 2927305"/>
              <a:gd name="connsiteX1" fmla="*/ 6096000 w 12192000"/>
              <a:gd name="connsiteY1" fmla="*/ 212331 h 2927305"/>
              <a:gd name="connsiteX2" fmla="*/ 12192000 w 12192000"/>
              <a:gd name="connsiteY2" fmla="*/ 212331 h 2927305"/>
              <a:gd name="connsiteX3" fmla="*/ 12192000 w 12192000"/>
              <a:gd name="connsiteY3" fmla="*/ 2692129 h 2927305"/>
              <a:gd name="connsiteX4" fmla="*/ 12190186 w 12192000"/>
              <a:gd name="connsiteY4" fmla="*/ 2692726 h 2927305"/>
              <a:gd name="connsiteX5" fmla="*/ 12190186 w 12192000"/>
              <a:gd name="connsiteY5" fmla="*/ 2927305 h 2927305"/>
              <a:gd name="connsiteX6" fmla="*/ 0 w 12192000"/>
              <a:gd name="connsiteY6" fmla="*/ 2927305 h 2927305"/>
              <a:gd name="connsiteX7" fmla="*/ 0 w 12192000"/>
              <a:gd name="connsiteY7" fmla="*/ 2692129 h 2927305"/>
              <a:gd name="connsiteX8" fmla="*/ 0 w 12192000"/>
              <a:gd name="connsiteY8" fmla="*/ 1200105 h 2927305"/>
              <a:gd name="connsiteX9" fmla="*/ 0 w 12192000"/>
              <a:gd name="connsiteY9" fmla="*/ 212331 h 2927305"/>
              <a:gd name="connsiteX10" fmla="*/ 1333500 w 12192000"/>
              <a:gd name="connsiteY10" fmla="*/ 208 h 29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2927305">
                <a:moveTo>
                  <a:pt x="1333500" y="208"/>
                </a:moveTo>
                <a:cubicBezTo>
                  <a:pt x="2921000" y="14799"/>
                  <a:pt x="4508500" y="786970"/>
                  <a:pt x="6096000" y="212331"/>
                </a:cubicBezTo>
                <a:cubicBezTo>
                  <a:pt x="8128000" y="-523207"/>
                  <a:pt x="10160000" y="947869"/>
                  <a:pt x="12192000" y="212331"/>
                </a:cubicBezTo>
                <a:lnTo>
                  <a:pt x="12192000" y="2692129"/>
                </a:lnTo>
                <a:lnTo>
                  <a:pt x="12190186" y="2692726"/>
                </a:lnTo>
                <a:lnTo>
                  <a:pt x="12190186" y="2927305"/>
                </a:lnTo>
                <a:lnTo>
                  <a:pt x="0" y="2927305"/>
                </a:lnTo>
                <a:lnTo>
                  <a:pt x="0" y="2692129"/>
                </a:lnTo>
                <a:lnTo>
                  <a:pt x="0" y="1200105"/>
                </a:lnTo>
                <a:lnTo>
                  <a:pt x="0" y="212331"/>
                </a:lnTo>
                <a:cubicBezTo>
                  <a:pt x="444500" y="51432"/>
                  <a:pt x="889000" y="-3877"/>
                  <a:pt x="1333500" y="20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D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646" y="1146360"/>
            <a:ext cx="7071328" cy="2440217"/>
          </a:xfrm>
        </p:spPr>
        <p:txBody>
          <a:bodyPr>
            <a:normAutofit/>
          </a:bodyPr>
          <a:lstStyle/>
          <a:p>
            <a:r>
              <a:rPr lang="en-ID" sz="8000" dirty="0">
                <a:solidFill>
                  <a:srgbClr val="002E3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!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4662B489-7561-3F72-81DA-2585492E4D79}"/>
              </a:ext>
            </a:extLst>
          </p:cNvPr>
          <p:cNvGrpSpPr/>
          <p:nvPr/>
        </p:nvGrpSpPr>
        <p:grpSpPr>
          <a:xfrm>
            <a:off x="11391891" y="5390211"/>
            <a:ext cx="716915" cy="945126"/>
            <a:chOff x="446698" y="5667636"/>
            <a:chExt cx="523709" cy="690418"/>
          </a:xfrm>
        </p:grpSpPr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6D33CD8-A32B-B6D2-4500-D19B4528F9D8}"/>
                </a:ext>
              </a:extLst>
            </p:cNvPr>
            <p:cNvSpPr/>
            <p:nvPr/>
          </p:nvSpPr>
          <p:spPr>
            <a:xfrm>
              <a:off x="446698" y="5667636"/>
              <a:ext cx="523709" cy="690418"/>
            </a:xfrm>
            <a:custGeom>
              <a:avLst/>
              <a:gdLst>
                <a:gd name="connsiteX0" fmla="*/ 146025 w 523709"/>
                <a:gd name="connsiteY0" fmla="*/ 681429 h 690418"/>
                <a:gd name="connsiteX1" fmla="*/ 1543 w 523709"/>
                <a:gd name="connsiteY1" fmla="*/ 388995 h 690418"/>
                <a:gd name="connsiteX2" fmla="*/ 5170 w 523709"/>
                <a:gd name="connsiteY2" fmla="*/ 334263 h 690418"/>
                <a:gd name="connsiteX3" fmla="*/ 52726 w 523709"/>
                <a:gd name="connsiteY3" fmla="*/ 311330 h 690418"/>
                <a:gd name="connsiteX4" fmla="*/ 84839 w 523709"/>
                <a:gd name="connsiteY4" fmla="*/ 344990 h 690418"/>
                <a:gd name="connsiteX5" fmla="*/ 134501 w 523709"/>
                <a:gd name="connsiteY5" fmla="*/ 383303 h 690418"/>
                <a:gd name="connsiteX6" fmla="*/ 175448 w 523709"/>
                <a:gd name="connsiteY6" fmla="*/ 383960 h 690418"/>
                <a:gd name="connsiteX7" fmla="*/ 190539 w 523709"/>
                <a:gd name="connsiteY7" fmla="*/ 333332 h 690418"/>
                <a:gd name="connsiteX8" fmla="*/ 181706 w 523709"/>
                <a:gd name="connsiteY8" fmla="*/ 230436 h 690418"/>
                <a:gd name="connsiteX9" fmla="*/ 183344 w 523709"/>
                <a:gd name="connsiteY9" fmla="*/ 175321 h 690418"/>
                <a:gd name="connsiteX10" fmla="*/ 218441 w 523709"/>
                <a:gd name="connsiteY10" fmla="*/ 134053 h 690418"/>
                <a:gd name="connsiteX11" fmla="*/ 266114 w 523709"/>
                <a:gd name="connsiteY11" fmla="*/ 154139 h 690418"/>
                <a:gd name="connsiteX12" fmla="*/ 268454 w 523709"/>
                <a:gd name="connsiteY12" fmla="*/ 177017 h 690418"/>
                <a:gd name="connsiteX13" fmla="*/ 282025 w 523709"/>
                <a:gd name="connsiteY13" fmla="*/ 194422 h 690418"/>
                <a:gd name="connsiteX14" fmla="*/ 302966 w 523709"/>
                <a:gd name="connsiteY14" fmla="*/ 184461 h 690418"/>
                <a:gd name="connsiteX15" fmla="*/ 344731 w 523709"/>
                <a:gd name="connsiteY15" fmla="*/ 114842 h 690418"/>
                <a:gd name="connsiteX16" fmla="*/ 383104 w 523709"/>
                <a:gd name="connsiteY16" fmla="*/ 43362 h 690418"/>
                <a:gd name="connsiteX17" fmla="*/ 452244 w 523709"/>
                <a:gd name="connsiteY17" fmla="*/ 506 h 690418"/>
                <a:gd name="connsiteX18" fmla="*/ 520800 w 523709"/>
                <a:gd name="connsiteY18" fmla="*/ 36684 h 690418"/>
                <a:gd name="connsiteX19" fmla="*/ 499918 w 523709"/>
                <a:gd name="connsiteY19" fmla="*/ 111831 h 690418"/>
                <a:gd name="connsiteX20" fmla="*/ 415042 w 523709"/>
                <a:gd name="connsiteY20" fmla="*/ 199786 h 690418"/>
                <a:gd name="connsiteX21" fmla="*/ 401003 w 523709"/>
                <a:gd name="connsiteY21" fmla="*/ 216206 h 690418"/>
                <a:gd name="connsiteX22" fmla="*/ 424401 w 523709"/>
                <a:gd name="connsiteY22" fmla="*/ 243243 h 690418"/>
                <a:gd name="connsiteX23" fmla="*/ 470729 w 523709"/>
                <a:gd name="connsiteY23" fmla="*/ 244885 h 690418"/>
                <a:gd name="connsiteX24" fmla="*/ 510154 w 523709"/>
                <a:gd name="connsiteY24" fmla="*/ 263877 h 690418"/>
                <a:gd name="connsiteX25" fmla="*/ 488921 w 523709"/>
                <a:gd name="connsiteY25" fmla="*/ 317077 h 690418"/>
                <a:gd name="connsiteX26" fmla="*/ 382285 w 523709"/>
                <a:gd name="connsiteY26" fmla="*/ 384945 h 690418"/>
                <a:gd name="connsiteX27" fmla="*/ 342391 w 523709"/>
                <a:gd name="connsiteY27" fmla="*/ 406838 h 690418"/>
                <a:gd name="connsiteX28" fmla="*/ 333793 w 523709"/>
                <a:gd name="connsiteY28" fmla="*/ 446683 h 690418"/>
                <a:gd name="connsiteX29" fmla="*/ 375265 w 523709"/>
                <a:gd name="connsiteY29" fmla="*/ 458395 h 690418"/>
                <a:gd name="connsiteX30" fmla="*/ 417265 w 523709"/>
                <a:gd name="connsiteY30" fmla="*/ 439951 h 690418"/>
                <a:gd name="connsiteX31" fmla="*/ 497636 w 523709"/>
                <a:gd name="connsiteY31" fmla="*/ 448544 h 690418"/>
                <a:gd name="connsiteX32" fmla="*/ 508341 w 523709"/>
                <a:gd name="connsiteY32" fmla="*/ 499609 h 690418"/>
                <a:gd name="connsiteX33" fmla="*/ 482077 w 523709"/>
                <a:gd name="connsiteY33" fmla="*/ 547226 h 690418"/>
                <a:gd name="connsiteX34" fmla="*/ 328938 w 523709"/>
                <a:gd name="connsiteY34" fmla="*/ 664626 h 690418"/>
                <a:gd name="connsiteX35" fmla="*/ 146083 w 523709"/>
                <a:gd name="connsiteY35" fmla="*/ 681812 h 69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3709" h="690418">
                  <a:moveTo>
                    <a:pt x="146025" y="681429"/>
                  </a:moveTo>
                  <a:cubicBezTo>
                    <a:pt x="39038" y="621935"/>
                    <a:pt x="6281" y="500156"/>
                    <a:pt x="1543" y="388995"/>
                  </a:cubicBezTo>
                  <a:cubicBezTo>
                    <a:pt x="724" y="370441"/>
                    <a:pt x="-2961" y="351066"/>
                    <a:pt x="5170" y="334263"/>
                  </a:cubicBezTo>
                  <a:cubicBezTo>
                    <a:pt x="13300" y="317460"/>
                    <a:pt x="34417" y="304762"/>
                    <a:pt x="52726" y="311330"/>
                  </a:cubicBezTo>
                  <a:cubicBezTo>
                    <a:pt x="67934" y="316803"/>
                    <a:pt x="75597" y="332347"/>
                    <a:pt x="84839" y="344990"/>
                  </a:cubicBezTo>
                  <a:cubicBezTo>
                    <a:pt x="97205" y="361881"/>
                    <a:pt x="114420" y="375164"/>
                    <a:pt x="134501" y="383303"/>
                  </a:cubicBezTo>
                  <a:cubicBezTo>
                    <a:pt x="147604" y="388776"/>
                    <a:pt x="163456" y="391239"/>
                    <a:pt x="175448" y="383960"/>
                  </a:cubicBezTo>
                  <a:cubicBezTo>
                    <a:pt x="191826" y="373944"/>
                    <a:pt x="192119" y="351777"/>
                    <a:pt x="190539" y="333332"/>
                  </a:cubicBezTo>
                  <a:cubicBezTo>
                    <a:pt x="187614" y="299070"/>
                    <a:pt x="184672" y="264769"/>
                    <a:pt x="181706" y="230436"/>
                  </a:cubicBezTo>
                  <a:cubicBezTo>
                    <a:pt x="180186" y="212046"/>
                    <a:pt x="178606" y="193218"/>
                    <a:pt x="183344" y="175321"/>
                  </a:cubicBezTo>
                  <a:cubicBezTo>
                    <a:pt x="188082" y="157423"/>
                    <a:pt x="200366" y="140292"/>
                    <a:pt x="218441" y="134053"/>
                  </a:cubicBezTo>
                  <a:cubicBezTo>
                    <a:pt x="236516" y="127813"/>
                    <a:pt x="260733" y="136351"/>
                    <a:pt x="266114" y="154139"/>
                  </a:cubicBezTo>
                  <a:cubicBezTo>
                    <a:pt x="267454" y="161703"/>
                    <a:pt x="268238" y="169349"/>
                    <a:pt x="268454" y="177017"/>
                  </a:cubicBezTo>
                  <a:cubicBezTo>
                    <a:pt x="269624" y="184625"/>
                    <a:pt x="274303" y="192835"/>
                    <a:pt x="282025" y="194422"/>
                  </a:cubicBezTo>
                  <a:cubicBezTo>
                    <a:pt x="289746" y="196009"/>
                    <a:pt x="297526" y="190263"/>
                    <a:pt x="302966" y="184461"/>
                  </a:cubicBezTo>
                  <a:cubicBezTo>
                    <a:pt x="321801" y="164484"/>
                    <a:pt x="333676" y="139581"/>
                    <a:pt x="344731" y="114842"/>
                  </a:cubicBezTo>
                  <a:cubicBezTo>
                    <a:pt x="355787" y="90103"/>
                    <a:pt x="366257" y="64926"/>
                    <a:pt x="383104" y="43362"/>
                  </a:cubicBezTo>
                  <a:cubicBezTo>
                    <a:pt x="399950" y="21797"/>
                    <a:pt x="424050" y="3954"/>
                    <a:pt x="452244" y="506"/>
                  </a:cubicBezTo>
                  <a:cubicBezTo>
                    <a:pt x="480439" y="-2942"/>
                    <a:pt x="511616" y="11453"/>
                    <a:pt x="520800" y="36684"/>
                  </a:cubicBezTo>
                  <a:cubicBezTo>
                    <a:pt x="529984" y="61916"/>
                    <a:pt x="515887" y="89610"/>
                    <a:pt x="499918" y="111831"/>
                  </a:cubicBezTo>
                  <a:cubicBezTo>
                    <a:pt x="476297" y="144819"/>
                    <a:pt x="447711" y="174445"/>
                    <a:pt x="415042" y="199786"/>
                  </a:cubicBezTo>
                  <a:cubicBezTo>
                    <a:pt x="408619" y="203727"/>
                    <a:pt x="403700" y="209474"/>
                    <a:pt x="401003" y="216206"/>
                  </a:cubicBezTo>
                  <a:cubicBezTo>
                    <a:pt x="397669" y="228739"/>
                    <a:pt x="411064" y="240069"/>
                    <a:pt x="424401" y="243243"/>
                  </a:cubicBezTo>
                  <a:cubicBezTo>
                    <a:pt x="439434" y="246801"/>
                    <a:pt x="455228" y="244283"/>
                    <a:pt x="470729" y="244885"/>
                  </a:cubicBezTo>
                  <a:cubicBezTo>
                    <a:pt x="486230" y="245487"/>
                    <a:pt x="503310" y="250687"/>
                    <a:pt x="510154" y="263877"/>
                  </a:cubicBezTo>
                  <a:cubicBezTo>
                    <a:pt x="519747" y="282158"/>
                    <a:pt x="504305" y="303011"/>
                    <a:pt x="488921" y="317077"/>
                  </a:cubicBezTo>
                  <a:cubicBezTo>
                    <a:pt x="457801" y="345259"/>
                    <a:pt x="421734" y="368219"/>
                    <a:pt x="382285" y="384945"/>
                  </a:cubicBezTo>
                  <a:cubicBezTo>
                    <a:pt x="368246" y="390911"/>
                    <a:pt x="353037" y="396274"/>
                    <a:pt x="342391" y="406838"/>
                  </a:cubicBezTo>
                  <a:cubicBezTo>
                    <a:pt x="331745" y="417401"/>
                    <a:pt x="325720" y="434204"/>
                    <a:pt x="333793" y="446683"/>
                  </a:cubicBezTo>
                  <a:cubicBezTo>
                    <a:pt x="341865" y="459162"/>
                    <a:pt x="360349" y="462063"/>
                    <a:pt x="375265" y="458395"/>
                  </a:cubicBezTo>
                  <a:cubicBezTo>
                    <a:pt x="390181" y="454728"/>
                    <a:pt x="403226" y="446081"/>
                    <a:pt x="417265" y="439951"/>
                  </a:cubicBezTo>
                  <a:cubicBezTo>
                    <a:pt x="443529" y="428566"/>
                    <a:pt x="478626" y="427910"/>
                    <a:pt x="497636" y="448544"/>
                  </a:cubicBezTo>
                  <a:cubicBezTo>
                    <a:pt x="510154" y="462172"/>
                    <a:pt x="512728" y="482094"/>
                    <a:pt x="508341" y="499609"/>
                  </a:cubicBezTo>
                  <a:cubicBezTo>
                    <a:pt x="503088" y="516970"/>
                    <a:pt x="494156" y="533165"/>
                    <a:pt x="482077" y="547226"/>
                  </a:cubicBezTo>
                  <a:cubicBezTo>
                    <a:pt x="443049" y="598362"/>
                    <a:pt x="390199" y="638880"/>
                    <a:pt x="328938" y="664626"/>
                  </a:cubicBezTo>
                  <a:cubicBezTo>
                    <a:pt x="267811" y="689310"/>
                    <a:pt x="210076" y="698834"/>
                    <a:pt x="146083" y="681812"/>
                  </a:cubicBezTo>
                </a:path>
              </a:pathLst>
            </a:custGeom>
            <a:solidFill>
              <a:srgbClr val="F5F5F5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E396E9B0-3865-5F13-318A-3FB87FC62ACE}"/>
                </a:ext>
              </a:extLst>
            </p:cNvPr>
            <p:cNvSpPr/>
            <p:nvPr/>
          </p:nvSpPr>
          <p:spPr>
            <a:xfrm>
              <a:off x="610281" y="5681771"/>
              <a:ext cx="327325" cy="673752"/>
            </a:xfrm>
            <a:custGeom>
              <a:avLst/>
              <a:gdLst>
                <a:gd name="connsiteX0" fmla="*/ 1744 w 327325"/>
                <a:gd name="connsiteY0" fmla="*/ 672768 h 673752"/>
                <a:gd name="connsiteX1" fmla="*/ 7594 w 327325"/>
                <a:gd name="connsiteY1" fmla="*/ 596143 h 673752"/>
                <a:gd name="connsiteX2" fmla="*/ 63573 w 327325"/>
                <a:gd name="connsiteY2" fmla="*/ 413666 h 673752"/>
                <a:gd name="connsiteX3" fmla="*/ 81122 w 327325"/>
                <a:gd name="connsiteY3" fmla="*/ 366541 h 673752"/>
                <a:gd name="connsiteX4" fmla="*/ 99021 w 327325"/>
                <a:gd name="connsiteY4" fmla="*/ 321059 h 673752"/>
                <a:gd name="connsiteX5" fmla="*/ 141722 w 327325"/>
                <a:gd name="connsiteY5" fmla="*/ 238961 h 673752"/>
                <a:gd name="connsiteX6" fmla="*/ 186178 w 327325"/>
                <a:gd name="connsiteY6" fmla="*/ 167809 h 673752"/>
                <a:gd name="connsiteX7" fmla="*/ 227943 w 327325"/>
                <a:gd name="connsiteY7" fmla="*/ 107330 h 673752"/>
                <a:gd name="connsiteX8" fmla="*/ 298137 w 327325"/>
                <a:gd name="connsiteY8" fmla="*/ 26709 h 673752"/>
                <a:gd name="connsiteX9" fmla="*/ 319429 w 327325"/>
                <a:gd name="connsiteY9" fmla="*/ 6677 h 673752"/>
                <a:gd name="connsiteX10" fmla="*/ 325278 w 327325"/>
                <a:gd name="connsiteY10" fmla="*/ 1642 h 673752"/>
                <a:gd name="connsiteX11" fmla="*/ 327326 w 327325"/>
                <a:gd name="connsiteY11" fmla="*/ 0 h 673752"/>
                <a:gd name="connsiteX12" fmla="*/ 325512 w 327325"/>
                <a:gd name="connsiteY12" fmla="*/ 1916 h 673752"/>
                <a:gd name="connsiteX13" fmla="*/ 320072 w 327325"/>
                <a:gd name="connsiteY13" fmla="*/ 7389 h 673752"/>
                <a:gd name="connsiteX14" fmla="*/ 299248 w 327325"/>
                <a:gd name="connsiteY14" fmla="*/ 27859 h 673752"/>
                <a:gd name="connsiteX15" fmla="*/ 230108 w 327325"/>
                <a:gd name="connsiteY15" fmla="*/ 108972 h 673752"/>
                <a:gd name="connsiteX16" fmla="*/ 188810 w 327325"/>
                <a:gd name="connsiteY16" fmla="*/ 169505 h 673752"/>
                <a:gd name="connsiteX17" fmla="*/ 144705 w 327325"/>
                <a:gd name="connsiteY17" fmla="*/ 240986 h 673752"/>
                <a:gd name="connsiteX18" fmla="*/ 102355 w 327325"/>
                <a:gd name="connsiteY18" fmla="*/ 323084 h 673752"/>
                <a:gd name="connsiteX19" fmla="*/ 84807 w 327325"/>
                <a:gd name="connsiteY19" fmla="*/ 368347 h 673752"/>
                <a:gd name="connsiteX20" fmla="*/ 67551 w 327325"/>
                <a:gd name="connsiteY20" fmla="*/ 415472 h 673752"/>
                <a:gd name="connsiteX21" fmla="*/ 11396 w 327325"/>
                <a:gd name="connsiteY21" fmla="*/ 597511 h 673752"/>
                <a:gd name="connsiteX22" fmla="*/ 4903 w 327325"/>
                <a:gd name="connsiteY22" fmla="*/ 673753 h 67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325" h="673752">
                  <a:moveTo>
                    <a:pt x="1744" y="672768"/>
                  </a:moveTo>
                  <a:cubicBezTo>
                    <a:pt x="2622" y="628544"/>
                    <a:pt x="-5626" y="653064"/>
                    <a:pt x="7594" y="596143"/>
                  </a:cubicBezTo>
                  <a:cubicBezTo>
                    <a:pt x="22510" y="534366"/>
                    <a:pt x="41199" y="473439"/>
                    <a:pt x="63573" y="413666"/>
                  </a:cubicBezTo>
                  <a:cubicBezTo>
                    <a:pt x="69423" y="397739"/>
                    <a:pt x="75272" y="382030"/>
                    <a:pt x="81122" y="366541"/>
                  </a:cubicBezTo>
                  <a:cubicBezTo>
                    <a:pt x="86971" y="351052"/>
                    <a:pt x="92470" y="335727"/>
                    <a:pt x="99021" y="321059"/>
                  </a:cubicBezTo>
                  <a:cubicBezTo>
                    <a:pt x="111627" y="292976"/>
                    <a:pt x="125882" y="265571"/>
                    <a:pt x="141722" y="238961"/>
                  </a:cubicBezTo>
                  <a:cubicBezTo>
                    <a:pt x="156638" y="213401"/>
                    <a:pt x="171847" y="189702"/>
                    <a:pt x="186178" y="167809"/>
                  </a:cubicBezTo>
                  <a:cubicBezTo>
                    <a:pt x="200509" y="145916"/>
                    <a:pt x="214431" y="125391"/>
                    <a:pt x="227943" y="107330"/>
                  </a:cubicBezTo>
                  <a:cubicBezTo>
                    <a:pt x="249001" y="78743"/>
                    <a:pt x="272475" y="51782"/>
                    <a:pt x="298137" y="26709"/>
                  </a:cubicBezTo>
                  <a:cubicBezTo>
                    <a:pt x="307203" y="17843"/>
                    <a:pt x="314457" y="11165"/>
                    <a:pt x="319429" y="6677"/>
                  </a:cubicBezTo>
                  <a:lnTo>
                    <a:pt x="325278" y="1642"/>
                  </a:lnTo>
                  <a:cubicBezTo>
                    <a:pt x="325922" y="1056"/>
                    <a:pt x="326606" y="504"/>
                    <a:pt x="327326" y="0"/>
                  </a:cubicBezTo>
                  <a:cubicBezTo>
                    <a:pt x="326776" y="679"/>
                    <a:pt x="326167" y="1319"/>
                    <a:pt x="325512" y="1916"/>
                  </a:cubicBezTo>
                  <a:lnTo>
                    <a:pt x="320072" y="7389"/>
                  </a:lnTo>
                  <a:cubicBezTo>
                    <a:pt x="315276" y="12041"/>
                    <a:pt x="308373" y="18828"/>
                    <a:pt x="299248" y="27859"/>
                  </a:cubicBezTo>
                  <a:cubicBezTo>
                    <a:pt x="274060" y="53238"/>
                    <a:pt x="250949" y="80352"/>
                    <a:pt x="230108" y="108972"/>
                  </a:cubicBezTo>
                  <a:cubicBezTo>
                    <a:pt x="216771" y="127033"/>
                    <a:pt x="203083" y="147284"/>
                    <a:pt x="188810" y="169505"/>
                  </a:cubicBezTo>
                  <a:cubicBezTo>
                    <a:pt x="174538" y="191727"/>
                    <a:pt x="159563" y="215426"/>
                    <a:pt x="144705" y="240986"/>
                  </a:cubicBezTo>
                  <a:cubicBezTo>
                    <a:pt x="128999" y="267607"/>
                    <a:pt x="114861" y="295017"/>
                    <a:pt x="102355" y="323084"/>
                  </a:cubicBezTo>
                  <a:cubicBezTo>
                    <a:pt x="95862" y="337697"/>
                    <a:pt x="90305" y="352858"/>
                    <a:pt x="84807" y="368347"/>
                  </a:cubicBezTo>
                  <a:cubicBezTo>
                    <a:pt x="79308" y="383837"/>
                    <a:pt x="73108" y="399599"/>
                    <a:pt x="67551" y="415472"/>
                  </a:cubicBezTo>
                  <a:cubicBezTo>
                    <a:pt x="45212" y="475124"/>
                    <a:pt x="26464" y="535899"/>
                    <a:pt x="11396" y="597511"/>
                  </a:cubicBezTo>
                  <a:cubicBezTo>
                    <a:pt x="-1882" y="654432"/>
                    <a:pt x="6073" y="629693"/>
                    <a:pt x="4903" y="673753"/>
                  </a:cubicBezTo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843EF25-0B58-094D-1FB2-F60E3D161F3F}"/>
                </a:ext>
              </a:extLst>
            </p:cNvPr>
            <p:cNvSpPr/>
            <p:nvPr/>
          </p:nvSpPr>
          <p:spPr>
            <a:xfrm>
              <a:off x="665314" y="5801579"/>
              <a:ext cx="44690" cy="200702"/>
            </a:xfrm>
            <a:custGeom>
              <a:avLst/>
              <a:gdLst>
                <a:gd name="connsiteX0" fmla="*/ 44690 w 44690"/>
                <a:gd name="connsiteY0" fmla="*/ 200703 h 200702"/>
                <a:gd name="connsiteX1" fmla="*/ 42175 w 44690"/>
                <a:gd name="connsiteY1" fmla="*/ 192986 h 200702"/>
                <a:gd name="connsiteX2" fmla="*/ 36793 w 44690"/>
                <a:gd name="connsiteY2" fmla="*/ 171585 h 200702"/>
                <a:gd name="connsiteX3" fmla="*/ 22345 w 44690"/>
                <a:gd name="connsiteY3" fmla="*/ 100434 h 200702"/>
                <a:gd name="connsiteX4" fmla="*/ 7195 w 44690"/>
                <a:gd name="connsiteY4" fmla="*/ 29282 h 200702"/>
                <a:gd name="connsiteX5" fmla="*/ 1755 w 44690"/>
                <a:gd name="connsiteY5" fmla="*/ 7936 h 200702"/>
                <a:gd name="connsiteX6" fmla="*/ 0 w 44690"/>
                <a:gd name="connsiteY6" fmla="*/ 0 h 200702"/>
                <a:gd name="connsiteX7" fmla="*/ 3100 w 44690"/>
                <a:gd name="connsiteY7" fmla="*/ 7553 h 200702"/>
                <a:gd name="connsiteX8" fmla="*/ 9710 w 44690"/>
                <a:gd name="connsiteY8" fmla="*/ 28680 h 200702"/>
                <a:gd name="connsiteX9" fmla="*/ 25913 w 44690"/>
                <a:gd name="connsiteY9" fmla="*/ 99831 h 200702"/>
                <a:gd name="connsiteX10" fmla="*/ 39308 w 44690"/>
                <a:gd name="connsiteY10" fmla="*/ 170983 h 200702"/>
                <a:gd name="connsiteX11" fmla="*/ 43579 w 44690"/>
                <a:gd name="connsiteY11" fmla="*/ 192602 h 200702"/>
                <a:gd name="connsiteX12" fmla="*/ 44690 w 44690"/>
                <a:gd name="connsiteY12" fmla="*/ 200703 h 20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690" h="200702">
                  <a:moveTo>
                    <a:pt x="44690" y="200703"/>
                  </a:moveTo>
                  <a:cubicBezTo>
                    <a:pt x="43561" y="198218"/>
                    <a:pt x="42719" y="195635"/>
                    <a:pt x="42175" y="192986"/>
                  </a:cubicBezTo>
                  <a:cubicBezTo>
                    <a:pt x="40712" y="188005"/>
                    <a:pt x="38899" y="180671"/>
                    <a:pt x="36793" y="171585"/>
                  </a:cubicBezTo>
                  <a:cubicBezTo>
                    <a:pt x="32582" y="153469"/>
                    <a:pt x="27668" y="128237"/>
                    <a:pt x="22345" y="100434"/>
                  </a:cubicBezTo>
                  <a:cubicBezTo>
                    <a:pt x="17022" y="72629"/>
                    <a:pt x="11699" y="47453"/>
                    <a:pt x="7195" y="29282"/>
                  </a:cubicBezTo>
                  <a:cubicBezTo>
                    <a:pt x="4972" y="20251"/>
                    <a:pt x="3100" y="12862"/>
                    <a:pt x="1755" y="7936"/>
                  </a:cubicBezTo>
                  <a:cubicBezTo>
                    <a:pt x="866" y="5358"/>
                    <a:pt x="281" y="2698"/>
                    <a:pt x="0" y="0"/>
                  </a:cubicBezTo>
                  <a:cubicBezTo>
                    <a:pt x="1328" y="2403"/>
                    <a:pt x="2363" y="4937"/>
                    <a:pt x="3100" y="7553"/>
                  </a:cubicBezTo>
                  <a:cubicBezTo>
                    <a:pt x="4855" y="12479"/>
                    <a:pt x="7136" y="19704"/>
                    <a:pt x="9710" y="28680"/>
                  </a:cubicBezTo>
                  <a:cubicBezTo>
                    <a:pt x="14858" y="46632"/>
                    <a:pt x="20590" y="71754"/>
                    <a:pt x="25913" y="99831"/>
                  </a:cubicBezTo>
                  <a:cubicBezTo>
                    <a:pt x="31236" y="127909"/>
                    <a:pt x="35740" y="152155"/>
                    <a:pt x="39308" y="170983"/>
                  </a:cubicBezTo>
                  <a:cubicBezTo>
                    <a:pt x="41005" y="179576"/>
                    <a:pt x="42409" y="186801"/>
                    <a:pt x="43579" y="192602"/>
                  </a:cubicBezTo>
                  <a:cubicBezTo>
                    <a:pt x="44292" y="195252"/>
                    <a:pt x="44666" y="197972"/>
                    <a:pt x="44690" y="20070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9DFE371A-B510-D1CB-A3F8-A97EE9D194C8}"/>
                </a:ext>
              </a:extLst>
            </p:cNvPr>
            <p:cNvSpPr/>
            <p:nvPr/>
          </p:nvSpPr>
          <p:spPr>
            <a:xfrm>
              <a:off x="710004" y="5940537"/>
              <a:ext cx="249538" cy="61744"/>
            </a:xfrm>
            <a:custGeom>
              <a:avLst/>
              <a:gdLst>
                <a:gd name="connsiteX0" fmla="*/ 249538 w 249538"/>
                <a:gd name="connsiteY0" fmla="*/ 62 h 61744"/>
                <a:gd name="connsiteX1" fmla="*/ 239536 w 249538"/>
                <a:gd name="connsiteY1" fmla="*/ 1868 h 61744"/>
                <a:gd name="connsiteX2" fmla="*/ 212277 w 249538"/>
                <a:gd name="connsiteY2" fmla="*/ 6301 h 61744"/>
                <a:gd name="connsiteX3" fmla="*/ 123248 w 249538"/>
                <a:gd name="connsiteY3" fmla="*/ 25293 h 61744"/>
                <a:gd name="connsiteX4" fmla="*/ 35857 w 249538"/>
                <a:gd name="connsiteY4" fmla="*/ 50196 h 61744"/>
                <a:gd name="connsiteX5" fmla="*/ 9710 w 249538"/>
                <a:gd name="connsiteY5" fmla="*/ 58844 h 61744"/>
                <a:gd name="connsiteX6" fmla="*/ 0 w 249538"/>
                <a:gd name="connsiteY6" fmla="*/ 61745 h 61744"/>
                <a:gd name="connsiteX7" fmla="*/ 9184 w 249538"/>
                <a:gd name="connsiteY7" fmla="*/ 57585 h 61744"/>
                <a:gd name="connsiteX8" fmla="*/ 34980 w 249538"/>
                <a:gd name="connsiteY8" fmla="*/ 47897 h 61744"/>
                <a:gd name="connsiteX9" fmla="*/ 122312 w 249538"/>
                <a:gd name="connsiteY9" fmla="*/ 22009 h 61744"/>
                <a:gd name="connsiteX10" fmla="*/ 211868 w 249538"/>
                <a:gd name="connsiteY10" fmla="*/ 3893 h 61744"/>
                <a:gd name="connsiteX11" fmla="*/ 239360 w 249538"/>
                <a:gd name="connsiteY11" fmla="*/ 554 h 61744"/>
                <a:gd name="connsiteX12" fmla="*/ 249538 w 249538"/>
                <a:gd name="connsiteY12" fmla="*/ 62 h 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538" h="61744">
                  <a:moveTo>
                    <a:pt x="249538" y="62"/>
                  </a:moveTo>
                  <a:cubicBezTo>
                    <a:pt x="246274" y="959"/>
                    <a:pt x="242923" y="1561"/>
                    <a:pt x="239536" y="1868"/>
                  </a:cubicBezTo>
                  <a:cubicBezTo>
                    <a:pt x="233101" y="2853"/>
                    <a:pt x="223742" y="4276"/>
                    <a:pt x="212277" y="6301"/>
                  </a:cubicBezTo>
                  <a:cubicBezTo>
                    <a:pt x="189289" y="10242"/>
                    <a:pt x="157760" y="16755"/>
                    <a:pt x="123248" y="25293"/>
                  </a:cubicBezTo>
                  <a:cubicBezTo>
                    <a:pt x="88736" y="33831"/>
                    <a:pt x="57968" y="43026"/>
                    <a:pt x="35857" y="50196"/>
                  </a:cubicBezTo>
                  <a:cubicBezTo>
                    <a:pt x="24743" y="53699"/>
                    <a:pt x="15852" y="56764"/>
                    <a:pt x="9710" y="58844"/>
                  </a:cubicBezTo>
                  <a:cubicBezTo>
                    <a:pt x="6581" y="60103"/>
                    <a:pt x="3328" y="61072"/>
                    <a:pt x="0" y="61745"/>
                  </a:cubicBezTo>
                  <a:cubicBezTo>
                    <a:pt x="2925" y="60108"/>
                    <a:pt x="5996" y="58713"/>
                    <a:pt x="9184" y="57585"/>
                  </a:cubicBezTo>
                  <a:cubicBezTo>
                    <a:pt x="15033" y="55122"/>
                    <a:pt x="23983" y="51674"/>
                    <a:pt x="34980" y="47897"/>
                  </a:cubicBezTo>
                  <a:cubicBezTo>
                    <a:pt x="56915" y="40126"/>
                    <a:pt x="87625" y="30657"/>
                    <a:pt x="122312" y="22009"/>
                  </a:cubicBezTo>
                  <a:cubicBezTo>
                    <a:pt x="151811" y="14533"/>
                    <a:pt x="181702" y="8485"/>
                    <a:pt x="211868" y="3893"/>
                  </a:cubicBezTo>
                  <a:cubicBezTo>
                    <a:pt x="223567" y="2141"/>
                    <a:pt x="232867" y="1101"/>
                    <a:pt x="239360" y="554"/>
                  </a:cubicBezTo>
                  <a:cubicBezTo>
                    <a:pt x="242724" y="62"/>
                    <a:pt x="246134" y="-103"/>
                    <a:pt x="249538" y="62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286A3385-58F9-ED4E-9EE4-D613F9461372}"/>
                </a:ext>
              </a:extLst>
            </p:cNvPr>
            <p:cNvSpPr/>
            <p:nvPr/>
          </p:nvSpPr>
          <p:spPr>
            <a:xfrm>
              <a:off x="469533" y="5979295"/>
              <a:ext cx="151033" cy="293692"/>
            </a:xfrm>
            <a:custGeom>
              <a:avLst/>
              <a:gdLst>
                <a:gd name="connsiteX0" fmla="*/ 151033 w 151033"/>
                <a:gd name="connsiteY0" fmla="*/ 293693 h 293692"/>
                <a:gd name="connsiteX1" fmla="*/ 149103 w 151033"/>
                <a:gd name="connsiteY1" fmla="*/ 290956 h 293692"/>
                <a:gd name="connsiteX2" fmla="*/ 144072 w 151033"/>
                <a:gd name="connsiteY2" fmla="*/ 282691 h 293692"/>
                <a:gd name="connsiteX3" fmla="*/ 126524 w 151033"/>
                <a:gd name="connsiteY3" fmla="*/ 251768 h 293692"/>
                <a:gd name="connsiteX4" fmla="*/ 73879 w 151033"/>
                <a:gd name="connsiteY4" fmla="*/ 147777 h 293692"/>
                <a:gd name="connsiteX5" fmla="*/ 21994 w 151033"/>
                <a:gd name="connsiteY5" fmla="*/ 43293 h 293692"/>
                <a:gd name="connsiteX6" fmla="*/ 5615 w 151033"/>
                <a:gd name="connsiteY6" fmla="*/ 11932 h 293692"/>
                <a:gd name="connsiteX7" fmla="*/ 1287 w 151033"/>
                <a:gd name="connsiteY7" fmla="*/ 3065 h 293692"/>
                <a:gd name="connsiteX8" fmla="*/ 0 w 151033"/>
                <a:gd name="connsiteY8" fmla="*/ 0 h 293692"/>
                <a:gd name="connsiteX9" fmla="*/ 1930 w 151033"/>
                <a:gd name="connsiteY9" fmla="*/ 2737 h 293692"/>
                <a:gd name="connsiteX10" fmla="*/ 6961 w 151033"/>
                <a:gd name="connsiteY10" fmla="*/ 11001 h 293692"/>
                <a:gd name="connsiteX11" fmla="*/ 24509 w 151033"/>
                <a:gd name="connsiteY11" fmla="*/ 41925 h 293692"/>
                <a:gd name="connsiteX12" fmla="*/ 77155 w 151033"/>
                <a:gd name="connsiteY12" fmla="*/ 145916 h 293692"/>
                <a:gd name="connsiteX13" fmla="*/ 129039 w 151033"/>
                <a:gd name="connsiteY13" fmla="*/ 250400 h 293692"/>
                <a:gd name="connsiteX14" fmla="*/ 145418 w 151033"/>
                <a:gd name="connsiteY14" fmla="*/ 281761 h 293692"/>
                <a:gd name="connsiteX15" fmla="*/ 149863 w 151033"/>
                <a:gd name="connsiteY15" fmla="*/ 290354 h 293692"/>
                <a:gd name="connsiteX16" fmla="*/ 151033 w 151033"/>
                <a:gd name="connsiteY16" fmla="*/ 293693 h 29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1033" h="293692">
                  <a:moveTo>
                    <a:pt x="151033" y="293693"/>
                  </a:moveTo>
                  <a:cubicBezTo>
                    <a:pt x="150255" y="292872"/>
                    <a:pt x="149606" y="291947"/>
                    <a:pt x="149103" y="290956"/>
                  </a:cubicBezTo>
                  <a:cubicBezTo>
                    <a:pt x="147699" y="288712"/>
                    <a:pt x="146061" y="285975"/>
                    <a:pt x="144072" y="282691"/>
                  </a:cubicBezTo>
                  <a:cubicBezTo>
                    <a:pt x="139744" y="275467"/>
                    <a:pt x="133836" y="264904"/>
                    <a:pt x="126524" y="251768"/>
                  </a:cubicBezTo>
                  <a:cubicBezTo>
                    <a:pt x="112193" y="225496"/>
                    <a:pt x="93591" y="188607"/>
                    <a:pt x="73879" y="147777"/>
                  </a:cubicBezTo>
                  <a:cubicBezTo>
                    <a:pt x="54166" y="106947"/>
                    <a:pt x="35740" y="69783"/>
                    <a:pt x="21994" y="43293"/>
                  </a:cubicBezTo>
                  <a:cubicBezTo>
                    <a:pt x="15267" y="30376"/>
                    <a:pt x="9769" y="19758"/>
                    <a:pt x="5615" y="11932"/>
                  </a:cubicBezTo>
                  <a:lnTo>
                    <a:pt x="1287" y="3065"/>
                  </a:lnTo>
                  <a:cubicBezTo>
                    <a:pt x="684" y="2113"/>
                    <a:pt x="252" y="1078"/>
                    <a:pt x="0" y="0"/>
                  </a:cubicBezTo>
                  <a:cubicBezTo>
                    <a:pt x="755" y="843"/>
                    <a:pt x="1398" y="1757"/>
                    <a:pt x="1930" y="2737"/>
                  </a:cubicBezTo>
                  <a:cubicBezTo>
                    <a:pt x="3276" y="4981"/>
                    <a:pt x="4914" y="7717"/>
                    <a:pt x="6961" y="11001"/>
                  </a:cubicBezTo>
                  <a:cubicBezTo>
                    <a:pt x="11231" y="18226"/>
                    <a:pt x="17197" y="28789"/>
                    <a:pt x="24509" y="41925"/>
                  </a:cubicBezTo>
                  <a:cubicBezTo>
                    <a:pt x="38899" y="68196"/>
                    <a:pt x="57500" y="105086"/>
                    <a:pt x="77155" y="145916"/>
                  </a:cubicBezTo>
                  <a:cubicBezTo>
                    <a:pt x="96809" y="186746"/>
                    <a:pt x="115352" y="223909"/>
                    <a:pt x="129039" y="250400"/>
                  </a:cubicBezTo>
                  <a:cubicBezTo>
                    <a:pt x="135825" y="263316"/>
                    <a:pt x="141323" y="273880"/>
                    <a:pt x="145418" y="281761"/>
                  </a:cubicBezTo>
                  <a:cubicBezTo>
                    <a:pt x="147231" y="285209"/>
                    <a:pt x="148635" y="288001"/>
                    <a:pt x="149863" y="290354"/>
                  </a:cubicBezTo>
                  <a:cubicBezTo>
                    <a:pt x="150413" y="291410"/>
                    <a:pt x="150811" y="292532"/>
                    <a:pt x="151033" y="29369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A241FCF-9B41-74DD-4759-F71A8DB98EB3}"/>
                </a:ext>
              </a:extLst>
            </p:cNvPr>
            <p:cNvSpPr/>
            <p:nvPr/>
          </p:nvSpPr>
          <p:spPr>
            <a:xfrm>
              <a:off x="620624" y="6148362"/>
              <a:ext cx="328155" cy="124625"/>
            </a:xfrm>
            <a:custGeom>
              <a:avLst/>
              <a:gdLst>
                <a:gd name="connsiteX0" fmla="*/ 328155 w 328155"/>
                <a:gd name="connsiteY0" fmla="*/ 0 h 124625"/>
                <a:gd name="connsiteX1" fmla="*/ 324938 w 328155"/>
                <a:gd name="connsiteY1" fmla="*/ 1532 h 124625"/>
                <a:gd name="connsiteX2" fmla="*/ 315403 w 328155"/>
                <a:gd name="connsiteY2" fmla="*/ 5254 h 124625"/>
                <a:gd name="connsiteX3" fmla="*/ 280307 w 328155"/>
                <a:gd name="connsiteY3" fmla="*/ 18664 h 124625"/>
                <a:gd name="connsiteX4" fmla="*/ 164838 w 328155"/>
                <a:gd name="connsiteY4" fmla="*/ 63927 h 124625"/>
                <a:gd name="connsiteX5" fmla="*/ 48843 w 328155"/>
                <a:gd name="connsiteY5" fmla="*/ 108260 h 124625"/>
                <a:gd name="connsiteX6" fmla="*/ 13278 w 328155"/>
                <a:gd name="connsiteY6" fmla="*/ 120630 h 124625"/>
                <a:gd name="connsiteX7" fmla="*/ 3510 w 328155"/>
                <a:gd name="connsiteY7" fmla="*/ 123749 h 124625"/>
                <a:gd name="connsiteX8" fmla="*/ 0 w 328155"/>
                <a:gd name="connsiteY8" fmla="*/ 124625 h 124625"/>
                <a:gd name="connsiteX9" fmla="*/ 3217 w 328155"/>
                <a:gd name="connsiteY9" fmla="*/ 123093 h 124625"/>
                <a:gd name="connsiteX10" fmla="*/ 12752 w 328155"/>
                <a:gd name="connsiteY10" fmla="*/ 119371 h 124625"/>
                <a:gd name="connsiteX11" fmla="*/ 47849 w 328155"/>
                <a:gd name="connsiteY11" fmla="*/ 105962 h 124625"/>
                <a:gd name="connsiteX12" fmla="*/ 163376 w 328155"/>
                <a:gd name="connsiteY12" fmla="*/ 60753 h 124625"/>
                <a:gd name="connsiteX13" fmla="*/ 279312 w 328155"/>
                <a:gd name="connsiteY13" fmla="*/ 16420 h 124625"/>
                <a:gd name="connsiteX14" fmla="*/ 314936 w 328155"/>
                <a:gd name="connsiteY14" fmla="*/ 4050 h 124625"/>
                <a:gd name="connsiteX15" fmla="*/ 324704 w 328155"/>
                <a:gd name="connsiteY15" fmla="*/ 876 h 124625"/>
                <a:gd name="connsiteX16" fmla="*/ 328155 w 328155"/>
                <a:gd name="connsiteY16" fmla="*/ 0 h 12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8155" h="124625">
                  <a:moveTo>
                    <a:pt x="328155" y="0"/>
                  </a:moveTo>
                  <a:cubicBezTo>
                    <a:pt x="327173" y="662"/>
                    <a:pt x="326090" y="1182"/>
                    <a:pt x="324938" y="1532"/>
                  </a:cubicBezTo>
                  <a:lnTo>
                    <a:pt x="315403" y="5254"/>
                  </a:lnTo>
                  <a:cubicBezTo>
                    <a:pt x="306629" y="8648"/>
                    <a:pt x="294755" y="13190"/>
                    <a:pt x="280307" y="18664"/>
                  </a:cubicBezTo>
                  <a:cubicBezTo>
                    <a:pt x="250650" y="29993"/>
                    <a:pt x="210113" y="46030"/>
                    <a:pt x="164838" y="63927"/>
                  </a:cubicBezTo>
                  <a:cubicBezTo>
                    <a:pt x="119563" y="81825"/>
                    <a:pt x="78792" y="97478"/>
                    <a:pt x="48843" y="108260"/>
                  </a:cubicBezTo>
                  <a:cubicBezTo>
                    <a:pt x="33868" y="113733"/>
                    <a:pt x="21702" y="117838"/>
                    <a:pt x="13278" y="120630"/>
                  </a:cubicBezTo>
                  <a:lnTo>
                    <a:pt x="3510" y="123749"/>
                  </a:lnTo>
                  <a:cubicBezTo>
                    <a:pt x="2393" y="124204"/>
                    <a:pt x="1211" y="124499"/>
                    <a:pt x="0" y="124625"/>
                  </a:cubicBezTo>
                  <a:cubicBezTo>
                    <a:pt x="1012" y="124007"/>
                    <a:pt x="2088" y="123492"/>
                    <a:pt x="3217" y="123093"/>
                  </a:cubicBezTo>
                  <a:lnTo>
                    <a:pt x="12752" y="119371"/>
                  </a:lnTo>
                  <a:lnTo>
                    <a:pt x="47849" y="105962"/>
                  </a:lnTo>
                  <a:cubicBezTo>
                    <a:pt x="77505" y="94632"/>
                    <a:pt x="118042" y="78595"/>
                    <a:pt x="163376" y="60753"/>
                  </a:cubicBezTo>
                  <a:cubicBezTo>
                    <a:pt x="208709" y="42910"/>
                    <a:pt x="249421" y="27147"/>
                    <a:pt x="279312" y="16420"/>
                  </a:cubicBezTo>
                  <a:cubicBezTo>
                    <a:pt x="294287" y="10946"/>
                    <a:pt x="306454" y="6787"/>
                    <a:pt x="314936" y="4050"/>
                  </a:cubicBezTo>
                  <a:lnTo>
                    <a:pt x="324704" y="876"/>
                  </a:lnTo>
                  <a:cubicBezTo>
                    <a:pt x="325810" y="454"/>
                    <a:pt x="326974" y="159"/>
                    <a:pt x="328155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148856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Freeform: Shape 693">
            <a:extLst>
              <a:ext uri="{FF2B5EF4-FFF2-40B4-BE49-F238E27FC236}">
                <a16:creationId xmlns:a16="http://schemas.microsoft.com/office/drawing/2014/main" id="{194499D0-8A38-40B1-B2A9-557C55E7BB71}"/>
              </a:ext>
            </a:extLst>
          </p:cNvPr>
          <p:cNvSpPr/>
          <p:nvPr/>
        </p:nvSpPr>
        <p:spPr>
          <a:xfrm>
            <a:off x="0" y="4875885"/>
            <a:ext cx="12192000" cy="1939669"/>
          </a:xfrm>
          <a:custGeom>
            <a:avLst/>
            <a:gdLst>
              <a:gd name="connsiteX0" fmla="*/ 1333500 w 12192000"/>
              <a:gd name="connsiteY0" fmla="*/ 208 h 2927305"/>
              <a:gd name="connsiteX1" fmla="*/ 6096000 w 12192000"/>
              <a:gd name="connsiteY1" fmla="*/ 212331 h 2927305"/>
              <a:gd name="connsiteX2" fmla="*/ 12192000 w 12192000"/>
              <a:gd name="connsiteY2" fmla="*/ 212331 h 2927305"/>
              <a:gd name="connsiteX3" fmla="*/ 12192000 w 12192000"/>
              <a:gd name="connsiteY3" fmla="*/ 2692129 h 2927305"/>
              <a:gd name="connsiteX4" fmla="*/ 12190186 w 12192000"/>
              <a:gd name="connsiteY4" fmla="*/ 2692726 h 2927305"/>
              <a:gd name="connsiteX5" fmla="*/ 12190186 w 12192000"/>
              <a:gd name="connsiteY5" fmla="*/ 2927305 h 2927305"/>
              <a:gd name="connsiteX6" fmla="*/ 0 w 12192000"/>
              <a:gd name="connsiteY6" fmla="*/ 2927305 h 2927305"/>
              <a:gd name="connsiteX7" fmla="*/ 0 w 12192000"/>
              <a:gd name="connsiteY7" fmla="*/ 2692129 h 2927305"/>
              <a:gd name="connsiteX8" fmla="*/ 0 w 12192000"/>
              <a:gd name="connsiteY8" fmla="*/ 1200105 h 2927305"/>
              <a:gd name="connsiteX9" fmla="*/ 0 w 12192000"/>
              <a:gd name="connsiteY9" fmla="*/ 212331 h 2927305"/>
              <a:gd name="connsiteX10" fmla="*/ 1333500 w 12192000"/>
              <a:gd name="connsiteY10" fmla="*/ 208 h 29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2927305">
                <a:moveTo>
                  <a:pt x="1333500" y="208"/>
                </a:moveTo>
                <a:cubicBezTo>
                  <a:pt x="2921000" y="14799"/>
                  <a:pt x="4508500" y="786970"/>
                  <a:pt x="6096000" y="212331"/>
                </a:cubicBezTo>
                <a:cubicBezTo>
                  <a:pt x="8128000" y="-523207"/>
                  <a:pt x="10160000" y="947869"/>
                  <a:pt x="12192000" y="212331"/>
                </a:cubicBezTo>
                <a:lnTo>
                  <a:pt x="12192000" y="2692129"/>
                </a:lnTo>
                <a:lnTo>
                  <a:pt x="12190186" y="2692726"/>
                </a:lnTo>
                <a:lnTo>
                  <a:pt x="12190186" y="2927305"/>
                </a:lnTo>
                <a:lnTo>
                  <a:pt x="0" y="2927305"/>
                </a:lnTo>
                <a:lnTo>
                  <a:pt x="0" y="2692129"/>
                </a:lnTo>
                <a:lnTo>
                  <a:pt x="0" y="1200105"/>
                </a:lnTo>
                <a:lnTo>
                  <a:pt x="0" y="212331"/>
                </a:lnTo>
                <a:cubicBezTo>
                  <a:pt x="444500" y="51432"/>
                  <a:pt x="889000" y="-3877"/>
                  <a:pt x="1333500" y="208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3</a:t>
            </a:fld>
            <a:endParaRPr lang="en-ID"/>
          </a:p>
        </p:txBody>
      </p:sp>
      <p:grpSp>
        <p:nvGrpSpPr>
          <p:cNvPr id="763" name="Group 762">
            <a:extLst>
              <a:ext uri="{FF2B5EF4-FFF2-40B4-BE49-F238E27FC236}">
                <a16:creationId xmlns:a16="http://schemas.microsoft.com/office/drawing/2014/main" id="{D2C1969D-5691-439C-803D-902F97A1B700}"/>
              </a:ext>
            </a:extLst>
          </p:cNvPr>
          <p:cNvGrpSpPr/>
          <p:nvPr/>
        </p:nvGrpSpPr>
        <p:grpSpPr>
          <a:xfrm>
            <a:off x="11498960" y="3407519"/>
            <a:ext cx="591269" cy="765197"/>
            <a:chOff x="160213" y="4219273"/>
            <a:chExt cx="431924" cy="558979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76912A-EDE6-41DB-B100-90B2B37DBD3E}"/>
                </a:ext>
              </a:extLst>
            </p:cNvPr>
            <p:cNvSpPr/>
            <p:nvPr/>
          </p:nvSpPr>
          <p:spPr>
            <a:xfrm>
              <a:off x="180861" y="4219273"/>
              <a:ext cx="411276" cy="557775"/>
            </a:xfrm>
            <a:custGeom>
              <a:avLst/>
              <a:gdLst>
                <a:gd name="connsiteX0" fmla="*/ 0 w 411276"/>
                <a:gd name="connsiteY0" fmla="*/ 0 h 557775"/>
                <a:gd name="connsiteX1" fmla="*/ 411276 w 411276"/>
                <a:gd name="connsiteY1" fmla="*/ 0 h 557775"/>
                <a:gd name="connsiteX2" fmla="*/ 411276 w 411276"/>
                <a:gd name="connsiteY2" fmla="*/ 557775 h 557775"/>
                <a:gd name="connsiteX3" fmla="*/ 0 w 411276"/>
                <a:gd name="connsiteY3" fmla="*/ 557775 h 55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276" h="557775">
                  <a:moveTo>
                    <a:pt x="0" y="0"/>
                  </a:moveTo>
                  <a:lnTo>
                    <a:pt x="411276" y="0"/>
                  </a:lnTo>
                  <a:lnTo>
                    <a:pt x="411276" y="557775"/>
                  </a:lnTo>
                  <a:lnTo>
                    <a:pt x="0" y="557775"/>
                  </a:ln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DC7254C-3557-48E8-A85D-60BDC5479B01}"/>
                </a:ext>
              </a:extLst>
            </p:cNvPr>
            <p:cNvSpPr/>
            <p:nvPr/>
          </p:nvSpPr>
          <p:spPr>
            <a:xfrm>
              <a:off x="160271" y="4219273"/>
              <a:ext cx="411276" cy="557775"/>
            </a:xfrm>
            <a:custGeom>
              <a:avLst/>
              <a:gdLst>
                <a:gd name="connsiteX0" fmla="*/ 0 w 411276"/>
                <a:gd name="connsiteY0" fmla="*/ 0 h 557775"/>
                <a:gd name="connsiteX1" fmla="*/ 411276 w 411276"/>
                <a:gd name="connsiteY1" fmla="*/ 0 h 557775"/>
                <a:gd name="connsiteX2" fmla="*/ 411276 w 411276"/>
                <a:gd name="connsiteY2" fmla="*/ 557775 h 557775"/>
                <a:gd name="connsiteX3" fmla="*/ 0 w 411276"/>
                <a:gd name="connsiteY3" fmla="*/ 557775 h 55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276" h="557775">
                  <a:moveTo>
                    <a:pt x="0" y="0"/>
                  </a:moveTo>
                  <a:lnTo>
                    <a:pt x="411276" y="0"/>
                  </a:lnTo>
                  <a:lnTo>
                    <a:pt x="411276" y="557775"/>
                  </a:lnTo>
                  <a:lnTo>
                    <a:pt x="0" y="557775"/>
                  </a:lnTo>
                  <a:close/>
                </a:path>
              </a:pathLst>
            </a:custGeom>
            <a:solidFill>
              <a:srgbClr val="F5F5F5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D7802F1-53E3-4C98-B7F3-3F6592F18BD9}"/>
                </a:ext>
              </a:extLst>
            </p:cNvPr>
            <p:cNvSpPr/>
            <p:nvPr/>
          </p:nvSpPr>
          <p:spPr>
            <a:xfrm>
              <a:off x="211396" y="4279643"/>
              <a:ext cx="309085" cy="436981"/>
            </a:xfrm>
            <a:custGeom>
              <a:avLst/>
              <a:gdLst>
                <a:gd name="connsiteX0" fmla="*/ 0 w 309085"/>
                <a:gd name="connsiteY0" fmla="*/ 0 h 436981"/>
                <a:gd name="connsiteX1" fmla="*/ 309086 w 309085"/>
                <a:gd name="connsiteY1" fmla="*/ 0 h 436981"/>
                <a:gd name="connsiteX2" fmla="*/ 309086 w 309085"/>
                <a:gd name="connsiteY2" fmla="*/ 436981 h 436981"/>
                <a:gd name="connsiteX3" fmla="*/ 0 w 309085"/>
                <a:gd name="connsiteY3" fmla="*/ 436981 h 436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085" h="436981">
                  <a:moveTo>
                    <a:pt x="0" y="0"/>
                  </a:moveTo>
                  <a:lnTo>
                    <a:pt x="309086" y="0"/>
                  </a:lnTo>
                  <a:lnTo>
                    <a:pt x="309086" y="436981"/>
                  </a:lnTo>
                  <a:lnTo>
                    <a:pt x="0" y="436981"/>
                  </a:lnTo>
                  <a:close/>
                </a:path>
              </a:pathLst>
            </a:custGeom>
            <a:solidFill>
              <a:srgbClr val="FFFFFF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F618207-9567-4FE3-9513-9172A8F2C892}"/>
                </a:ext>
              </a:extLst>
            </p:cNvPr>
            <p:cNvSpPr/>
            <p:nvPr/>
          </p:nvSpPr>
          <p:spPr>
            <a:xfrm>
              <a:off x="210869" y="4277782"/>
              <a:ext cx="311191" cy="438842"/>
            </a:xfrm>
            <a:custGeom>
              <a:avLst/>
              <a:gdLst>
                <a:gd name="connsiteX0" fmla="*/ 309612 w 311191"/>
                <a:gd name="connsiteY0" fmla="*/ 438842 h 438842"/>
                <a:gd name="connsiteX1" fmla="*/ 309612 w 311191"/>
                <a:gd name="connsiteY1" fmla="*/ 436708 h 438842"/>
                <a:gd name="connsiteX2" fmla="*/ 309612 w 311191"/>
                <a:gd name="connsiteY2" fmla="*/ 430523 h 438842"/>
                <a:gd name="connsiteX3" fmla="*/ 309612 w 311191"/>
                <a:gd name="connsiteY3" fmla="*/ 406550 h 438842"/>
                <a:gd name="connsiteX4" fmla="*/ 309320 w 311191"/>
                <a:gd name="connsiteY4" fmla="*/ 316516 h 438842"/>
                <a:gd name="connsiteX5" fmla="*/ 308794 w 311191"/>
                <a:gd name="connsiteY5" fmla="*/ 1861 h 438842"/>
                <a:gd name="connsiteX6" fmla="*/ 309846 w 311191"/>
                <a:gd name="connsiteY6" fmla="*/ 2846 h 438842"/>
                <a:gd name="connsiteX7" fmla="*/ 526 w 311191"/>
                <a:gd name="connsiteY7" fmla="*/ 2846 h 438842"/>
                <a:gd name="connsiteX8" fmla="*/ 1638 w 311191"/>
                <a:gd name="connsiteY8" fmla="*/ 1806 h 438842"/>
                <a:gd name="connsiteX9" fmla="*/ 1638 w 311191"/>
                <a:gd name="connsiteY9" fmla="*/ 438788 h 438842"/>
                <a:gd name="connsiteX10" fmla="*/ 760 w 311191"/>
                <a:gd name="connsiteY10" fmla="*/ 437967 h 438842"/>
                <a:gd name="connsiteX11" fmla="*/ 225731 w 311191"/>
                <a:gd name="connsiteY11" fmla="*/ 438404 h 438842"/>
                <a:gd name="connsiteX12" fmla="*/ 287852 w 311191"/>
                <a:gd name="connsiteY12" fmla="*/ 438404 h 438842"/>
                <a:gd name="connsiteX13" fmla="*/ 304172 w 311191"/>
                <a:gd name="connsiteY13" fmla="*/ 438404 h 438842"/>
                <a:gd name="connsiteX14" fmla="*/ 310022 w 311191"/>
                <a:gd name="connsiteY14" fmla="*/ 438404 h 438842"/>
                <a:gd name="connsiteX15" fmla="*/ 304582 w 311191"/>
                <a:gd name="connsiteY15" fmla="*/ 438404 h 438842"/>
                <a:gd name="connsiteX16" fmla="*/ 288379 w 311191"/>
                <a:gd name="connsiteY16" fmla="*/ 438404 h 438842"/>
                <a:gd name="connsiteX17" fmla="*/ 226433 w 311191"/>
                <a:gd name="connsiteY17" fmla="*/ 438404 h 438842"/>
                <a:gd name="connsiteX18" fmla="*/ 936 w 311191"/>
                <a:gd name="connsiteY18" fmla="*/ 438842 h 438842"/>
                <a:gd name="connsiteX19" fmla="*/ 0 w 311191"/>
                <a:gd name="connsiteY19" fmla="*/ 438842 h 438842"/>
                <a:gd name="connsiteX20" fmla="*/ 0 w 311191"/>
                <a:gd name="connsiteY20" fmla="*/ 438021 h 438842"/>
                <a:gd name="connsiteX21" fmla="*/ 0 w 311191"/>
                <a:gd name="connsiteY21" fmla="*/ 1040 h 438842"/>
                <a:gd name="connsiteX22" fmla="*/ 0 w 311191"/>
                <a:gd name="connsiteY22" fmla="*/ 0 h 438842"/>
                <a:gd name="connsiteX23" fmla="*/ 1111 w 311191"/>
                <a:gd name="connsiteY23" fmla="*/ 0 h 438842"/>
                <a:gd name="connsiteX24" fmla="*/ 310197 w 311191"/>
                <a:gd name="connsiteY24" fmla="*/ 0 h 438842"/>
                <a:gd name="connsiteX25" fmla="*/ 311192 w 311191"/>
                <a:gd name="connsiteY25" fmla="*/ 0 h 438842"/>
                <a:gd name="connsiteX26" fmla="*/ 311192 w 311191"/>
                <a:gd name="connsiteY26" fmla="*/ 930 h 438842"/>
                <a:gd name="connsiteX27" fmla="*/ 310724 w 311191"/>
                <a:gd name="connsiteY27" fmla="*/ 316242 h 438842"/>
                <a:gd name="connsiteX28" fmla="*/ 310431 w 311191"/>
                <a:gd name="connsiteY28" fmla="*/ 406003 h 438842"/>
                <a:gd name="connsiteX29" fmla="*/ 310431 w 311191"/>
                <a:gd name="connsiteY29" fmla="*/ 429812 h 438842"/>
                <a:gd name="connsiteX30" fmla="*/ 310431 w 311191"/>
                <a:gd name="connsiteY30" fmla="*/ 435887 h 438842"/>
                <a:gd name="connsiteX31" fmla="*/ 309612 w 311191"/>
                <a:gd name="connsiteY31" fmla="*/ 438842 h 43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1191" h="438842">
                  <a:moveTo>
                    <a:pt x="309612" y="438842"/>
                  </a:moveTo>
                  <a:cubicBezTo>
                    <a:pt x="309612" y="438842"/>
                    <a:pt x="309612" y="438131"/>
                    <a:pt x="309612" y="436708"/>
                  </a:cubicBezTo>
                  <a:lnTo>
                    <a:pt x="309612" y="430523"/>
                  </a:lnTo>
                  <a:cubicBezTo>
                    <a:pt x="309612" y="425050"/>
                    <a:pt x="309612" y="417004"/>
                    <a:pt x="309612" y="406550"/>
                  </a:cubicBezTo>
                  <a:cubicBezTo>
                    <a:pt x="309612" y="385588"/>
                    <a:pt x="309612" y="355102"/>
                    <a:pt x="309320" y="316516"/>
                  </a:cubicBezTo>
                  <a:cubicBezTo>
                    <a:pt x="309320" y="239508"/>
                    <a:pt x="309320" y="130427"/>
                    <a:pt x="308794" y="1861"/>
                  </a:cubicBezTo>
                  <a:lnTo>
                    <a:pt x="309846" y="2846"/>
                  </a:lnTo>
                  <a:lnTo>
                    <a:pt x="526" y="2846"/>
                  </a:lnTo>
                  <a:lnTo>
                    <a:pt x="1638" y="1806"/>
                  </a:lnTo>
                  <a:cubicBezTo>
                    <a:pt x="1638" y="166659"/>
                    <a:pt x="1638" y="318651"/>
                    <a:pt x="1638" y="438788"/>
                  </a:cubicBezTo>
                  <a:lnTo>
                    <a:pt x="760" y="437967"/>
                  </a:lnTo>
                  <a:lnTo>
                    <a:pt x="225731" y="438404"/>
                  </a:lnTo>
                  <a:lnTo>
                    <a:pt x="287852" y="438404"/>
                  </a:lnTo>
                  <a:lnTo>
                    <a:pt x="304172" y="438404"/>
                  </a:lnTo>
                  <a:lnTo>
                    <a:pt x="310022" y="438404"/>
                  </a:lnTo>
                  <a:lnTo>
                    <a:pt x="304582" y="438404"/>
                  </a:lnTo>
                  <a:lnTo>
                    <a:pt x="288379" y="438404"/>
                  </a:lnTo>
                  <a:lnTo>
                    <a:pt x="226433" y="438404"/>
                  </a:lnTo>
                  <a:lnTo>
                    <a:pt x="936" y="438842"/>
                  </a:lnTo>
                  <a:lnTo>
                    <a:pt x="0" y="438842"/>
                  </a:lnTo>
                  <a:lnTo>
                    <a:pt x="0" y="438021"/>
                  </a:lnTo>
                  <a:cubicBezTo>
                    <a:pt x="0" y="317611"/>
                    <a:pt x="0" y="165893"/>
                    <a:pt x="0" y="1040"/>
                  </a:cubicBezTo>
                  <a:lnTo>
                    <a:pt x="0" y="0"/>
                  </a:lnTo>
                  <a:lnTo>
                    <a:pt x="1111" y="0"/>
                  </a:lnTo>
                  <a:lnTo>
                    <a:pt x="310197" y="0"/>
                  </a:lnTo>
                  <a:lnTo>
                    <a:pt x="311192" y="0"/>
                  </a:lnTo>
                  <a:lnTo>
                    <a:pt x="311192" y="930"/>
                  </a:lnTo>
                  <a:cubicBezTo>
                    <a:pt x="311192" y="129715"/>
                    <a:pt x="310841" y="239015"/>
                    <a:pt x="310724" y="316242"/>
                  </a:cubicBezTo>
                  <a:cubicBezTo>
                    <a:pt x="310724" y="354555"/>
                    <a:pt x="310724" y="385150"/>
                    <a:pt x="310431" y="406003"/>
                  </a:cubicBezTo>
                  <a:cubicBezTo>
                    <a:pt x="310431" y="416402"/>
                    <a:pt x="310431" y="424338"/>
                    <a:pt x="310431" y="429812"/>
                  </a:cubicBezTo>
                  <a:cubicBezTo>
                    <a:pt x="310431" y="432439"/>
                    <a:pt x="310431" y="434464"/>
                    <a:pt x="310431" y="435887"/>
                  </a:cubicBezTo>
                  <a:cubicBezTo>
                    <a:pt x="310431" y="437310"/>
                    <a:pt x="309612" y="438842"/>
                    <a:pt x="309612" y="438842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188F7F-8060-43D2-B71B-E43FCDDD8B93}"/>
                </a:ext>
              </a:extLst>
            </p:cNvPr>
            <p:cNvSpPr/>
            <p:nvPr/>
          </p:nvSpPr>
          <p:spPr>
            <a:xfrm>
              <a:off x="516738" y="4219273"/>
              <a:ext cx="55979" cy="63379"/>
            </a:xfrm>
            <a:custGeom>
              <a:avLst/>
              <a:gdLst>
                <a:gd name="connsiteX0" fmla="*/ 55979 w 55979"/>
                <a:gd name="connsiteY0" fmla="*/ 0 h 63379"/>
                <a:gd name="connsiteX1" fmla="*/ 48668 w 55979"/>
                <a:gd name="connsiteY1" fmla="*/ 9961 h 63379"/>
                <a:gd name="connsiteX2" fmla="*/ 29364 w 55979"/>
                <a:gd name="connsiteY2" fmla="*/ 32839 h 63379"/>
                <a:gd name="connsiteX3" fmla="*/ 9008 w 55979"/>
                <a:gd name="connsiteY3" fmla="*/ 54732 h 63379"/>
                <a:gd name="connsiteX4" fmla="*/ 0 w 55979"/>
                <a:gd name="connsiteY4" fmla="*/ 63380 h 63379"/>
                <a:gd name="connsiteX5" fmla="*/ 7838 w 55979"/>
                <a:gd name="connsiteY5" fmla="*/ 53747 h 63379"/>
                <a:gd name="connsiteX6" fmla="*/ 27609 w 55979"/>
                <a:gd name="connsiteY6" fmla="*/ 31307 h 63379"/>
                <a:gd name="connsiteX7" fmla="*/ 47673 w 55979"/>
                <a:gd name="connsiteY7" fmla="*/ 9031 h 63379"/>
                <a:gd name="connsiteX8" fmla="*/ 55979 w 55979"/>
                <a:gd name="connsiteY8" fmla="*/ 0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979" h="63379">
                  <a:moveTo>
                    <a:pt x="55979" y="0"/>
                  </a:moveTo>
                  <a:cubicBezTo>
                    <a:pt x="53838" y="3502"/>
                    <a:pt x="51393" y="6833"/>
                    <a:pt x="48668" y="9961"/>
                  </a:cubicBezTo>
                  <a:cubicBezTo>
                    <a:pt x="43871" y="15927"/>
                    <a:pt x="36969" y="24027"/>
                    <a:pt x="29364" y="32839"/>
                  </a:cubicBezTo>
                  <a:cubicBezTo>
                    <a:pt x="21760" y="41651"/>
                    <a:pt x="14390" y="49259"/>
                    <a:pt x="9008" y="54732"/>
                  </a:cubicBezTo>
                  <a:cubicBezTo>
                    <a:pt x="6265" y="57842"/>
                    <a:pt x="3252" y="60735"/>
                    <a:pt x="0" y="63380"/>
                  </a:cubicBezTo>
                  <a:cubicBezTo>
                    <a:pt x="2316" y="59968"/>
                    <a:pt x="4943" y="56746"/>
                    <a:pt x="7838" y="53747"/>
                  </a:cubicBezTo>
                  <a:lnTo>
                    <a:pt x="27609" y="31307"/>
                  </a:lnTo>
                  <a:lnTo>
                    <a:pt x="47673" y="9031"/>
                  </a:lnTo>
                  <a:cubicBezTo>
                    <a:pt x="50165" y="5809"/>
                    <a:pt x="52944" y="2788"/>
                    <a:pt x="55979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2A9B03A-B686-44B9-A2D6-0663DBCE7CD0}"/>
                </a:ext>
              </a:extLst>
            </p:cNvPr>
            <p:cNvSpPr/>
            <p:nvPr/>
          </p:nvSpPr>
          <p:spPr>
            <a:xfrm>
              <a:off x="522061" y="4715201"/>
              <a:ext cx="54049" cy="63051"/>
            </a:xfrm>
            <a:custGeom>
              <a:avLst/>
              <a:gdLst>
                <a:gd name="connsiteX0" fmla="*/ 0 w 54049"/>
                <a:gd name="connsiteY0" fmla="*/ 0 h 63051"/>
                <a:gd name="connsiteX1" fmla="*/ 54049 w 54049"/>
                <a:gd name="connsiteY1" fmla="*/ 63051 h 6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049" h="63051">
                  <a:moveTo>
                    <a:pt x="0" y="0"/>
                  </a:moveTo>
                  <a:cubicBezTo>
                    <a:pt x="15408" y="22862"/>
                    <a:pt x="33541" y="44016"/>
                    <a:pt x="54049" y="63051"/>
                  </a:cubicBezTo>
                </a:path>
              </a:pathLst>
            </a:custGeom>
            <a:solidFill>
              <a:srgbClr val="FFFFFF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E222FBD-A580-4BA2-A88A-CCF6BA53DBB1}"/>
                </a:ext>
              </a:extLst>
            </p:cNvPr>
            <p:cNvSpPr/>
            <p:nvPr/>
          </p:nvSpPr>
          <p:spPr>
            <a:xfrm>
              <a:off x="522236" y="4715146"/>
              <a:ext cx="53873" cy="63106"/>
            </a:xfrm>
            <a:custGeom>
              <a:avLst/>
              <a:gdLst>
                <a:gd name="connsiteX0" fmla="*/ 53874 w 53873"/>
                <a:gd name="connsiteY0" fmla="*/ 63106 h 63106"/>
                <a:gd name="connsiteX1" fmla="*/ 44514 w 53873"/>
                <a:gd name="connsiteY1" fmla="*/ 55115 h 63106"/>
                <a:gd name="connsiteX2" fmla="*/ 24158 w 53873"/>
                <a:gd name="connsiteY2" fmla="*/ 33660 h 63106"/>
                <a:gd name="connsiteX3" fmla="*/ 6259 w 53873"/>
                <a:gd name="connsiteY3" fmla="*/ 10344 h 63106"/>
                <a:gd name="connsiteX4" fmla="*/ 0 w 53873"/>
                <a:gd name="connsiteY4" fmla="*/ 0 h 63106"/>
                <a:gd name="connsiteX5" fmla="*/ 7546 w 53873"/>
                <a:gd name="connsiteY5" fmla="*/ 9523 h 63106"/>
                <a:gd name="connsiteX6" fmla="*/ 25913 w 53873"/>
                <a:gd name="connsiteY6" fmla="*/ 32347 h 63106"/>
                <a:gd name="connsiteX7" fmla="*/ 45626 w 53873"/>
                <a:gd name="connsiteY7" fmla="*/ 54240 h 63106"/>
                <a:gd name="connsiteX8" fmla="*/ 53874 w 53873"/>
                <a:gd name="connsiteY8" fmla="*/ 63106 h 6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73" h="63106">
                  <a:moveTo>
                    <a:pt x="53874" y="63106"/>
                  </a:moveTo>
                  <a:cubicBezTo>
                    <a:pt x="50463" y="60753"/>
                    <a:pt x="47328" y="58076"/>
                    <a:pt x="44514" y="55115"/>
                  </a:cubicBezTo>
                  <a:cubicBezTo>
                    <a:pt x="37325" y="48307"/>
                    <a:pt x="30528" y="41148"/>
                    <a:pt x="24158" y="33660"/>
                  </a:cubicBezTo>
                  <a:cubicBezTo>
                    <a:pt x="17765" y="26184"/>
                    <a:pt x="11787" y="18401"/>
                    <a:pt x="6259" y="10344"/>
                  </a:cubicBezTo>
                  <a:cubicBezTo>
                    <a:pt x="3767" y="7126"/>
                    <a:pt x="1667" y="3656"/>
                    <a:pt x="0" y="0"/>
                  </a:cubicBezTo>
                  <a:cubicBezTo>
                    <a:pt x="2755" y="3005"/>
                    <a:pt x="5276" y="6185"/>
                    <a:pt x="7546" y="9523"/>
                  </a:cubicBezTo>
                  <a:cubicBezTo>
                    <a:pt x="12108" y="15489"/>
                    <a:pt x="18484" y="23644"/>
                    <a:pt x="25913" y="32347"/>
                  </a:cubicBezTo>
                  <a:cubicBezTo>
                    <a:pt x="33342" y="41049"/>
                    <a:pt x="40420" y="48766"/>
                    <a:pt x="45626" y="54240"/>
                  </a:cubicBezTo>
                  <a:cubicBezTo>
                    <a:pt x="48597" y="57003"/>
                    <a:pt x="51358" y="59970"/>
                    <a:pt x="53874" y="63106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32436F6-1C1A-4397-9BAB-95989B0A3A7B}"/>
                </a:ext>
              </a:extLst>
            </p:cNvPr>
            <p:cNvSpPr/>
            <p:nvPr/>
          </p:nvSpPr>
          <p:spPr>
            <a:xfrm>
              <a:off x="160213" y="4714435"/>
              <a:ext cx="53873" cy="62175"/>
            </a:xfrm>
            <a:custGeom>
              <a:avLst/>
              <a:gdLst>
                <a:gd name="connsiteX0" fmla="*/ 0 w 53873"/>
                <a:gd name="connsiteY0" fmla="*/ 62176 h 62175"/>
                <a:gd name="connsiteX1" fmla="*/ 53874 w 53873"/>
                <a:gd name="connsiteY1" fmla="*/ 0 h 6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873" h="62175">
                  <a:moveTo>
                    <a:pt x="0" y="62176"/>
                  </a:moveTo>
                  <a:lnTo>
                    <a:pt x="53874" y="0"/>
                  </a:lnTo>
                </a:path>
              </a:pathLst>
            </a:custGeom>
            <a:solidFill>
              <a:srgbClr val="FFFFFF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BF20FFD-4BC1-414B-8E32-549A2B5EF8C3}"/>
                </a:ext>
              </a:extLst>
            </p:cNvPr>
            <p:cNvSpPr/>
            <p:nvPr/>
          </p:nvSpPr>
          <p:spPr>
            <a:xfrm>
              <a:off x="160213" y="4714435"/>
              <a:ext cx="53873" cy="62175"/>
            </a:xfrm>
            <a:custGeom>
              <a:avLst/>
              <a:gdLst>
                <a:gd name="connsiteX0" fmla="*/ 53874 w 53873"/>
                <a:gd name="connsiteY0" fmla="*/ 0 h 62175"/>
                <a:gd name="connsiteX1" fmla="*/ 27785 w 53873"/>
                <a:gd name="connsiteY1" fmla="*/ 31745 h 62175"/>
                <a:gd name="connsiteX2" fmla="*/ 0 w 53873"/>
                <a:gd name="connsiteY2" fmla="*/ 62176 h 62175"/>
                <a:gd name="connsiteX3" fmla="*/ 26089 w 53873"/>
                <a:gd name="connsiteY3" fmla="*/ 30431 h 62175"/>
                <a:gd name="connsiteX4" fmla="*/ 53874 w 53873"/>
                <a:gd name="connsiteY4" fmla="*/ 0 h 6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73" h="62175">
                  <a:moveTo>
                    <a:pt x="53874" y="0"/>
                  </a:moveTo>
                  <a:cubicBezTo>
                    <a:pt x="45766" y="10990"/>
                    <a:pt x="37056" y="21586"/>
                    <a:pt x="27785" y="31745"/>
                  </a:cubicBezTo>
                  <a:cubicBezTo>
                    <a:pt x="19087" y="42330"/>
                    <a:pt x="9815" y="52483"/>
                    <a:pt x="0" y="62176"/>
                  </a:cubicBezTo>
                  <a:cubicBezTo>
                    <a:pt x="8078" y="51158"/>
                    <a:pt x="16788" y="40562"/>
                    <a:pt x="26089" y="30431"/>
                  </a:cubicBezTo>
                  <a:cubicBezTo>
                    <a:pt x="34769" y="19835"/>
                    <a:pt x="44041" y="9677"/>
                    <a:pt x="53874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AC567F9-7BD5-4EB3-BAF3-FF011C857DE2}"/>
                </a:ext>
              </a:extLst>
            </p:cNvPr>
            <p:cNvSpPr/>
            <p:nvPr/>
          </p:nvSpPr>
          <p:spPr>
            <a:xfrm>
              <a:off x="160271" y="4219273"/>
              <a:ext cx="50539" cy="59767"/>
            </a:xfrm>
            <a:custGeom>
              <a:avLst/>
              <a:gdLst>
                <a:gd name="connsiteX0" fmla="*/ 0 w 50539"/>
                <a:gd name="connsiteY0" fmla="*/ 0 h 59767"/>
                <a:gd name="connsiteX1" fmla="*/ 26147 w 50539"/>
                <a:gd name="connsiteY1" fmla="*/ 29227 h 59767"/>
                <a:gd name="connsiteX2" fmla="*/ 50539 w 50539"/>
                <a:gd name="connsiteY2" fmla="*/ 59768 h 59767"/>
                <a:gd name="connsiteX3" fmla="*/ 24392 w 50539"/>
                <a:gd name="connsiteY3" fmla="*/ 30541 h 59767"/>
                <a:gd name="connsiteX4" fmla="*/ 0 w 50539"/>
                <a:gd name="connsiteY4" fmla="*/ 0 h 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39" h="59767">
                  <a:moveTo>
                    <a:pt x="0" y="0"/>
                  </a:moveTo>
                  <a:cubicBezTo>
                    <a:pt x="9301" y="9268"/>
                    <a:pt x="18034" y="19027"/>
                    <a:pt x="26147" y="29227"/>
                  </a:cubicBezTo>
                  <a:cubicBezTo>
                    <a:pt x="34857" y="38991"/>
                    <a:pt x="42999" y="49186"/>
                    <a:pt x="50539" y="59768"/>
                  </a:cubicBezTo>
                  <a:cubicBezTo>
                    <a:pt x="41274" y="50468"/>
                    <a:pt x="32546" y="40712"/>
                    <a:pt x="24392" y="30541"/>
                  </a:cubicBezTo>
                  <a:cubicBezTo>
                    <a:pt x="15706" y="20760"/>
                    <a:pt x="7563" y="10566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6E3251-986F-452A-9F1C-70B4B8B11D9E}"/>
                </a:ext>
              </a:extLst>
            </p:cNvPr>
            <p:cNvSpPr/>
            <p:nvPr/>
          </p:nvSpPr>
          <p:spPr>
            <a:xfrm>
              <a:off x="320664" y="4368364"/>
              <a:ext cx="103477" cy="274974"/>
            </a:xfrm>
            <a:custGeom>
              <a:avLst/>
              <a:gdLst>
                <a:gd name="connsiteX0" fmla="*/ 0 w 103477"/>
                <a:gd name="connsiteY0" fmla="*/ 0 h 274974"/>
                <a:gd name="connsiteX1" fmla="*/ 103477 w 103477"/>
                <a:gd name="connsiteY1" fmla="*/ 0 h 274974"/>
                <a:gd name="connsiteX2" fmla="*/ 103477 w 103477"/>
                <a:gd name="connsiteY2" fmla="*/ 274974 h 274974"/>
                <a:gd name="connsiteX3" fmla="*/ 0 w 103477"/>
                <a:gd name="connsiteY3" fmla="*/ 274974 h 27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477" h="274974">
                  <a:moveTo>
                    <a:pt x="0" y="0"/>
                  </a:moveTo>
                  <a:lnTo>
                    <a:pt x="103477" y="0"/>
                  </a:lnTo>
                  <a:lnTo>
                    <a:pt x="103477" y="274974"/>
                  </a:lnTo>
                  <a:lnTo>
                    <a:pt x="0" y="274974"/>
                  </a:ln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761" name="Group 760">
            <a:extLst>
              <a:ext uri="{FF2B5EF4-FFF2-40B4-BE49-F238E27FC236}">
                <a16:creationId xmlns:a16="http://schemas.microsoft.com/office/drawing/2014/main" id="{1B92C1A8-D43B-42BB-AFA9-F8245E9B7966}"/>
              </a:ext>
            </a:extLst>
          </p:cNvPr>
          <p:cNvGrpSpPr/>
          <p:nvPr/>
        </p:nvGrpSpPr>
        <p:grpSpPr>
          <a:xfrm>
            <a:off x="11391891" y="5390211"/>
            <a:ext cx="716915" cy="945126"/>
            <a:chOff x="446698" y="5667636"/>
            <a:chExt cx="523709" cy="690418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943084-8613-4753-A14A-610BE4C418C6}"/>
                </a:ext>
              </a:extLst>
            </p:cNvPr>
            <p:cNvSpPr/>
            <p:nvPr/>
          </p:nvSpPr>
          <p:spPr>
            <a:xfrm>
              <a:off x="446698" y="5667636"/>
              <a:ext cx="523709" cy="690418"/>
            </a:xfrm>
            <a:custGeom>
              <a:avLst/>
              <a:gdLst>
                <a:gd name="connsiteX0" fmla="*/ 146025 w 523709"/>
                <a:gd name="connsiteY0" fmla="*/ 681429 h 690418"/>
                <a:gd name="connsiteX1" fmla="*/ 1543 w 523709"/>
                <a:gd name="connsiteY1" fmla="*/ 388995 h 690418"/>
                <a:gd name="connsiteX2" fmla="*/ 5170 w 523709"/>
                <a:gd name="connsiteY2" fmla="*/ 334263 h 690418"/>
                <a:gd name="connsiteX3" fmla="*/ 52726 w 523709"/>
                <a:gd name="connsiteY3" fmla="*/ 311330 h 690418"/>
                <a:gd name="connsiteX4" fmla="*/ 84839 w 523709"/>
                <a:gd name="connsiteY4" fmla="*/ 344990 h 690418"/>
                <a:gd name="connsiteX5" fmla="*/ 134501 w 523709"/>
                <a:gd name="connsiteY5" fmla="*/ 383303 h 690418"/>
                <a:gd name="connsiteX6" fmla="*/ 175448 w 523709"/>
                <a:gd name="connsiteY6" fmla="*/ 383960 h 690418"/>
                <a:gd name="connsiteX7" fmla="*/ 190539 w 523709"/>
                <a:gd name="connsiteY7" fmla="*/ 333332 h 690418"/>
                <a:gd name="connsiteX8" fmla="*/ 181706 w 523709"/>
                <a:gd name="connsiteY8" fmla="*/ 230436 h 690418"/>
                <a:gd name="connsiteX9" fmla="*/ 183344 w 523709"/>
                <a:gd name="connsiteY9" fmla="*/ 175321 h 690418"/>
                <a:gd name="connsiteX10" fmla="*/ 218441 w 523709"/>
                <a:gd name="connsiteY10" fmla="*/ 134053 h 690418"/>
                <a:gd name="connsiteX11" fmla="*/ 266114 w 523709"/>
                <a:gd name="connsiteY11" fmla="*/ 154139 h 690418"/>
                <a:gd name="connsiteX12" fmla="*/ 268454 w 523709"/>
                <a:gd name="connsiteY12" fmla="*/ 177017 h 690418"/>
                <a:gd name="connsiteX13" fmla="*/ 282025 w 523709"/>
                <a:gd name="connsiteY13" fmla="*/ 194422 h 690418"/>
                <a:gd name="connsiteX14" fmla="*/ 302966 w 523709"/>
                <a:gd name="connsiteY14" fmla="*/ 184461 h 690418"/>
                <a:gd name="connsiteX15" fmla="*/ 344731 w 523709"/>
                <a:gd name="connsiteY15" fmla="*/ 114842 h 690418"/>
                <a:gd name="connsiteX16" fmla="*/ 383104 w 523709"/>
                <a:gd name="connsiteY16" fmla="*/ 43362 h 690418"/>
                <a:gd name="connsiteX17" fmla="*/ 452244 w 523709"/>
                <a:gd name="connsiteY17" fmla="*/ 506 h 690418"/>
                <a:gd name="connsiteX18" fmla="*/ 520800 w 523709"/>
                <a:gd name="connsiteY18" fmla="*/ 36684 h 690418"/>
                <a:gd name="connsiteX19" fmla="*/ 499918 w 523709"/>
                <a:gd name="connsiteY19" fmla="*/ 111831 h 690418"/>
                <a:gd name="connsiteX20" fmla="*/ 415042 w 523709"/>
                <a:gd name="connsiteY20" fmla="*/ 199786 h 690418"/>
                <a:gd name="connsiteX21" fmla="*/ 401003 w 523709"/>
                <a:gd name="connsiteY21" fmla="*/ 216206 h 690418"/>
                <a:gd name="connsiteX22" fmla="*/ 424401 w 523709"/>
                <a:gd name="connsiteY22" fmla="*/ 243243 h 690418"/>
                <a:gd name="connsiteX23" fmla="*/ 470729 w 523709"/>
                <a:gd name="connsiteY23" fmla="*/ 244885 h 690418"/>
                <a:gd name="connsiteX24" fmla="*/ 510154 w 523709"/>
                <a:gd name="connsiteY24" fmla="*/ 263877 h 690418"/>
                <a:gd name="connsiteX25" fmla="*/ 488921 w 523709"/>
                <a:gd name="connsiteY25" fmla="*/ 317077 h 690418"/>
                <a:gd name="connsiteX26" fmla="*/ 382285 w 523709"/>
                <a:gd name="connsiteY26" fmla="*/ 384945 h 690418"/>
                <a:gd name="connsiteX27" fmla="*/ 342391 w 523709"/>
                <a:gd name="connsiteY27" fmla="*/ 406838 h 690418"/>
                <a:gd name="connsiteX28" fmla="*/ 333793 w 523709"/>
                <a:gd name="connsiteY28" fmla="*/ 446683 h 690418"/>
                <a:gd name="connsiteX29" fmla="*/ 375265 w 523709"/>
                <a:gd name="connsiteY29" fmla="*/ 458395 h 690418"/>
                <a:gd name="connsiteX30" fmla="*/ 417265 w 523709"/>
                <a:gd name="connsiteY30" fmla="*/ 439951 h 690418"/>
                <a:gd name="connsiteX31" fmla="*/ 497636 w 523709"/>
                <a:gd name="connsiteY31" fmla="*/ 448544 h 690418"/>
                <a:gd name="connsiteX32" fmla="*/ 508341 w 523709"/>
                <a:gd name="connsiteY32" fmla="*/ 499609 h 690418"/>
                <a:gd name="connsiteX33" fmla="*/ 482077 w 523709"/>
                <a:gd name="connsiteY33" fmla="*/ 547226 h 690418"/>
                <a:gd name="connsiteX34" fmla="*/ 328938 w 523709"/>
                <a:gd name="connsiteY34" fmla="*/ 664626 h 690418"/>
                <a:gd name="connsiteX35" fmla="*/ 146083 w 523709"/>
                <a:gd name="connsiteY35" fmla="*/ 681812 h 69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3709" h="690418">
                  <a:moveTo>
                    <a:pt x="146025" y="681429"/>
                  </a:moveTo>
                  <a:cubicBezTo>
                    <a:pt x="39038" y="621935"/>
                    <a:pt x="6281" y="500156"/>
                    <a:pt x="1543" y="388995"/>
                  </a:cubicBezTo>
                  <a:cubicBezTo>
                    <a:pt x="724" y="370441"/>
                    <a:pt x="-2961" y="351066"/>
                    <a:pt x="5170" y="334263"/>
                  </a:cubicBezTo>
                  <a:cubicBezTo>
                    <a:pt x="13300" y="317460"/>
                    <a:pt x="34417" y="304762"/>
                    <a:pt x="52726" y="311330"/>
                  </a:cubicBezTo>
                  <a:cubicBezTo>
                    <a:pt x="67934" y="316803"/>
                    <a:pt x="75597" y="332347"/>
                    <a:pt x="84839" y="344990"/>
                  </a:cubicBezTo>
                  <a:cubicBezTo>
                    <a:pt x="97205" y="361881"/>
                    <a:pt x="114420" y="375164"/>
                    <a:pt x="134501" y="383303"/>
                  </a:cubicBezTo>
                  <a:cubicBezTo>
                    <a:pt x="147604" y="388776"/>
                    <a:pt x="163456" y="391239"/>
                    <a:pt x="175448" y="383960"/>
                  </a:cubicBezTo>
                  <a:cubicBezTo>
                    <a:pt x="191826" y="373944"/>
                    <a:pt x="192119" y="351777"/>
                    <a:pt x="190539" y="333332"/>
                  </a:cubicBezTo>
                  <a:cubicBezTo>
                    <a:pt x="187614" y="299070"/>
                    <a:pt x="184672" y="264769"/>
                    <a:pt x="181706" y="230436"/>
                  </a:cubicBezTo>
                  <a:cubicBezTo>
                    <a:pt x="180186" y="212046"/>
                    <a:pt x="178606" y="193218"/>
                    <a:pt x="183344" y="175321"/>
                  </a:cubicBezTo>
                  <a:cubicBezTo>
                    <a:pt x="188082" y="157423"/>
                    <a:pt x="200366" y="140292"/>
                    <a:pt x="218441" y="134053"/>
                  </a:cubicBezTo>
                  <a:cubicBezTo>
                    <a:pt x="236516" y="127813"/>
                    <a:pt x="260733" y="136351"/>
                    <a:pt x="266114" y="154139"/>
                  </a:cubicBezTo>
                  <a:cubicBezTo>
                    <a:pt x="267454" y="161703"/>
                    <a:pt x="268238" y="169349"/>
                    <a:pt x="268454" y="177017"/>
                  </a:cubicBezTo>
                  <a:cubicBezTo>
                    <a:pt x="269624" y="184625"/>
                    <a:pt x="274303" y="192835"/>
                    <a:pt x="282025" y="194422"/>
                  </a:cubicBezTo>
                  <a:cubicBezTo>
                    <a:pt x="289746" y="196009"/>
                    <a:pt x="297526" y="190263"/>
                    <a:pt x="302966" y="184461"/>
                  </a:cubicBezTo>
                  <a:cubicBezTo>
                    <a:pt x="321801" y="164484"/>
                    <a:pt x="333676" y="139581"/>
                    <a:pt x="344731" y="114842"/>
                  </a:cubicBezTo>
                  <a:cubicBezTo>
                    <a:pt x="355787" y="90103"/>
                    <a:pt x="366257" y="64926"/>
                    <a:pt x="383104" y="43362"/>
                  </a:cubicBezTo>
                  <a:cubicBezTo>
                    <a:pt x="399950" y="21797"/>
                    <a:pt x="424050" y="3954"/>
                    <a:pt x="452244" y="506"/>
                  </a:cubicBezTo>
                  <a:cubicBezTo>
                    <a:pt x="480439" y="-2942"/>
                    <a:pt x="511616" y="11453"/>
                    <a:pt x="520800" y="36684"/>
                  </a:cubicBezTo>
                  <a:cubicBezTo>
                    <a:pt x="529984" y="61916"/>
                    <a:pt x="515887" y="89610"/>
                    <a:pt x="499918" y="111831"/>
                  </a:cubicBezTo>
                  <a:cubicBezTo>
                    <a:pt x="476297" y="144819"/>
                    <a:pt x="447711" y="174445"/>
                    <a:pt x="415042" y="199786"/>
                  </a:cubicBezTo>
                  <a:cubicBezTo>
                    <a:pt x="408619" y="203727"/>
                    <a:pt x="403700" y="209474"/>
                    <a:pt x="401003" y="216206"/>
                  </a:cubicBezTo>
                  <a:cubicBezTo>
                    <a:pt x="397669" y="228739"/>
                    <a:pt x="411064" y="240069"/>
                    <a:pt x="424401" y="243243"/>
                  </a:cubicBezTo>
                  <a:cubicBezTo>
                    <a:pt x="439434" y="246801"/>
                    <a:pt x="455228" y="244283"/>
                    <a:pt x="470729" y="244885"/>
                  </a:cubicBezTo>
                  <a:cubicBezTo>
                    <a:pt x="486230" y="245487"/>
                    <a:pt x="503310" y="250687"/>
                    <a:pt x="510154" y="263877"/>
                  </a:cubicBezTo>
                  <a:cubicBezTo>
                    <a:pt x="519747" y="282158"/>
                    <a:pt x="504305" y="303011"/>
                    <a:pt x="488921" y="317077"/>
                  </a:cubicBezTo>
                  <a:cubicBezTo>
                    <a:pt x="457801" y="345259"/>
                    <a:pt x="421734" y="368219"/>
                    <a:pt x="382285" y="384945"/>
                  </a:cubicBezTo>
                  <a:cubicBezTo>
                    <a:pt x="368246" y="390911"/>
                    <a:pt x="353037" y="396274"/>
                    <a:pt x="342391" y="406838"/>
                  </a:cubicBezTo>
                  <a:cubicBezTo>
                    <a:pt x="331745" y="417401"/>
                    <a:pt x="325720" y="434204"/>
                    <a:pt x="333793" y="446683"/>
                  </a:cubicBezTo>
                  <a:cubicBezTo>
                    <a:pt x="341865" y="459162"/>
                    <a:pt x="360349" y="462063"/>
                    <a:pt x="375265" y="458395"/>
                  </a:cubicBezTo>
                  <a:cubicBezTo>
                    <a:pt x="390181" y="454728"/>
                    <a:pt x="403226" y="446081"/>
                    <a:pt x="417265" y="439951"/>
                  </a:cubicBezTo>
                  <a:cubicBezTo>
                    <a:pt x="443529" y="428566"/>
                    <a:pt x="478626" y="427910"/>
                    <a:pt x="497636" y="448544"/>
                  </a:cubicBezTo>
                  <a:cubicBezTo>
                    <a:pt x="510154" y="462172"/>
                    <a:pt x="512728" y="482094"/>
                    <a:pt x="508341" y="499609"/>
                  </a:cubicBezTo>
                  <a:cubicBezTo>
                    <a:pt x="503088" y="516970"/>
                    <a:pt x="494156" y="533165"/>
                    <a:pt x="482077" y="547226"/>
                  </a:cubicBezTo>
                  <a:cubicBezTo>
                    <a:pt x="443049" y="598362"/>
                    <a:pt x="390199" y="638880"/>
                    <a:pt x="328938" y="664626"/>
                  </a:cubicBezTo>
                  <a:cubicBezTo>
                    <a:pt x="267811" y="689310"/>
                    <a:pt x="210076" y="698834"/>
                    <a:pt x="146083" y="681812"/>
                  </a:cubicBezTo>
                </a:path>
              </a:pathLst>
            </a:custGeom>
            <a:solidFill>
              <a:srgbClr val="F5F5F5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FBFDBC3-1DA7-47C8-8C09-AB5D76709D09}"/>
                </a:ext>
              </a:extLst>
            </p:cNvPr>
            <p:cNvSpPr/>
            <p:nvPr/>
          </p:nvSpPr>
          <p:spPr>
            <a:xfrm>
              <a:off x="610281" y="5681771"/>
              <a:ext cx="327325" cy="673752"/>
            </a:xfrm>
            <a:custGeom>
              <a:avLst/>
              <a:gdLst>
                <a:gd name="connsiteX0" fmla="*/ 1744 w 327325"/>
                <a:gd name="connsiteY0" fmla="*/ 672768 h 673752"/>
                <a:gd name="connsiteX1" fmla="*/ 7594 w 327325"/>
                <a:gd name="connsiteY1" fmla="*/ 596143 h 673752"/>
                <a:gd name="connsiteX2" fmla="*/ 63573 w 327325"/>
                <a:gd name="connsiteY2" fmla="*/ 413666 h 673752"/>
                <a:gd name="connsiteX3" fmla="*/ 81122 w 327325"/>
                <a:gd name="connsiteY3" fmla="*/ 366541 h 673752"/>
                <a:gd name="connsiteX4" fmla="*/ 99021 w 327325"/>
                <a:gd name="connsiteY4" fmla="*/ 321059 h 673752"/>
                <a:gd name="connsiteX5" fmla="*/ 141722 w 327325"/>
                <a:gd name="connsiteY5" fmla="*/ 238961 h 673752"/>
                <a:gd name="connsiteX6" fmla="*/ 186178 w 327325"/>
                <a:gd name="connsiteY6" fmla="*/ 167809 h 673752"/>
                <a:gd name="connsiteX7" fmla="*/ 227943 w 327325"/>
                <a:gd name="connsiteY7" fmla="*/ 107330 h 673752"/>
                <a:gd name="connsiteX8" fmla="*/ 298137 w 327325"/>
                <a:gd name="connsiteY8" fmla="*/ 26709 h 673752"/>
                <a:gd name="connsiteX9" fmla="*/ 319429 w 327325"/>
                <a:gd name="connsiteY9" fmla="*/ 6677 h 673752"/>
                <a:gd name="connsiteX10" fmla="*/ 325278 w 327325"/>
                <a:gd name="connsiteY10" fmla="*/ 1642 h 673752"/>
                <a:gd name="connsiteX11" fmla="*/ 327326 w 327325"/>
                <a:gd name="connsiteY11" fmla="*/ 0 h 673752"/>
                <a:gd name="connsiteX12" fmla="*/ 325512 w 327325"/>
                <a:gd name="connsiteY12" fmla="*/ 1916 h 673752"/>
                <a:gd name="connsiteX13" fmla="*/ 320072 w 327325"/>
                <a:gd name="connsiteY13" fmla="*/ 7389 h 673752"/>
                <a:gd name="connsiteX14" fmla="*/ 299248 w 327325"/>
                <a:gd name="connsiteY14" fmla="*/ 27859 h 673752"/>
                <a:gd name="connsiteX15" fmla="*/ 230108 w 327325"/>
                <a:gd name="connsiteY15" fmla="*/ 108972 h 673752"/>
                <a:gd name="connsiteX16" fmla="*/ 188810 w 327325"/>
                <a:gd name="connsiteY16" fmla="*/ 169505 h 673752"/>
                <a:gd name="connsiteX17" fmla="*/ 144705 w 327325"/>
                <a:gd name="connsiteY17" fmla="*/ 240986 h 673752"/>
                <a:gd name="connsiteX18" fmla="*/ 102355 w 327325"/>
                <a:gd name="connsiteY18" fmla="*/ 323084 h 673752"/>
                <a:gd name="connsiteX19" fmla="*/ 84807 w 327325"/>
                <a:gd name="connsiteY19" fmla="*/ 368347 h 673752"/>
                <a:gd name="connsiteX20" fmla="*/ 67551 w 327325"/>
                <a:gd name="connsiteY20" fmla="*/ 415472 h 673752"/>
                <a:gd name="connsiteX21" fmla="*/ 11396 w 327325"/>
                <a:gd name="connsiteY21" fmla="*/ 597511 h 673752"/>
                <a:gd name="connsiteX22" fmla="*/ 4903 w 327325"/>
                <a:gd name="connsiteY22" fmla="*/ 673753 h 67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325" h="673752">
                  <a:moveTo>
                    <a:pt x="1744" y="672768"/>
                  </a:moveTo>
                  <a:cubicBezTo>
                    <a:pt x="2622" y="628544"/>
                    <a:pt x="-5626" y="653064"/>
                    <a:pt x="7594" y="596143"/>
                  </a:cubicBezTo>
                  <a:cubicBezTo>
                    <a:pt x="22510" y="534366"/>
                    <a:pt x="41199" y="473439"/>
                    <a:pt x="63573" y="413666"/>
                  </a:cubicBezTo>
                  <a:cubicBezTo>
                    <a:pt x="69423" y="397739"/>
                    <a:pt x="75272" y="382030"/>
                    <a:pt x="81122" y="366541"/>
                  </a:cubicBezTo>
                  <a:cubicBezTo>
                    <a:pt x="86971" y="351052"/>
                    <a:pt x="92470" y="335727"/>
                    <a:pt x="99021" y="321059"/>
                  </a:cubicBezTo>
                  <a:cubicBezTo>
                    <a:pt x="111627" y="292976"/>
                    <a:pt x="125882" y="265571"/>
                    <a:pt x="141722" y="238961"/>
                  </a:cubicBezTo>
                  <a:cubicBezTo>
                    <a:pt x="156638" y="213401"/>
                    <a:pt x="171847" y="189702"/>
                    <a:pt x="186178" y="167809"/>
                  </a:cubicBezTo>
                  <a:cubicBezTo>
                    <a:pt x="200509" y="145916"/>
                    <a:pt x="214431" y="125391"/>
                    <a:pt x="227943" y="107330"/>
                  </a:cubicBezTo>
                  <a:cubicBezTo>
                    <a:pt x="249001" y="78743"/>
                    <a:pt x="272475" y="51782"/>
                    <a:pt x="298137" y="26709"/>
                  </a:cubicBezTo>
                  <a:cubicBezTo>
                    <a:pt x="307203" y="17843"/>
                    <a:pt x="314457" y="11165"/>
                    <a:pt x="319429" y="6677"/>
                  </a:cubicBezTo>
                  <a:lnTo>
                    <a:pt x="325278" y="1642"/>
                  </a:lnTo>
                  <a:cubicBezTo>
                    <a:pt x="325922" y="1056"/>
                    <a:pt x="326606" y="504"/>
                    <a:pt x="327326" y="0"/>
                  </a:cubicBezTo>
                  <a:cubicBezTo>
                    <a:pt x="326776" y="679"/>
                    <a:pt x="326167" y="1319"/>
                    <a:pt x="325512" y="1916"/>
                  </a:cubicBezTo>
                  <a:lnTo>
                    <a:pt x="320072" y="7389"/>
                  </a:lnTo>
                  <a:cubicBezTo>
                    <a:pt x="315276" y="12041"/>
                    <a:pt x="308373" y="18828"/>
                    <a:pt x="299248" y="27859"/>
                  </a:cubicBezTo>
                  <a:cubicBezTo>
                    <a:pt x="274060" y="53238"/>
                    <a:pt x="250949" y="80352"/>
                    <a:pt x="230108" y="108972"/>
                  </a:cubicBezTo>
                  <a:cubicBezTo>
                    <a:pt x="216771" y="127033"/>
                    <a:pt x="203083" y="147284"/>
                    <a:pt x="188810" y="169505"/>
                  </a:cubicBezTo>
                  <a:cubicBezTo>
                    <a:pt x="174538" y="191727"/>
                    <a:pt x="159563" y="215426"/>
                    <a:pt x="144705" y="240986"/>
                  </a:cubicBezTo>
                  <a:cubicBezTo>
                    <a:pt x="128999" y="267607"/>
                    <a:pt x="114861" y="295017"/>
                    <a:pt x="102355" y="323084"/>
                  </a:cubicBezTo>
                  <a:cubicBezTo>
                    <a:pt x="95862" y="337697"/>
                    <a:pt x="90305" y="352858"/>
                    <a:pt x="84807" y="368347"/>
                  </a:cubicBezTo>
                  <a:cubicBezTo>
                    <a:pt x="79308" y="383837"/>
                    <a:pt x="73108" y="399599"/>
                    <a:pt x="67551" y="415472"/>
                  </a:cubicBezTo>
                  <a:cubicBezTo>
                    <a:pt x="45212" y="475124"/>
                    <a:pt x="26464" y="535899"/>
                    <a:pt x="11396" y="597511"/>
                  </a:cubicBezTo>
                  <a:cubicBezTo>
                    <a:pt x="-1882" y="654432"/>
                    <a:pt x="6073" y="629693"/>
                    <a:pt x="4903" y="673753"/>
                  </a:cubicBezTo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489F002-13A4-431A-B6EF-C6D4E7BCE05E}"/>
                </a:ext>
              </a:extLst>
            </p:cNvPr>
            <p:cNvSpPr/>
            <p:nvPr/>
          </p:nvSpPr>
          <p:spPr>
            <a:xfrm>
              <a:off x="665314" y="5801579"/>
              <a:ext cx="44690" cy="200702"/>
            </a:xfrm>
            <a:custGeom>
              <a:avLst/>
              <a:gdLst>
                <a:gd name="connsiteX0" fmla="*/ 44690 w 44690"/>
                <a:gd name="connsiteY0" fmla="*/ 200703 h 200702"/>
                <a:gd name="connsiteX1" fmla="*/ 42175 w 44690"/>
                <a:gd name="connsiteY1" fmla="*/ 192986 h 200702"/>
                <a:gd name="connsiteX2" fmla="*/ 36793 w 44690"/>
                <a:gd name="connsiteY2" fmla="*/ 171585 h 200702"/>
                <a:gd name="connsiteX3" fmla="*/ 22345 w 44690"/>
                <a:gd name="connsiteY3" fmla="*/ 100434 h 200702"/>
                <a:gd name="connsiteX4" fmla="*/ 7195 w 44690"/>
                <a:gd name="connsiteY4" fmla="*/ 29282 h 200702"/>
                <a:gd name="connsiteX5" fmla="*/ 1755 w 44690"/>
                <a:gd name="connsiteY5" fmla="*/ 7936 h 200702"/>
                <a:gd name="connsiteX6" fmla="*/ 0 w 44690"/>
                <a:gd name="connsiteY6" fmla="*/ 0 h 200702"/>
                <a:gd name="connsiteX7" fmla="*/ 3100 w 44690"/>
                <a:gd name="connsiteY7" fmla="*/ 7553 h 200702"/>
                <a:gd name="connsiteX8" fmla="*/ 9710 w 44690"/>
                <a:gd name="connsiteY8" fmla="*/ 28680 h 200702"/>
                <a:gd name="connsiteX9" fmla="*/ 25913 w 44690"/>
                <a:gd name="connsiteY9" fmla="*/ 99831 h 200702"/>
                <a:gd name="connsiteX10" fmla="*/ 39308 w 44690"/>
                <a:gd name="connsiteY10" fmla="*/ 170983 h 200702"/>
                <a:gd name="connsiteX11" fmla="*/ 43579 w 44690"/>
                <a:gd name="connsiteY11" fmla="*/ 192602 h 200702"/>
                <a:gd name="connsiteX12" fmla="*/ 44690 w 44690"/>
                <a:gd name="connsiteY12" fmla="*/ 200703 h 20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690" h="200702">
                  <a:moveTo>
                    <a:pt x="44690" y="200703"/>
                  </a:moveTo>
                  <a:cubicBezTo>
                    <a:pt x="43561" y="198218"/>
                    <a:pt x="42719" y="195635"/>
                    <a:pt x="42175" y="192986"/>
                  </a:cubicBezTo>
                  <a:cubicBezTo>
                    <a:pt x="40712" y="188005"/>
                    <a:pt x="38899" y="180671"/>
                    <a:pt x="36793" y="171585"/>
                  </a:cubicBezTo>
                  <a:cubicBezTo>
                    <a:pt x="32582" y="153469"/>
                    <a:pt x="27668" y="128237"/>
                    <a:pt x="22345" y="100434"/>
                  </a:cubicBezTo>
                  <a:cubicBezTo>
                    <a:pt x="17022" y="72629"/>
                    <a:pt x="11699" y="47453"/>
                    <a:pt x="7195" y="29282"/>
                  </a:cubicBezTo>
                  <a:cubicBezTo>
                    <a:pt x="4972" y="20251"/>
                    <a:pt x="3100" y="12862"/>
                    <a:pt x="1755" y="7936"/>
                  </a:cubicBezTo>
                  <a:cubicBezTo>
                    <a:pt x="866" y="5358"/>
                    <a:pt x="281" y="2698"/>
                    <a:pt x="0" y="0"/>
                  </a:cubicBezTo>
                  <a:cubicBezTo>
                    <a:pt x="1328" y="2403"/>
                    <a:pt x="2363" y="4937"/>
                    <a:pt x="3100" y="7553"/>
                  </a:cubicBezTo>
                  <a:cubicBezTo>
                    <a:pt x="4855" y="12479"/>
                    <a:pt x="7136" y="19704"/>
                    <a:pt x="9710" y="28680"/>
                  </a:cubicBezTo>
                  <a:cubicBezTo>
                    <a:pt x="14858" y="46632"/>
                    <a:pt x="20590" y="71754"/>
                    <a:pt x="25913" y="99831"/>
                  </a:cubicBezTo>
                  <a:cubicBezTo>
                    <a:pt x="31236" y="127909"/>
                    <a:pt x="35740" y="152155"/>
                    <a:pt x="39308" y="170983"/>
                  </a:cubicBezTo>
                  <a:cubicBezTo>
                    <a:pt x="41005" y="179576"/>
                    <a:pt x="42409" y="186801"/>
                    <a:pt x="43579" y="192602"/>
                  </a:cubicBezTo>
                  <a:cubicBezTo>
                    <a:pt x="44292" y="195252"/>
                    <a:pt x="44666" y="197972"/>
                    <a:pt x="44690" y="20070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94346FA-E5EE-4519-A52A-493B4CE1DCF4}"/>
                </a:ext>
              </a:extLst>
            </p:cNvPr>
            <p:cNvSpPr/>
            <p:nvPr/>
          </p:nvSpPr>
          <p:spPr>
            <a:xfrm>
              <a:off x="710004" y="5940537"/>
              <a:ext cx="249538" cy="61744"/>
            </a:xfrm>
            <a:custGeom>
              <a:avLst/>
              <a:gdLst>
                <a:gd name="connsiteX0" fmla="*/ 249538 w 249538"/>
                <a:gd name="connsiteY0" fmla="*/ 62 h 61744"/>
                <a:gd name="connsiteX1" fmla="*/ 239536 w 249538"/>
                <a:gd name="connsiteY1" fmla="*/ 1868 h 61744"/>
                <a:gd name="connsiteX2" fmla="*/ 212277 w 249538"/>
                <a:gd name="connsiteY2" fmla="*/ 6301 h 61744"/>
                <a:gd name="connsiteX3" fmla="*/ 123248 w 249538"/>
                <a:gd name="connsiteY3" fmla="*/ 25293 h 61744"/>
                <a:gd name="connsiteX4" fmla="*/ 35857 w 249538"/>
                <a:gd name="connsiteY4" fmla="*/ 50196 h 61744"/>
                <a:gd name="connsiteX5" fmla="*/ 9710 w 249538"/>
                <a:gd name="connsiteY5" fmla="*/ 58844 h 61744"/>
                <a:gd name="connsiteX6" fmla="*/ 0 w 249538"/>
                <a:gd name="connsiteY6" fmla="*/ 61745 h 61744"/>
                <a:gd name="connsiteX7" fmla="*/ 9184 w 249538"/>
                <a:gd name="connsiteY7" fmla="*/ 57585 h 61744"/>
                <a:gd name="connsiteX8" fmla="*/ 34980 w 249538"/>
                <a:gd name="connsiteY8" fmla="*/ 47897 h 61744"/>
                <a:gd name="connsiteX9" fmla="*/ 122312 w 249538"/>
                <a:gd name="connsiteY9" fmla="*/ 22009 h 61744"/>
                <a:gd name="connsiteX10" fmla="*/ 211868 w 249538"/>
                <a:gd name="connsiteY10" fmla="*/ 3893 h 61744"/>
                <a:gd name="connsiteX11" fmla="*/ 239360 w 249538"/>
                <a:gd name="connsiteY11" fmla="*/ 554 h 61744"/>
                <a:gd name="connsiteX12" fmla="*/ 249538 w 249538"/>
                <a:gd name="connsiteY12" fmla="*/ 62 h 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538" h="61744">
                  <a:moveTo>
                    <a:pt x="249538" y="62"/>
                  </a:moveTo>
                  <a:cubicBezTo>
                    <a:pt x="246274" y="959"/>
                    <a:pt x="242923" y="1561"/>
                    <a:pt x="239536" y="1868"/>
                  </a:cubicBezTo>
                  <a:cubicBezTo>
                    <a:pt x="233101" y="2853"/>
                    <a:pt x="223742" y="4276"/>
                    <a:pt x="212277" y="6301"/>
                  </a:cubicBezTo>
                  <a:cubicBezTo>
                    <a:pt x="189289" y="10242"/>
                    <a:pt x="157760" y="16755"/>
                    <a:pt x="123248" y="25293"/>
                  </a:cubicBezTo>
                  <a:cubicBezTo>
                    <a:pt x="88736" y="33831"/>
                    <a:pt x="57968" y="43026"/>
                    <a:pt x="35857" y="50196"/>
                  </a:cubicBezTo>
                  <a:cubicBezTo>
                    <a:pt x="24743" y="53699"/>
                    <a:pt x="15852" y="56764"/>
                    <a:pt x="9710" y="58844"/>
                  </a:cubicBezTo>
                  <a:cubicBezTo>
                    <a:pt x="6581" y="60103"/>
                    <a:pt x="3328" y="61072"/>
                    <a:pt x="0" y="61745"/>
                  </a:cubicBezTo>
                  <a:cubicBezTo>
                    <a:pt x="2925" y="60108"/>
                    <a:pt x="5996" y="58713"/>
                    <a:pt x="9184" y="57585"/>
                  </a:cubicBezTo>
                  <a:cubicBezTo>
                    <a:pt x="15033" y="55122"/>
                    <a:pt x="23983" y="51674"/>
                    <a:pt x="34980" y="47897"/>
                  </a:cubicBezTo>
                  <a:cubicBezTo>
                    <a:pt x="56915" y="40126"/>
                    <a:pt x="87625" y="30657"/>
                    <a:pt x="122312" y="22009"/>
                  </a:cubicBezTo>
                  <a:cubicBezTo>
                    <a:pt x="151811" y="14533"/>
                    <a:pt x="181702" y="8485"/>
                    <a:pt x="211868" y="3893"/>
                  </a:cubicBezTo>
                  <a:cubicBezTo>
                    <a:pt x="223567" y="2141"/>
                    <a:pt x="232867" y="1101"/>
                    <a:pt x="239360" y="554"/>
                  </a:cubicBezTo>
                  <a:cubicBezTo>
                    <a:pt x="242724" y="62"/>
                    <a:pt x="246134" y="-103"/>
                    <a:pt x="249538" y="62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C1CED7A-B2B0-4B67-A879-BA9255A76D41}"/>
                </a:ext>
              </a:extLst>
            </p:cNvPr>
            <p:cNvSpPr/>
            <p:nvPr/>
          </p:nvSpPr>
          <p:spPr>
            <a:xfrm>
              <a:off x="469533" y="5979295"/>
              <a:ext cx="151033" cy="293692"/>
            </a:xfrm>
            <a:custGeom>
              <a:avLst/>
              <a:gdLst>
                <a:gd name="connsiteX0" fmla="*/ 151033 w 151033"/>
                <a:gd name="connsiteY0" fmla="*/ 293693 h 293692"/>
                <a:gd name="connsiteX1" fmla="*/ 149103 w 151033"/>
                <a:gd name="connsiteY1" fmla="*/ 290956 h 293692"/>
                <a:gd name="connsiteX2" fmla="*/ 144072 w 151033"/>
                <a:gd name="connsiteY2" fmla="*/ 282691 h 293692"/>
                <a:gd name="connsiteX3" fmla="*/ 126524 w 151033"/>
                <a:gd name="connsiteY3" fmla="*/ 251768 h 293692"/>
                <a:gd name="connsiteX4" fmla="*/ 73879 w 151033"/>
                <a:gd name="connsiteY4" fmla="*/ 147777 h 293692"/>
                <a:gd name="connsiteX5" fmla="*/ 21994 w 151033"/>
                <a:gd name="connsiteY5" fmla="*/ 43293 h 293692"/>
                <a:gd name="connsiteX6" fmla="*/ 5615 w 151033"/>
                <a:gd name="connsiteY6" fmla="*/ 11932 h 293692"/>
                <a:gd name="connsiteX7" fmla="*/ 1287 w 151033"/>
                <a:gd name="connsiteY7" fmla="*/ 3065 h 293692"/>
                <a:gd name="connsiteX8" fmla="*/ 0 w 151033"/>
                <a:gd name="connsiteY8" fmla="*/ 0 h 293692"/>
                <a:gd name="connsiteX9" fmla="*/ 1930 w 151033"/>
                <a:gd name="connsiteY9" fmla="*/ 2737 h 293692"/>
                <a:gd name="connsiteX10" fmla="*/ 6961 w 151033"/>
                <a:gd name="connsiteY10" fmla="*/ 11001 h 293692"/>
                <a:gd name="connsiteX11" fmla="*/ 24509 w 151033"/>
                <a:gd name="connsiteY11" fmla="*/ 41925 h 293692"/>
                <a:gd name="connsiteX12" fmla="*/ 77155 w 151033"/>
                <a:gd name="connsiteY12" fmla="*/ 145916 h 293692"/>
                <a:gd name="connsiteX13" fmla="*/ 129039 w 151033"/>
                <a:gd name="connsiteY13" fmla="*/ 250400 h 293692"/>
                <a:gd name="connsiteX14" fmla="*/ 145418 w 151033"/>
                <a:gd name="connsiteY14" fmla="*/ 281761 h 293692"/>
                <a:gd name="connsiteX15" fmla="*/ 149863 w 151033"/>
                <a:gd name="connsiteY15" fmla="*/ 290354 h 293692"/>
                <a:gd name="connsiteX16" fmla="*/ 151033 w 151033"/>
                <a:gd name="connsiteY16" fmla="*/ 293693 h 29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1033" h="293692">
                  <a:moveTo>
                    <a:pt x="151033" y="293693"/>
                  </a:moveTo>
                  <a:cubicBezTo>
                    <a:pt x="150255" y="292872"/>
                    <a:pt x="149606" y="291947"/>
                    <a:pt x="149103" y="290956"/>
                  </a:cubicBezTo>
                  <a:cubicBezTo>
                    <a:pt x="147699" y="288712"/>
                    <a:pt x="146061" y="285975"/>
                    <a:pt x="144072" y="282691"/>
                  </a:cubicBezTo>
                  <a:cubicBezTo>
                    <a:pt x="139744" y="275467"/>
                    <a:pt x="133836" y="264904"/>
                    <a:pt x="126524" y="251768"/>
                  </a:cubicBezTo>
                  <a:cubicBezTo>
                    <a:pt x="112193" y="225496"/>
                    <a:pt x="93591" y="188607"/>
                    <a:pt x="73879" y="147777"/>
                  </a:cubicBezTo>
                  <a:cubicBezTo>
                    <a:pt x="54166" y="106947"/>
                    <a:pt x="35740" y="69783"/>
                    <a:pt x="21994" y="43293"/>
                  </a:cubicBezTo>
                  <a:cubicBezTo>
                    <a:pt x="15267" y="30376"/>
                    <a:pt x="9769" y="19758"/>
                    <a:pt x="5615" y="11932"/>
                  </a:cubicBezTo>
                  <a:lnTo>
                    <a:pt x="1287" y="3065"/>
                  </a:lnTo>
                  <a:cubicBezTo>
                    <a:pt x="684" y="2113"/>
                    <a:pt x="252" y="1078"/>
                    <a:pt x="0" y="0"/>
                  </a:cubicBezTo>
                  <a:cubicBezTo>
                    <a:pt x="755" y="843"/>
                    <a:pt x="1398" y="1757"/>
                    <a:pt x="1930" y="2737"/>
                  </a:cubicBezTo>
                  <a:cubicBezTo>
                    <a:pt x="3276" y="4981"/>
                    <a:pt x="4914" y="7717"/>
                    <a:pt x="6961" y="11001"/>
                  </a:cubicBezTo>
                  <a:cubicBezTo>
                    <a:pt x="11231" y="18226"/>
                    <a:pt x="17197" y="28789"/>
                    <a:pt x="24509" y="41925"/>
                  </a:cubicBezTo>
                  <a:cubicBezTo>
                    <a:pt x="38899" y="68196"/>
                    <a:pt x="57500" y="105086"/>
                    <a:pt x="77155" y="145916"/>
                  </a:cubicBezTo>
                  <a:cubicBezTo>
                    <a:pt x="96809" y="186746"/>
                    <a:pt x="115352" y="223909"/>
                    <a:pt x="129039" y="250400"/>
                  </a:cubicBezTo>
                  <a:cubicBezTo>
                    <a:pt x="135825" y="263316"/>
                    <a:pt x="141323" y="273880"/>
                    <a:pt x="145418" y="281761"/>
                  </a:cubicBezTo>
                  <a:cubicBezTo>
                    <a:pt x="147231" y="285209"/>
                    <a:pt x="148635" y="288001"/>
                    <a:pt x="149863" y="290354"/>
                  </a:cubicBezTo>
                  <a:cubicBezTo>
                    <a:pt x="150413" y="291410"/>
                    <a:pt x="150811" y="292532"/>
                    <a:pt x="151033" y="29369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7BEB42-ADDD-4E67-B34E-229C8FA1052C}"/>
                </a:ext>
              </a:extLst>
            </p:cNvPr>
            <p:cNvSpPr/>
            <p:nvPr/>
          </p:nvSpPr>
          <p:spPr>
            <a:xfrm>
              <a:off x="620624" y="6148362"/>
              <a:ext cx="328155" cy="124625"/>
            </a:xfrm>
            <a:custGeom>
              <a:avLst/>
              <a:gdLst>
                <a:gd name="connsiteX0" fmla="*/ 328155 w 328155"/>
                <a:gd name="connsiteY0" fmla="*/ 0 h 124625"/>
                <a:gd name="connsiteX1" fmla="*/ 324938 w 328155"/>
                <a:gd name="connsiteY1" fmla="*/ 1532 h 124625"/>
                <a:gd name="connsiteX2" fmla="*/ 315403 w 328155"/>
                <a:gd name="connsiteY2" fmla="*/ 5254 h 124625"/>
                <a:gd name="connsiteX3" fmla="*/ 280307 w 328155"/>
                <a:gd name="connsiteY3" fmla="*/ 18664 h 124625"/>
                <a:gd name="connsiteX4" fmla="*/ 164838 w 328155"/>
                <a:gd name="connsiteY4" fmla="*/ 63927 h 124625"/>
                <a:gd name="connsiteX5" fmla="*/ 48843 w 328155"/>
                <a:gd name="connsiteY5" fmla="*/ 108260 h 124625"/>
                <a:gd name="connsiteX6" fmla="*/ 13278 w 328155"/>
                <a:gd name="connsiteY6" fmla="*/ 120630 h 124625"/>
                <a:gd name="connsiteX7" fmla="*/ 3510 w 328155"/>
                <a:gd name="connsiteY7" fmla="*/ 123749 h 124625"/>
                <a:gd name="connsiteX8" fmla="*/ 0 w 328155"/>
                <a:gd name="connsiteY8" fmla="*/ 124625 h 124625"/>
                <a:gd name="connsiteX9" fmla="*/ 3217 w 328155"/>
                <a:gd name="connsiteY9" fmla="*/ 123093 h 124625"/>
                <a:gd name="connsiteX10" fmla="*/ 12752 w 328155"/>
                <a:gd name="connsiteY10" fmla="*/ 119371 h 124625"/>
                <a:gd name="connsiteX11" fmla="*/ 47849 w 328155"/>
                <a:gd name="connsiteY11" fmla="*/ 105962 h 124625"/>
                <a:gd name="connsiteX12" fmla="*/ 163376 w 328155"/>
                <a:gd name="connsiteY12" fmla="*/ 60753 h 124625"/>
                <a:gd name="connsiteX13" fmla="*/ 279312 w 328155"/>
                <a:gd name="connsiteY13" fmla="*/ 16420 h 124625"/>
                <a:gd name="connsiteX14" fmla="*/ 314936 w 328155"/>
                <a:gd name="connsiteY14" fmla="*/ 4050 h 124625"/>
                <a:gd name="connsiteX15" fmla="*/ 324704 w 328155"/>
                <a:gd name="connsiteY15" fmla="*/ 876 h 124625"/>
                <a:gd name="connsiteX16" fmla="*/ 328155 w 328155"/>
                <a:gd name="connsiteY16" fmla="*/ 0 h 12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8155" h="124625">
                  <a:moveTo>
                    <a:pt x="328155" y="0"/>
                  </a:moveTo>
                  <a:cubicBezTo>
                    <a:pt x="327173" y="662"/>
                    <a:pt x="326090" y="1182"/>
                    <a:pt x="324938" y="1532"/>
                  </a:cubicBezTo>
                  <a:lnTo>
                    <a:pt x="315403" y="5254"/>
                  </a:lnTo>
                  <a:cubicBezTo>
                    <a:pt x="306629" y="8648"/>
                    <a:pt x="294755" y="13190"/>
                    <a:pt x="280307" y="18664"/>
                  </a:cubicBezTo>
                  <a:cubicBezTo>
                    <a:pt x="250650" y="29993"/>
                    <a:pt x="210113" y="46030"/>
                    <a:pt x="164838" y="63927"/>
                  </a:cubicBezTo>
                  <a:cubicBezTo>
                    <a:pt x="119563" y="81825"/>
                    <a:pt x="78792" y="97478"/>
                    <a:pt x="48843" y="108260"/>
                  </a:cubicBezTo>
                  <a:cubicBezTo>
                    <a:pt x="33868" y="113733"/>
                    <a:pt x="21702" y="117838"/>
                    <a:pt x="13278" y="120630"/>
                  </a:cubicBezTo>
                  <a:lnTo>
                    <a:pt x="3510" y="123749"/>
                  </a:lnTo>
                  <a:cubicBezTo>
                    <a:pt x="2393" y="124204"/>
                    <a:pt x="1211" y="124499"/>
                    <a:pt x="0" y="124625"/>
                  </a:cubicBezTo>
                  <a:cubicBezTo>
                    <a:pt x="1012" y="124007"/>
                    <a:pt x="2088" y="123492"/>
                    <a:pt x="3217" y="123093"/>
                  </a:cubicBezTo>
                  <a:lnTo>
                    <a:pt x="12752" y="119371"/>
                  </a:lnTo>
                  <a:lnTo>
                    <a:pt x="47849" y="105962"/>
                  </a:lnTo>
                  <a:cubicBezTo>
                    <a:pt x="77505" y="94632"/>
                    <a:pt x="118042" y="78595"/>
                    <a:pt x="163376" y="60753"/>
                  </a:cubicBezTo>
                  <a:cubicBezTo>
                    <a:pt x="208709" y="42910"/>
                    <a:pt x="249421" y="27147"/>
                    <a:pt x="279312" y="16420"/>
                  </a:cubicBezTo>
                  <a:cubicBezTo>
                    <a:pt x="294287" y="10946"/>
                    <a:pt x="306454" y="6787"/>
                    <a:pt x="314936" y="4050"/>
                  </a:cubicBezTo>
                  <a:lnTo>
                    <a:pt x="324704" y="876"/>
                  </a:lnTo>
                  <a:cubicBezTo>
                    <a:pt x="325810" y="454"/>
                    <a:pt x="326974" y="159"/>
                    <a:pt x="328155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BC2D0-8324-498A-A02E-45A310624B6C}"/>
              </a:ext>
            </a:extLst>
          </p:cNvPr>
          <p:cNvGrpSpPr/>
          <p:nvPr/>
        </p:nvGrpSpPr>
        <p:grpSpPr>
          <a:xfrm>
            <a:off x="647273" y="1449046"/>
            <a:ext cx="10046212" cy="4882827"/>
            <a:chOff x="550904" y="1423601"/>
            <a:chExt cx="9130315" cy="4660376"/>
          </a:xfrm>
        </p:grpSpPr>
        <p:sp>
          <p:nvSpPr>
            <p:cNvPr id="362" name="Rectangle: Rounded Corners 361">
              <a:extLst>
                <a:ext uri="{FF2B5EF4-FFF2-40B4-BE49-F238E27FC236}">
                  <a16:creationId xmlns:a16="http://schemas.microsoft.com/office/drawing/2014/main" id="{AE10C6F4-8829-403F-9737-580E32C493AB}"/>
                </a:ext>
              </a:extLst>
            </p:cNvPr>
            <p:cNvSpPr/>
            <p:nvPr/>
          </p:nvSpPr>
          <p:spPr>
            <a:xfrm>
              <a:off x="550904" y="2001949"/>
              <a:ext cx="1840618" cy="2471786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 dirty="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363" name="Rectangle: Top Corners Rounded 362">
              <a:extLst>
                <a:ext uri="{FF2B5EF4-FFF2-40B4-BE49-F238E27FC236}">
                  <a16:creationId xmlns:a16="http://schemas.microsoft.com/office/drawing/2014/main" id="{E157AF6B-F7D9-465D-88A9-EAB44EB8C0CC}"/>
                </a:ext>
              </a:extLst>
            </p:cNvPr>
            <p:cNvSpPr/>
            <p:nvPr/>
          </p:nvSpPr>
          <p:spPr>
            <a:xfrm>
              <a:off x="550905" y="1737846"/>
              <a:ext cx="1856734" cy="528205"/>
            </a:xfrm>
            <a:prstGeom prst="round2SameRect">
              <a:avLst/>
            </a:prstGeom>
            <a:solidFill>
              <a:schemeClr val="tx2">
                <a:lumMod val="75000"/>
              </a:schemeClr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DUCT OWNER</a:t>
              </a:r>
            </a:p>
          </p:txBody>
        </p:sp>
        <p:sp>
          <p:nvSpPr>
            <p:cNvPr id="652" name="Oval 651">
              <a:extLst>
                <a:ext uri="{FF2B5EF4-FFF2-40B4-BE49-F238E27FC236}">
                  <a16:creationId xmlns:a16="http://schemas.microsoft.com/office/drawing/2014/main" id="{B18C8283-F8B3-446E-9930-10305588518E}"/>
                </a:ext>
              </a:extLst>
            </p:cNvPr>
            <p:cNvSpPr/>
            <p:nvPr/>
          </p:nvSpPr>
          <p:spPr>
            <a:xfrm>
              <a:off x="2182193" y="1685806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 dirty="0"/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AC5C41A7-2131-4924-8239-C2AEE0629284}"/>
                </a:ext>
              </a:extLst>
            </p:cNvPr>
            <p:cNvSpPr/>
            <p:nvPr/>
          </p:nvSpPr>
          <p:spPr>
            <a:xfrm>
              <a:off x="6250124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57" name="TextBox 656">
              <a:extLst>
                <a:ext uri="{FF2B5EF4-FFF2-40B4-BE49-F238E27FC236}">
                  <a16:creationId xmlns:a16="http://schemas.microsoft.com/office/drawing/2014/main" id="{8BC053D2-9481-43CB-94FD-E7131170AD99}"/>
                </a:ext>
              </a:extLst>
            </p:cNvPr>
            <p:cNvSpPr txBox="1"/>
            <p:nvPr/>
          </p:nvSpPr>
          <p:spPr>
            <a:xfrm>
              <a:off x="3623226" y="4118764"/>
              <a:ext cx="2976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80CB091F-80A6-42C6-A2EC-ADAFA85BBB2E}"/>
                </a:ext>
              </a:extLst>
            </p:cNvPr>
            <p:cNvSpPr/>
            <p:nvPr/>
          </p:nvSpPr>
          <p:spPr>
            <a:xfrm>
              <a:off x="6859113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6652265B-8C63-419D-8DBE-9CB1261408DF}"/>
                </a:ext>
              </a:extLst>
            </p:cNvPr>
            <p:cNvSpPr/>
            <p:nvPr/>
          </p:nvSpPr>
          <p:spPr>
            <a:xfrm>
              <a:off x="9331337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67" name="TextBox 666">
              <a:extLst>
                <a:ext uri="{FF2B5EF4-FFF2-40B4-BE49-F238E27FC236}">
                  <a16:creationId xmlns:a16="http://schemas.microsoft.com/office/drawing/2014/main" id="{BB4084F1-AD72-4F3C-ACB9-75777FA0336A}"/>
                </a:ext>
              </a:extLst>
            </p:cNvPr>
            <p:cNvSpPr txBox="1"/>
            <p:nvPr/>
          </p:nvSpPr>
          <p:spPr>
            <a:xfrm>
              <a:off x="6704439" y="4118675"/>
              <a:ext cx="2976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6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A68235C-8472-4F5F-8B96-9ED9462B0BF9}"/>
                </a:ext>
              </a:extLst>
            </p:cNvPr>
            <p:cNvGrpSpPr/>
            <p:nvPr/>
          </p:nvGrpSpPr>
          <p:grpSpPr>
            <a:xfrm>
              <a:off x="613753" y="1423601"/>
              <a:ext cx="225425" cy="479344"/>
              <a:chOff x="979652" y="1568741"/>
              <a:chExt cx="225425" cy="479344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E7F2C9BE-14D6-4576-B9C1-600C0EC1185F}"/>
                  </a:ext>
                </a:extLst>
              </p:cNvPr>
              <p:cNvSpPr/>
              <p:nvPr/>
            </p:nvSpPr>
            <p:spPr>
              <a:xfrm>
                <a:off x="979652" y="1822660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6" name="Rectangle: Rounded Corners 365">
                <a:extLst>
                  <a:ext uri="{FF2B5EF4-FFF2-40B4-BE49-F238E27FC236}">
                    <a16:creationId xmlns:a16="http://schemas.microsoft.com/office/drawing/2014/main" id="{A5683C38-B1AA-4FF0-B298-5FCB4C5302F6}"/>
                  </a:ext>
                </a:extLst>
              </p:cNvPr>
              <p:cNvSpPr/>
              <p:nvPr/>
            </p:nvSpPr>
            <p:spPr>
              <a:xfrm rot="5400000">
                <a:off x="877548" y="1710087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 dirty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664E367-5878-4AE3-9C5A-FBD6ACC731E0}"/>
                </a:ext>
              </a:extLst>
            </p:cNvPr>
            <p:cNvGrpSpPr/>
            <p:nvPr/>
          </p:nvGrpSpPr>
          <p:grpSpPr>
            <a:xfrm>
              <a:off x="2224268" y="1442804"/>
              <a:ext cx="1156012" cy="601256"/>
              <a:chOff x="3139117" y="1587944"/>
              <a:chExt cx="1156012" cy="601256"/>
            </a:xfrm>
          </p:grpSpPr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2F6CA100-2947-4057-AA0C-3AD64E86DA40}"/>
                  </a:ext>
                </a:extLst>
              </p:cNvPr>
              <p:cNvSpPr/>
              <p:nvPr/>
            </p:nvSpPr>
            <p:spPr>
              <a:xfrm>
                <a:off x="4069704" y="1963775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7" name="Rectangle: Rounded Corners 366">
                <a:extLst>
                  <a:ext uri="{FF2B5EF4-FFF2-40B4-BE49-F238E27FC236}">
                    <a16:creationId xmlns:a16="http://schemas.microsoft.com/office/drawing/2014/main" id="{C925C0C0-0E3A-41AD-A3A4-F2F205D7974F}"/>
                  </a:ext>
                </a:extLst>
              </p:cNvPr>
              <p:cNvSpPr/>
              <p:nvPr/>
            </p:nvSpPr>
            <p:spPr>
              <a:xfrm rot="5400000">
                <a:off x="2997771" y="1729290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 dirty="0"/>
              </a:p>
            </p:txBody>
          </p:sp>
        </p:grp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2CB22C2D-348F-4E03-9789-556155DCC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86848" y="2349110"/>
              <a:ext cx="1356140" cy="1401782"/>
            </a:xfrm>
            <a:custGeom>
              <a:avLst/>
              <a:gdLst>
                <a:gd name="connsiteX0" fmla="*/ 847532 w 1695064"/>
                <a:gd name="connsiteY0" fmla="*/ 0 h 1695064"/>
                <a:gd name="connsiteX1" fmla="*/ 1695064 w 1695064"/>
                <a:gd name="connsiteY1" fmla="*/ 847532 h 1695064"/>
                <a:gd name="connsiteX2" fmla="*/ 847532 w 1695064"/>
                <a:gd name="connsiteY2" fmla="*/ 1695064 h 1695064"/>
                <a:gd name="connsiteX3" fmla="*/ 0 w 1695064"/>
                <a:gd name="connsiteY3" fmla="*/ 847532 h 1695064"/>
                <a:gd name="connsiteX4" fmla="*/ 847532 w 1695064"/>
                <a:gd name="connsiteY4" fmla="*/ 0 h 169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064" h="1695064">
                  <a:moveTo>
                    <a:pt x="847532" y="0"/>
                  </a:moveTo>
                  <a:cubicBezTo>
                    <a:pt x="1315611" y="0"/>
                    <a:pt x="1695064" y="379453"/>
                    <a:pt x="1695064" y="847532"/>
                  </a:cubicBezTo>
                  <a:cubicBezTo>
                    <a:pt x="1695064" y="1315611"/>
                    <a:pt x="1315611" y="1695064"/>
                    <a:pt x="847532" y="1695064"/>
                  </a:cubicBezTo>
                  <a:cubicBezTo>
                    <a:pt x="379453" y="1695064"/>
                    <a:pt x="0" y="1315611"/>
                    <a:pt x="0" y="847532"/>
                  </a:cubicBezTo>
                  <a:cubicBezTo>
                    <a:pt x="0" y="379453"/>
                    <a:pt x="379453" y="0"/>
                    <a:pt x="847532" y="0"/>
                  </a:cubicBezTo>
                  <a:close/>
                </a:path>
              </a:pathLst>
            </a:custGeom>
          </p:spPr>
        </p:pic>
        <p:sp>
          <p:nvSpPr>
            <p:cNvPr id="625" name="Picture Placeholder 62">
              <a:extLst>
                <a:ext uri="{FF2B5EF4-FFF2-40B4-BE49-F238E27FC236}">
                  <a16:creationId xmlns:a16="http://schemas.microsoft.com/office/drawing/2014/main" id="{79572B28-6B1D-4A0C-872F-0E41894AEB71}"/>
                </a:ext>
              </a:extLst>
            </p:cNvPr>
            <p:cNvSpPr txBox="1">
              <a:spLocks/>
            </p:cNvSpPr>
            <p:nvPr/>
          </p:nvSpPr>
          <p:spPr>
            <a:xfrm>
              <a:off x="4599462" y="2398306"/>
              <a:ext cx="1442604" cy="1442604"/>
            </a:xfrm>
            <a:prstGeom prst="ellipse">
              <a:avLst/>
            </a:prstGeom>
          </p:spPr>
        </p:sp>
        <p:sp>
          <p:nvSpPr>
            <p:cNvPr id="614" name="Rectangle: Rounded Corners 613">
              <a:extLst>
                <a:ext uri="{FF2B5EF4-FFF2-40B4-BE49-F238E27FC236}">
                  <a16:creationId xmlns:a16="http://schemas.microsoft.com/office/drawing/2014/main" id="{159BE5F1-2159-4068-B6E6-EF749050A2DE}"/>
                </a:ext>
              </a:extLst>
            </p:cNvPr>
            <p:cNvSpPr/>
            <p:nvPr/>
          </p:nvSpPr>
          <p:spPr>
            <a:xfrm>
              <a:off x="723631" y="3844639"/>
              <a:ext cx="1486272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Nadun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37" name="Picture Placeholder 62">
              <a:extLst>
                <a:ext uri="{FF2B5EF4-FFF2-40B4-BE49-F238E27FC236}">
                  <a16:creationId xmlns:a16="http://schemas.microsoft.com/office/drawing/2014/main" id="{D3634ACF-E084-4494-8328-27FBCA83034C}"/>
                </a:ext>
              </a:extLst>
            </p:cNvPr>
            <p:cNvSpPr txBox="1">
              <a:spLocks/>
            </p:cNvSpPr>
            <p:nvPr/>
          </p:nvSpPr>
          <p:spPr>
            <a:xfrm>
              <a:off x="7764698" y="2398306"/>
              <a:ext cx="1442604" cy="1442604"/>
            </a:xfrm>
            <a:prstGeom prst="ellipse">
              <a:avLst/>
            </a:prstGeom>
          </p:spPr>
        </p:sp>
        <p:sp>
          <p:nvSpPr>
            <p:cNvPr id="639" name="Picture Placeholder 62">
              <a:extLst>
                <a:ext uri="{FF2B5EF4-FFF2-40B4-BE49-F238E27FC236}">
                  <a16:creationId xmlns:a16="http://schemas.microsoft.com/office/drawing/2014/main" id="{4A2C3180-50F3-4BF0-92F7-CA35574BBABE}"/>
                </a:ext>
              </a:extLst>
            </p:cNvPr>
            <p:cNvSpPr txBox="1">
              <a:spLocks/>
            </p:cNvSpPr>
            <p:nvPr/>
          </p:nvSpPr>
          <p:spPr>
            <a:xfrm>
              <a:off x="4599460" y="2398306"/>
              <a:ext cx="1442604" cy="1442604"/>
            </a:xfrm>
            <a:prstGeom prst="ellipse">
              <a:avLst/>
            </a:prstGeom>
          </p:spPr>
        </p:sp>
        <p:grpSp>
          <p:nvGrpSpPr>
            <p:cNvPr id="683" name="Group 682">
              <a:extLst>
                <a:ext uri="{FF2B5EF4-FFF2-40B4-BE49-F238E27FC236}">
                  <a16:creationId xmlns:a16="http://schemas.microsoft.com/office/drawing/2014/main" id="{F9EF521E-C61D-47EC-BE22-10D8A29C0397}"/>
                </a:ext>
              </a:extLst>
            </p:cNvPr>
            <p:cNvGrpSpPr/>
            <p:nvPr/>
          </p:nvGrpSpPr>
          <p:grpSpPr>
            <a:xfrm>
              <a:off x="8032059" y="5734727"/>
              <a:ext cx="344488" cy="349250"/>
              <a:chOff x="7743826" y="2890838"/>
              <a:chExt cx="344488" cy="349250"/>
            </a:xfrm>
          </p:grpSpPr>
          <p:sp>
            <p:nvSpPr>
              <p:cNvPr id="684" name="Freeform 14">
                <a:extLst>
                  <a:ext uri="{FF2B5EF4-FFF2-40B4-BE49-F238E27FC236}">
                    <a16:creationId xmlns:a16="http://schemas.microsoft.com/office/drawing/2014/main" id="{D9FBD1E8-3CF8-4C78-A522-EF7C3986E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0663" y="3011488"/>
                <a:ext cx="150813" cy="106363"/>
              </a:xfrm>
              <a:custGeom>
                <a:avLst/>
                <a:gdLst>
                  <a:gd name="T0" fmla="*/ 95 w 95"/>
                  <a:gd name="T1" fmla="*/ 0 h 67"/>
                  <a:gd name="T2" fmla="*/ 24 w 95"/>
                  <a:gd name="T3" fmla="*/ 67 h 67"/>
                  <a:gd name="T4" fmla="*/ 0 w 95"/>
                  <a:gd name="T5" fmla="*/ 4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5" h="67">
                    <a:moveTo>
                      <a:pt x="95" y="0"/>
                    </a:moveTo>
                    <a:lnTo>
                      <a:pt x="24" y="67"/>
                    </a:lnTo>
                    <a:lnTo>
                      <a:pt x="0" y="43"/>
                    </a:lnTo>
                  </a:path>
                </a:pathLst>
              </a:custGeom>
              <a:noFill/>
              <a:ln w="31750" cap="rnd">
                <a:solidFill>
                  <a:srgbClr val="F2F2F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FF1C86B9-16B2-408A-A8B5-480515EB2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3826" y="2890838"/>
                <a:ext cx="344488" cy="349250"/>
              </a:xfrm>
              <a:prstGeom prst="ellipse">
                <a:avLst/>
              </a:prstGeom>
              <a:noFill/>
              <a:ln w="31750" cap="rnd">
                <a:solidFill>
                  <a:srgbClr val="F2F2F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87" name="Title 1">
            <a:extLst>
              <a:ext uri="{FF2B5EF4-FFF2-40B4-BE49-F238E27FC236}">
                <a16:creationId xmlns:a16="http://schemas.microsoft.com/office/drawing/2014/main" id="{85F419A2-CC63-FEE6-E9B3-74A80A5F61D8}"/>
              </a:ext>
            </a:extLst>
          </p:cNvPr>
          <p:cNvSpPr txBox="1">
            <a:spLocks/>
          </p:cNvSpPr>
          <p:nvPr/>
        </p:nvSpPr>
        <p:spPr>
          <a:xfrm>
            <a:off x="3994530" y="402109"/>
            <a:ext cx="5160106" cy="698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ID" sz="4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ID" sz="4000" u="sng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</a:t>
            </a:r>
            <a:r>
              <a:rPr lang="en-ID" sz="4000" u="sng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ID" sz="4000" u="sng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bers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49139D26-7ED7-D8A9-2181-2669BABE4DE1}"/>
              </a:ext>
            </a:extLst>
          </p:cNvPr>
          <p:cNvSpPr/>
          <p:nvPr/>
        </p:nvSpPr>
        <p:spPr>
          <a:xfrm>
            <a:off x="5189667" y="2049211"/>
            <a:ext cx="2025257" cy="2589770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8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21" name="Rectangle: Top Corners Rounded 220">
            <a:extLst>
              <a:ext uri="{FF2B5EF4-FFF2-40B4-BE49-F238E27FC236}">
                <a16:creationId xmlns:a16="http://schemas.microsoft.com/office/drawing/2014/main" id="{269AC738-5194-94C5-7579-A911029499D1}"/>
              </a:ext>
            </a:extLst>
          </p:cNvPr>
          <p:cNvSpPr/>
          <p:nvPr/>
        </p:nvSpPr>
        <p:spPr>
          <a:xfrm>
            <a:off x="5189668" y="1772502"/>
            <a:ext cx="2042990" cy="553417"/>
          </a:xfrm>
          <a:prstGeom prst="round2SameRect">
            <a:avLst/>
          </a:prstGeom>
          <a:solidFill>
            <a:schemeClr val="tx2">
              <a:lumMod val="75000"/>
            </a:schemeClr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UM MASTER</a:t>
            </a: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C460C1EA-CFFF-4B8E-C3A1-15A3C67B733B}"/>
              </a:ext>
            </a:extLst>
          </p:cNvPr>
          <p:cNvSpPr/>
          <p:nvPr/>
        </p:nvSpPr>
        <p:spPr>
          <a:xfrm rot="5400000">
            <a:off x="5157621" y="1587636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sp>
        <p:nvSpPr>
          <p:cNvPr id="223" name="Rectangle: Rounded Corners 222">
            <a:extLst>
              <a:ext uri="{FF2B5EF4-FFF2-40B4-BE49-F238E27FC236}">
                <a16:creationId xmlns:a16="http://schemas.microsoft.com/office/drawing/2014/main" id="{B9AB3DF2-82A8-FB96-8C6B-63AC3B4FCF9C}"/>
              </a:ext>
            </a:extLst>
          </p:cNvPr>
          <p:cNvSpPr/>
          <p:nvPr/>
        </p:nvSpPr>
        <p:spPr>
          <a:xfrm rot="5400000">
            <a:off x="6886515" y="1607755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pic>
        <p:nvPicPr>
          <p:cNvPr id="224" name="Picture 223">
            <a:extLst>
              <a:ext uri="{FF2B5EF4-FFF2-40B4-BE49-F238E27FC236}">
                <a16:creationId xmlns:a16="http://schemas.microsoft.com/office/drawing/2014/main" id="{C74C69EA-D2B4-F6C6-EBE8-7D4B8FE177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28968" y="2418731"/>
            <a:ext cx="1399354" cy="1468692"/>
          </a:xfrm>
          <a:custGeom>
            <a:avLst/>
            <a:gdLst>
              <a:gd name="connsiteX0" fmla="*/ 847532 w 1695064"/>
              <a:gd name="connsiteY0" fmla="*/ 0 h 1695064"/>
              <a:gd name="connsiteX1" fmla="*/ 1695064 w 1695064"/>
              <a:gd name="connsiteY1" fmla="*/ 847532 h 1695064"/>
              <a:gd name="connsiteX2" fmla="*/ 847532 w 1695064"/>
              <a:gd name="connsiteY2" fmla="*/ 1695064 h 1695064"/>
              <a:gd name="connsiteX3" fmla="*/ 0 w 1695064"/>
              <a:gd name="connsiteY3" fmla="*/ 847532 h 1695064"/>
              <a:gd name="connsiteX4" fmla="*/ 847532 w 1695064"/>
              <a:gd name="connsiteY4" fmla="*/ 0 h 169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5064" h="1695064">
                <a:moveTo>
                  <a:pt x="847532" y="0"/>
                </a:moveTo>
                <a:cubicBezTo>
                  <a:pt x="1315611" y="0"/>
                  <a:pt x="1695064" y="379453"/>
                  <a:pt x="1695064" y="847532"/>
                </a:cubicBezTo>
                <a:cubicBezTo>
                  <a:pt x="1695064" y="1315611"/>
                  <a:pt x="1315611" y="1695064"/>
                  <a:pt x="847532" y="1695064"/>
                </a:cubicBezTo>
                <a:cubicBezTo>
                  <a:pt x="379453" y="1695064"/>
                  <a:pt x="0" y="1315611"/>
                  <a:pt x="0" y="847532"/>
                </a:cubicBezTo>
                <a:cubicBezTo>
                  <a:pt x="0" y="379453"/>
                  <a:pt x="379453" y="0"/>
                  <a:pt x="847532" y="0"/>
                </a:cubicBezTo>
                <a:close/>
              </a:path>
            </a:pathLst>
          </a:custGeom>
        </p:spPr>
      </p:pic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4401EDCB-4066-F8E9-DA10-BF6676F71205}"/>
              </a:ext>
            </a:extLst>
          </p:cNvPr>
          <p:cNvSpPr/>
          <p:nvPr/>
        </p:nvSpPr>
        <p:spPr>
          <a:xfrm>
            <a:off x="5379721" y="3979857"/>
            <a:ext cx="1635366" cy="338194"/>
          </a:xfrm>
          <a:prstGeom prst="round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lisha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id="{CE7CEF83-6356-91D7-8108-DC80631923DB}"/>
              </a:ext>
            </a:extLst>
          </p:cNvPr>
          <p:cNvSpPr/>
          <p:nvPr/>
        </p:nvSpPr>
        <p:spPr>
          <a:xfrm>
            <a:off x="9751473" y="2071246"/>
            <a:ext cx="2025257" cy="2589770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8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27" name="Rectangle: Top Corners Rounded 226">
            <a:extLst>
              <a:ext uri="{FF2B5EF4-FFF2-40B4-BE49-F238E27FC236}">
                <a16:creationId xmlns:a16="http://schemas.microsoft.com/office/drawing/2014/main" id="{9B24C941-D0A0-32C4-E427-3C733325CD4A}"/>
              </a:ext>
            </a:extLst>
          </p:cNvPr>
          <p:cNvSpPr/>
          <p:nvPr/>
        </p:nvSpPr>
        <p:spPr>
          <a:xfrm>
            <a:off x="9751474" y="1794537"/>
            <a:ext cx="2042990" cy="553417"/>
          </a:xfrm>
          <a:prstGeom prst="round2SameRect">
            <a:avLst/>
          </a:prstGeom>
          <a:solidFill>
            <a:schemeClr val="tx2">
              <a:lumMod val="75000"/>
            </a:schemeClr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IGNER</a:t>
            </a:r>
          </a:p>
        </p:txBody>
      </p: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3543E2B8-6AB6-A338-A70B-6ECCFD974ABB}"/>
              </a:ext>
            </a:extLst>
          </p:cNvPr>
          <p:cNvSpPr/>
          <p:nvPr/>
        </p:nvSpPr>
        <p:spPr>
          <a:xfrm rot="5400000">
            <a:off x="9719427" y="1609671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70D3DF7E-0FA9-65C1-AD92-1575C0075FF6}"/>
              </a:ext>
            </a:extLst>
          </p:cNvPr>
          <p:cNvSpPr/>
          <p:nvPr/>
        </p:nvSpPr>
        <p:spPr>
          <a:xfrm rot="5400000">
            <a:off x="11448321" y="1629790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pic>
        <p:nvPicPr>
          <p:cNvPr id="230" name="Picture 229">
            <a:extLst>
              <a:ext uri="{FF2B5EF4-FFF2-40B4-BE49-F238E27FC236}">
                <a16:creationId xmlns:a16="http://schemas.microsoft.com/office/drawing/2014/main" id="{8678BC4C-29E3-C122-9D68-B3478E5232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7794" y="2448083"/>
            <a:ext cx="1229021" cy="1468692"/>
          </a:xfrm>
          <a:custGeom>
            <a:avLst/>
            <a:gdLst>
              <a:gd name="connsiteX0" fmla="*/ 847532 w 1695064"/>
              <a:gd name="connsiteY0" fmla="*/ 0 h 1695064"/>
              <a:gd name="connsiteX1" fmla="*/ 1695064 w 1695064"/>
              <a:gd name="connsiteY1" fmla="*/ 847532 h 1695064"/>
              <a:gd name="connsiteX2" fmla="*/ 847532 w 1695064"/>
              <a:gd name="connsiteY2" fmla="*/ 1695064 h 1695064"/>
              <a:gd name="connsiteX3" fmla="*/ 0 w 1695064"/>
              <a:gd name="connsiteY3" fmla="*/ 847532 h 1695064"/>
              <a:gd name="connsiteX4" fmla="*/ 847532 w 1695064"/>
              <a:gd name="connsiteY4" fmla="*/ 0 h 169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5064" h="1695064">
                <a:moveTo>
                  <a:pt x="847532" y="0"/>
                </a:moveTo>
                <a:cubicBezTo>
                  <a:pt x="1315611" y="0"/>
                  <a:pt x="1695064" y="379453"/>
                  <a:pt x="1695064" y="847532"/>
                </a:cubicBezTo>
                <a:cubicBezTo>
                  <a:pt x="1695064" y="1315611"/>
                  <a:pt x="1315611" y="1695064"/>
                  <a:pt x="847532" y="1695064"/>
                </a:cubicBezTo>
                <a:cubicBezTo>
                  <a:pt x="379453" y="1695064"/>
                  <a:pt x="0" y="1315611"/>
                  <a:pt x="0" y="847532"/>
                </a:cubicBezTo>
                <a:cubicBezTo>
                  <a:pt x="0" y="379453"/>
                  <a:pt x="379453" y="0"/>
                  <a:pt x="847532" y="0"/>
                </a:cubicBezTo>
                <a:close/>
              </a:path>
            </a:pathLst>
          </a:custGeom>
        </p:spPr>
      </p:pic>
      <p:sp>
        <p:nvSpPr>
          <p:cNvPr id="231" name="Rectangle: Rounded Corners 230">
            <a:extLst>
              <a:ext uri="{FF2B5EF4-FFF2-40B4-BE49-F238E27FC236}">
                <a16:creationId xmlns:a16="http://schemas.microsoft.com/office/drawing/2014/main" id="{45B39541-9472-6C31-A4B4-E8E5112B79D3}"/>
              </a:ext>
            </a:extLst>
          </p:cNvPr>
          <p:cNvSpPr/>
          <p:nvPr/>
        </p:nvSpPr>
        <p:spPr>
          <a:xfrm>
            <a:off x="9951687" y="4001892"/>
            <a:ext cx="1635366" cy="338194"/>
          </a:xfrm>
          <a:prstGeom prst="round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hanvi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DBBCB69B-8921-1A2C-C35E-9FC20FA43EFA}"/>
              </a:ext>
            </a:extLst>
          </p:cNvPr>
          <p:cNvSpPr/>
          <p:nvPr/>
        </p:nvSpPr>
        <p:spPr>
          <a:xfrm>
            <a:off x="2936029" y="4085356"/>
            <a:ext cx="2025257" cy="2589770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8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33" name="Rectangle: Top Corners Rounded 232">
            <a:extLst>
              <a:ext uri="{FF2B5EF4-FFF2-40B4-BE49-F238E27FC236}">
                <a16:creationId xmlns:a16="http://schemas.microsoft.com/office/drawing/2014/main" id="{6EA2CE91-B054-A1EF-C210-A33F11DEB515}"/>
              </a:ext>
            </a:extLst>
          </p:cNvPr>
          <p:cNvSpPr/>
          <p:nvPr/>
        </p:nvSpPr>
        <p:spPr>
          <a:xfrm>
            <a:off x="2936030" y="3808647"/>
            <a:ext cx="2042990" cy="553417"/>
          </a:xfrm>
          <a:prstGeom prst="round2SameRect">
            <a:avLst/>
          </a:prstGeom>
          <a:solidFill>
            <a:schemeClr val="tx2">
              <a:lumMod val="75000"/>
            </a:schemeClr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ER</a:t>
            </a:r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B2FCE588-364E-D96E-1FF4-B0A17A12F50F}"/>
              </a:ext>
            </a:extLst>
          </p:cNvPr>
          <p:cNvSpPr/>
          <p:nvPr/>
        </p:nvSpPr>
        <p:spPr>
          <a:xfrm rot="5400000">
            <a:off x="2903983" y="3623781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sp>
        <p:nvSpPr>
          <p:cNvPr id="235" name="Rectangle: Rounded Corners 234">
            <a:extLst>
              <a:ext uri="{FF2B5EF4-FFF2-40B4-BE49-F238E27FC236}">
                <a16:creationId xmlns:a16="http://schemas.microsoft.com/office/drawing/2014/main" id="{70923E62-93A8-A2E3-9C85-876E8FCFFDE8}"/>
              </a:ext>
            </a:extLst>
          </p:cNvPr>
          <p:cNvSpPr/>
          <p:nvPr/>
        </p:nvSpPr>
        <p:spPr>
          <a:xfrm rot="5400000">
            <a:off x="4632877" y="3643900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pic>
        <p:nvPicPr>
          <p:cNvPr id="236" name="Picture 235">
            <a:extLst>
              <a:ext uri="{FF2B5EF4-FFF2-40B4-BE49-F238E27FC236}">
                <a16:creationId xmlns:a16="http://schemas.microsoft.com/office/drawing/2014/main" id="{1F98A38C-B717-EA25-7B4B-216158FEE2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07385" y="4449088"/>
            <a:ext cx="1468692" cy="1468692"/>
          </a:xfrm>
          <a:custGeom>
            <a:avLst/>
            <a:gdLst>
              <a:gd name="connsiteX0" fmla="*/ 847532 w 1695064"/>
              <a:gd name="connsiteY0" fmla="*/ 0 h 1695064"/>
              <a:gd name="connsiteX1" fmla="*/ 1695064 w 1695064"/>
              <a:gd name="connsiteY1" fmla="*/ 847532 h 1695064"/>
              <a:gd name="connsiteX2" fmla="*/ 847532 w 1695064"/>
              <a:gd name="connsiteY2" fmla="*/ 1695064 h 1695064"/>
              <a:gd name="connsiteX3" fmla="*/ 0 w 1695064"/>
              <a:gd name="connsiteY3" fmla="*/ 847532 h 1695064"/>
              <a:gd name="connsiteX4" fmla="*/ 847532 w 1695064"/>
              <a:gd name="connsiteY4" fmla="*/ 0 h 169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5064" h="1695064">
                <a:moveTo>
                  <a:pt x="847532" y="0"/>
                </a:moveTo>
                <a:cubicBezTo>
                  <a:pt x="1315611" y="0"/>
                  <a:pt x="1695064" y="379453"/>
                  <a:pt x="1695064" y="847532"/>
                </a:cubicBezTo>
                <a:cubicBezTo>
                  <a:pt x="1695064" y="1315611"/>
                  <a:pt x="1315611" y="1695064"/>
                  <a:pt x="847532" y="1695064"/>
                </a:cubicBezTo>
                <a:cubicBezTo>
                  <a:pt x="379453" y="1695064"/>
                  <a:pt x="0" y="1315611"/>
                  <a:pt x="0" y="847532"/>
                </a:cubicBezTo>
                <a:cubicBezTo>
                  <a:pt x="0" y="379453"/>
                  <a:pt x="379453" y="0"/>
                  <a:pt x="847532" y="0"/>
                </a:cubicBezTo>
                <a:close/>
              </a:path>
            </a:pathLst>
          </a:custGeom>
        </p:spPr>
      </p:pic>
      <p:sp>
        <p:nvSpPr>
          <p:cNvPr id="237" name="Rectangle: Rounded Corners 236">
            <a:extLst>
              <a:ext uri="{FF2B5EF4-FFF2-40B4-BE49-F238E27FC236}">
                <a16:creationId xmlns:a16="http://schemas.microsoft.com/office/drawing/2014/main" id="{AA6FBFCF-F7B7-1A51-64A4-4C5AB0654C6D}"/>
              </a:ext>
            </a:extLst>
          </p:cNvPr>
          <p:cNvSpPr/>
          <p:nvPr/>
        </p:nvSpPr>
        <p:spPr>
          <a:xfrm>
            <a:off x="3126083" y="6016002"/>
            <a:ext cx="1635366" cy="338194"/>
          </a:xfrm>
          <a:prstGeom prst="round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ndeep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8" name="Rectangle: Rounded Corners 237">
            <a:extLst>
              <a:ext uri="{FF2B5EF4-FFF2-40B4-BE49-F238E27FC236}">
                <a16:creationId xmlns:a16="http://schemas.microsoft.com/office/drawing/2014/main" id="{0EE55B69-66BD-FB92-F2D6-5ADE8FECBA8B}"/>
              </a:ext>
            </a:extLst>
          </p:cNvPr>
          <p:cNvSpPr/>
          <p:nvPr/>
        </p:nvSpPr>
        <p:spPr>
          <a:xfrm>
            <a:off x="7447303" y="4145564"/>
            <a:ext cx="2025257" cy="2589770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8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39" name="Rectangle: Top Corners Rounded 238">
            <a:extLst>
              <a:ext uri="{FF2B5EF4-FFF2-40B4-BE49-F238E27FC236}">
                <a16:creationId xmlns:a16="http://schemas.microsoft.com/office/drawing/2014/main" id="{B9B577A0-95E4-7B7C-8F2E-BF199C512385}"/>
              </a:ext>
            </a:extLst>
          </p:cNvPr>
          <p:cNvSpPr/>
          <p:nvPr/>
        </p:nvSpPr>
        <p:spPr>
          <a:xfrm>
            <a:off x="7447304" y="3868855"/>
            <a:ext cx="2042990" cy="553417"/>
          </a:xfrm>
          <a:prstGeom prst="round2SameRect">
            <a:avLst/>
          </a:prstGeom>
          <a:solidFill>
            <a:schemeClr val="tx2">
              <a:lumMod val="75000"/>
            </a:schemeClr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ER</a:t>
            </a:r>
          </a:p>
        </p:txBody>
      </p:sp>
      <p:sp>
        <p:nvSpPr>
          <p:cNvPr id="240" name="Rectangle: Rounded Corners 239">
            <a:extLst>
              <a:ext uri="{FF2B5EF4-FFF2-40B4-BE49-F238E27FC236}">
                <a16:creationId xmlns:a16="http://schemas.microsoft.com/office/drawing/2014/main" id="{AB608572-38F4-AFE7-16B2-A95455A5DA3E}"/>
              </a:ext>
            </a:extLst>
          </p:cNvPr>
          <p:cNvSpPr/>
          <p:nvPr/>
        </p:nvSpPr>
        <p:spPr>
          <a:xfrm rot="5400000">
            <a:off x="7415257" y="3683989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sp>
        <p:nvSpPr>
          <p:cNvPr id="241" name="Rectangle: Rounded Corners 240">
            <a:extLst>
              <a:ext uri="{FF2B5EF4-FFF2-40B4-BE49-F238E27FC236}">
                <a16:creationId xmlns:a16="http://schemas.microsoft.com/office/drawing/2014/main" id="{BBE7295E-685E-53A3-B8F2-E7B0D800C2DE}"/>
              </a:ext>
            </a:extLst>
          </p:cNvPr>
          <p:cNvSpPr/>
          <p:nvPr/>
        </p:nvSpPr>
        <p:spPr>
          <a:xfrm rot="5400000">
            <a:off x="9144151" y="3704108"/>
            <a:ext cx="444202" cy="15544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 dirty="0"/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5EBE570D-6555-0250-50FC-5E05CA8BBE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8421" y="4509296"/>
            <a:ext cx="1489168" cy="1468692"/>
          </a:xfrm>
          <a:custGeom>
            <a:avLst/>
            <a:gdLst>
              <a:gd name="connsiteX0" fmla="*/ 847532 w 1695064"/>
              <a:gd name="connsiteY0" fmla="*/ 0 h 1695064"/>
              <a:gd name="connsiteX1" fmla="*/ 1695064 w 1695064"/>
              <a:gd name="connsiteY1" fmla="*/ 847532 h 1695064"/>
              <a:gd name="connsiteX2" fmla="*/ 847532 w 1695064"/>
              <a:gd name="connsiteY2" fmla="*/ 1695064 h 1695064"/>
              <a:gd name="connsiteX3" fmla="*/ 0 w 1695064"/>
              <a:gd name="connsiteY3" fmla="*/ 847532 h 1695064"/>
              <a:gd name="connsiteX4" fmla="*/ 847532 w 1695064"/>
              <a:gd name="connsiteY4" fmla="*/ 0 h 169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5064" h="1695064">
                <a:moveTo>
                  <a:pt x="847532" y="0"/>
                </a:moveTo>
                <a:cubicBezTo>
                  <a:pt x="1315611" y="0"/>
                  <a:pt x="1695064" y="379453"/>
                  <a:pt x="1695064" y="847532"/>
                </a:cubicBezTo>
                <a:cubicBezTo>
                  <a:pt x="1695064" y="1315611"/>
                  <a:pt x="1315611" y="1695064"/>
                  <a:pt x="847532" y="1695064"/>
                </a:cubicBezTo>
                <a:cubicBezTo>
                  <a:pt x="379453" y="1695064"/>
                  <a:pt x="0" y="1315611"/>
                  <a:pt x="0" y="847532"/>
                </a:cubicBezTo>
                <a:cubicBezTo>
                  <a:pt x="0" y="379453"/>
                  <a:pt x="379453" y="0"/>
                  <a:pt x="847532" y="0"/>
                </a:cubicBezTo>
                <a:close/>
              </a:path>
            </a:pathLst>
          </a:custGeom>
        </p:spPr>
      </p:pic>
      <p:sp>
        <p:nvSpPr>
          <p:cNvPr id="243" name="Rectangle: Rounded Corners 242">
            <a:extLst>
              <a:ext uri="{FF2B5EF4-FFF2-40B4-BE49-F238E27FC236}">
                <a16:creationId xmlns:a16="http://schemas.microsoft.com/office/drawing/2014/main" id="{6A9537D4-CCC5-BA28-B8DC-3BE41B3674D5}"/>
              </a:ext>
            </a:extLst>
          </p:cNvPr>
          <p:cNvSpPr/>
          <p:nvPr/>
        </p:nvSpPr>
        <p:spPr>
          <a:xfrm>
            <a:off x="7637357" y="6076210"/>
            <a:ext cx="1635366" cy="338194"/>
          </a:xfrm>
          <a:prstGeom prst="round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iddhi</a:t>
            </a:r>
            <a:endParaRPr 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9D08E701-D673-633D-676C-FE8557608EB0}"/>
              </a:ext>
            </a:extLst>
          </p:cNvPr>
          <p:cNvGrpSpPr/>
          <p:nvPr/>
        </p:nvGrpSpPr>
        <p:grpSpPr>
          <a:xfrm>
            <a:off x="216589" y="5403573"/>
            <a:ext cx="716915" cy="945126"/>
            <a:chOff x="446698" y="5667636"/>
            <a:chExt cx="523709" cy="690418"/>
          </a:xfrm>
        </p:grpSpPr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ECD352C7-AABF-FC5C-AC3B-B6731B009194}"/>
                </a:ext>
              </a:extLst>
            </p:cNvPr>
            <p:cNvSpPr/>
            <p:nvPr/>
          </p:nvSpPr>
          <p:spPr>
            <a:xfrm>
              <a:off x="446698" y="5667636"/>
              <a:ext cx="523709" cy="690418"/>
            </a:xfrm>
            <a:custGeom>
              <a:avLst/>
              <a:gdLst>
                <a:gd name="connsiteX0" fmla="*/ 146025 w 523709"/>
                <a:gd name="connsiteY0" fmla="*/ 681429 h 690418"/>
                <a:gd name="connsiteX1" fmla="*/ 1543 w 523709"/>
                <a:gd name="connsiteY1" fmla="*/ 388995 h 690418"/>
                <a:gd name="connsiteX2" fmla="*/ 5170 w 523709"/>
                <a:gd name="connsiteY2" fmla="*/ 334263 h 690418"/>
                <a:gd name="connsiteX3" fmla="*/ 52726 w 523709"/>
                <a:gd name="connsiteY3" fmla="*/ 311330 h 690418"/>
                <a:gd name="connsiteX4" fmla="*/ 84839 w 523709"/>
                <a:gd name="connsiteY4" fmla="*/ 344990 h 690418"/>
                <a:gd name="connsiteX5" fmla="*/ 134501 w 523709"/>
                <a:gd name="connsiteY5" fmla="*/ 383303 h 690418"/>
                <a:gd name="connsiteX6" fmla="*/ 175448 w 523709"/>
                <a:gd name="connsiteY6" fmla="*/ 383960 h 690418"/>
                <a:gd name="connsiteX7" fmla="*/ 190539 w 523709"/>
                <a:gd name="connsiteY7" fmla="*/ 333332 h 690418"/>
                <a:gd name="connsiteX8" fmla="*/ 181706 w 523709"/>
                <a:gd name="connsiteY8" fmla="*/ 230436 h 690418"/>
                <a:gd name="connsiteX9" fmla="*/ 183344 w 523709"/>
                <a:gd name="connsiteY9" fmla="*/ 175321 h 690418"/>
                <a:gd name="connsiteX10" fmla="*/ 218441 w 523709"/>
                <a:gd name="connsiteY10" fmla="*/ 134053 h 690418"/>
                <a:gd name="connsiteX11" fmla="*/ 266114 w 523709"/>
                <a:gd name="connsiteY11" fmla="*/ 154139 h 690418"/>
                <a:gd name="connsiteX12" fmla="*/ 268454 w 523709"/>
                <a:gd name="connsiteY12" fmla="*/ 177017 h 690418"/>
                <a:gd name="connsiteX13" fmla="*/ 282025 w 523709"/>
                <a:gd name="connsiteY13" fmla="*/ 194422 h 690418"/>
                <a:gd name="connsiteX14" fmla="*/ 302966 w 523709"/>
                <a:gd name="connsiteY14" fmla="*/ 184461 h 690418"/>
                <a:gd name="connsiteX15" fmla="*/ 344731 w 523709"/>
                <a:gd name="connsiteY15" fmla="*/ 114842 h 690418"/>
                <a:gd name="connsiteX16" fmla="*/ 383104 w 523709"/>
                <a:gd name="connsiteY16" fmla="*/ 43362 h 690418"/>
                <a:gd name="connsiteX17" fmla="*/ 452244 w 523709"/>
                <a:gd name="connsiteY17" fmla="*/ 506 h 690418"/>
                <a:gd name="connsiteX18" fmla="*/ 520800 w 523709"/>
                <a:gd name="connsiteY18" fmla="*/ 36684 h 690418"/>
                <a:gd name="connsiteX19" fmla="*/ 499918 w 523709"/>
                <a:gd name="connsiteY19" fmla="*/ 111831 h 690418"/>
                <a:gd name="connsiteX20" fmla="*/ 415042 w 523709"/>
                <a:gd name="connsiteY20" fmla="*/ 199786 h 690418"/>
                <a:gd name="connsiteX21" fmla="*/ 401003 w 523709"/>
                <a:gd name="connsiteY21" fmla="*/ 216206 h 690418"/>
                <a:gd name="connsiteX22" fmla="*/ 424401 w 523709"/>
                <a:gd name="connsiteY22" fmla="*/ 243243 h 690418"/>
                <a:gd name="connsiteX23" fmla="*/ 470729 w 523709"/>
                <a:gd name="connsiteY23" fmla="*/ 244885 h 690418"/>
                <a:gd name="connsiteX24" fmla="*/ 510154 w 523709"/>
                <a:gd name="connsiteY24" fmla="*/ 263877 h 690418"/>
                <a:gd name="connsiteX25" fmla="*/ 488921 w 523709"/>
                <a:gd name="connsiteY25" fmla="*/ 317077 h 690418"/>
                <a:gd name="connsiteX26" fmla="*/ 382285 w 523709"/>
                <a:gd name="connsiteY26" fmla="*/ 384945 h 690418"/>
                <a:gd name="connsiteX27" fmla="*/ 342391 w 523709"/>
                <a:gd name="connsiteY27" fmla="*/ 406838 h 690418"/>
                <a:gd name="connsiteX28" fmla="*/ 333793 w 523709"/>
                <a:gd name="connsiteY28" fmla="*/ 446683 h 690418"/>
                <a:gd name="connsiteX29" fmla="*/ 375265 w 523709"/>
                <a:gd name="connsiteY29" fmla="*/ 458395 h 690418"/>
                <a:gd name="connsiteX30" fmla="*/ 417265 w 523709"/>
                <a:gd name="connsiteY30" fmla="*/ 439951 h 690418"/>
                <a:gd name="connsiteX31" fmla="*/ 497636 w 523709"/>
                <a:gd name="connsiteY31" fmla="*/ 448544 h 690418"/>
                <a:gd name="connsiteX32" fmla="*/ 508341 w 523709"/>
                <a:gd name="connsiteY32" fmla="*/ 499609 h 690418"/>
                <a:gd name="connsiteX33" fmla="*/ 482077 w 523709"/>
                <a:gd name="connsiteY33" fmla="*/ 547226 h 690418"/>
                <a:gd name="connsiteX34" fmla="*/ 328938 w 523709"/>
                <a:gd name="connsiteY34" fmla="*/ 664626 h 690418"/>
                <a:gd name="connsiteX35" fmla="*/ 146083 w 523709"/>
                <a:gd name="connsiteY35" fmla="*/ 681812 h 69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3709" h="690418">
                  <a:moveTo>
                    <a:pt x="146025" y="681429"/>
                  </a:moveTo>
                  <a:cubicBezTo>
                    <a:pt x="39038" y="621935"/>
                    <a:pt x="6281" y="500156"/>
                    <a:pt x="1543" y="388995"/>
                  </a:cubicBezTo>
                  <a:cubicBezTo>
                    <a:pt x="724" y="370441"/>
                    <a:pt x="-2961" y="351066"/>
                    <a:pt x="5170" y="334263"/>
                  </a:cubicBezTo>
                  <a:cubicBezTo>
                    <a:pt x="13300" y="317460"/>
                    <a:pt x="34417" y="304762"/>
                    <a:pt x="52726" y="311330"/>
                  </a:cubicBezTo>
                  <a:cubicBezTo>
                    <a:pt x="67934" y="316803"/>
                    <a:pt x="75597" y="332347"/>
                    <a:pt x="84839" y="344990"/>
                  </a:cubicBezTo>
                  <a:cubicBezTo>
                    <a:pt x="97205" y="361881"/>
                    <a:pt x="114420" y="375164"/>
                    <a:pt x="134501" y="383303"/>
                  </a:cubicBezTo>
                  <a:cubicBezTo>
                    <a:pt x="147604" y="388776"/>
                    <a:pt x="163456" y="391239"/>
                    <a:pt x="175448" y="383960"/>
                  </a:cubicBezTo>
                  <a:cubicBezTo>
                    <a:pt x="191826" y="373944"/>
                    <a:pt x="192119" y="351777"/>
                    <a:pt x="190539" y="333332"/>
                  </a:cubicBezTo>
                  <a:cubicBezTo>
                    <a:pt x="187614" y="299070"/>
                    <a:pt x="184672" y="264769"/>
                    <a:pt x="181706" y="230436"/>
                  </a:cubicBezTo>
                  <a:cubicBezTo>
                    <a:pt x="180186" y="212046"/>
                    <a:pt x="178606" y="193218"/>
                    <a:pt x="183344" y="175321"/>
                  </a:cubicBezTo>
                  <a:cubicBezTo>
                    <a:pt x="188082" y="157423"/>
                    <a:pt x="200366" y="140292"/>
                    <a:pt x="218441" y="134053"/>
                  </a:cubicBezTo>
                  <a:cubicBezTo>
                    <a:pt x="236516" y="127813"/>
                    <a:pt x="260733" y="136351"/>
                    <a:pt x="266114" y="154139"/>
                  </a:cubicBezTo>
                  <a:cubicBezTo>
                    <a:pt x="267454" y="161703"/>
                    <a:pt x="268238" y="169349"/>
                    <a:pt x="268454" y="177017"/>
                  </a:cubicBezTo>
                  <a:cubicBezTo>
                    <a:pt x="269624" y="184625"/>
                    <a:pt x="274303" y="192835"/>
                    <a:pt x="282025" y="194422"/>
                  </a:cubicBezTo>
                  <a:cubicBezTo>
                    <a:pt x="289746" y="196009"/>
                    <a:pt x="297526" y="190263"/>
                    <a:pt x="302966" y="184461"/>
                  </a:cubicBezTo>
                  <a:cubicBezTo>
                    <a:pt x="321801" y="164484"/>
                    <a:pt x="333676" y="139581"/>
                    <a:pt x="344731" y="114842"/>
                  </a:cubicBezTo>
                  <a:cubicBezTo>
                    <a:pt x="355787" y="90103"/>
                    <a:pt x="366257" y="64926"/>
                    <a:pt x="383104" y="43362"/>
                  </a:cubicBezTo>
                  <a:cubicBezTo>
                    <a:pt x="399950" y="21797"/>
                    <a:pt x="424050" y="3954"/>
                    <a:pt x="452244" y="506"/>
                  </a:cubicBezTo>
                  <a:cubicBezTo>
                    <a:pt x="480439" y="-2942"/>
                    <a:pt x="511616" y="11453"/>
                    <a:pt x="520800" y="36684"/>
                  </a:cubicBezTo>
                  <a:cubicBezTo>
                    <a:pt x="529984" y="61916"/>
                    <a:pt x="515887" y="89610"/>
                    <a:pt x="499918" y="111831"/>
                  </a:cubicBezTo>
                  <a:cubicBezTo>
                    <a:pt x="476297" y="144819"/>
                    <a:pt x="447711" y="174445"/>
                    <a:pt x="415042" y="199786"/>
                  </a:cubicBezTo>
                  <a:cubicBezTo>
                    <a:pt x="408619" y="203727"/>
                    <a:pt x="403700" y="209474"/>
                    <a:pt x="401003" y="216206"/>
                  </a:cubicBezTo>
                  <a:cubicBezTo>
                    <a:pt x="397669" y="228739"/>
                    <a:pt x="411064" y="240069"/>
                    <a:pt x="424401" y="243243"/>
                  </a:cubicBezTo>
                  <a:cubicBezTo>
                    <a:pt x="439434" y="246801"/>
                    <a:pt x="455228" y="244283"/>
                    <a:pt x="470729" y="244885"/>
                  </a:cubicBezTo>
                  <a:cubicBezTo>
                    <a:pt x="486230" y="245487"/>
                    <a:pt x="503310" y="250687"/>
                    <a:pt x="510154" y="263877"/>
                  </a:cubicBezTo>
                  <a:cubicBezTo>
                    <a:pt x="519747" y="282158"/>
                    <a:pt x="504305" y="303011"/>
                    <a:pt x="488921" y="317077"/>
                  </a:cubicBezTo>
                  <a:cubicBezTo>
                    <a:pt x="457801" y="345259"/>
                    <a:pt x="421734" y="368219"/>
                    <a:pt x="382285" y="384945"/>
                  </a:cubicBezTo>
                  <a:cubicBezTo>
                    <a:pt x="368246" y="390911"/>
                    <a:pt x="353037" y="396274"/>
                    <a:pt x="342391" y="406838"/>
                  </a:cubicBezTo>
                  <a:cubicBezTo>
                    <a:pt x="331745" y="417401"/>
                    <a:pt x="325720" y="434204"/>
                    <a:pt x="333793" y="446683"/>
                  </a:cubicBezTo>
                  <a:cubicBezTo>
                    <a:pt x="341865" y="459162"/>
                    <a:pt x="360349" y="462063"/>
                    <a:pt x="375265" y="458395"/>
                  </a:cubicBezTo>
                  <a:cubicBezTo>
                    <a:pt x="390181" y="454728"/>
                    <a:pt x="403226" y="446081"/>
                    <a:pt x="417265" y="439951"/>
                  </a:cubicBezTo>
                  <a:cubicBezTo>
                    <a:pt x="443529" y="428566"/>
                    <a:pt x="478626" y="427910"/>
                    <a:pt x="497636" y="448544"/>
                  </a:cubicBezTo>
                  <a:cubicBezTo>
                    <a:pt x="510154" y="462172"/>
                    <a:pt x="512728" y="482094"/>
                    <a:pt x="508341" y="499609"/>
                  </a:cubicBezTo>
                  <a:cubicBezTo>
                    <a:pt x="503088" y="516970"/>
                    <a:pt x="494156" y="533165"/>
                    <a:pt x="482077" y="547226"/>
                  </a:cubicBezTo>
                  <a:cubicBezTo>
                    <a:pt x="443049" y="598362"/>
                    <a:pt x="390199" y="638880"/>
                    <a:pt x="328938" y="664626"/>
                  </a:cubicBezTo>
                  <a:cubicBezTo>
                    <a:pt x="267811" y="689310"/>
                    <a:pt x="210076" y="698834"/>
                    <a:pt x="146083" y="681812"/>
                  </a:cubicBezTo>
                </a:path>
              </a:pathLst>
            </a:custGeom>
            <a:solidFill>
              <a:srgbClr val="F5F5F5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78C36AF-D413-9BED-8996-7B27B6D3911E}"/>
                </a:ext>
              </a:extLst>
            </p:cNvPr>
            <p:cNvSpPr/>
            <p:nvPr/>
          </p:nvSpPr>
          <p:spPr>
            <a:xfrm>
              <a:off x="610281" y="5681771"/>
              <a:ext cx="327325" cy="673752"/>
            </a:xfrm>
            <a:custGeom>
              <a:avLst/>
              <a:gdLst>
                <a:gd name="connsiteX0" fmla="*/ 1744 w 327325"/>
                <a:gd name="connsiteY0" fmla="*/ 672768 h 673752"/>
                <a:gd name="connsiteX1" fmla="*/ 7594 w 327325"/>
                <a:gd name="connsiteY1" fmla="*/ 596143 h 673752"/>
                <a:gd name="connsiteX2" fmla="*/ 63573 w 327325"/>
                <a:gd name="connsiteY2" fmla="*/ 413666 h 673752"/>
                <a:gd name="connsiteX3" fmla="*/ 81122 w 327325"/>
                <a:gd name="connsiteY3" fmla="*/ 366541 h 673752"/>
                <a:gd name="connsiteX4" fmla="*/ 99021 w 327325"/>
                <a:gd name="connsiteY4" fmla="*/ 321059 h 673752"/>
                <a:gd name="connsiteX5" fmla="*/ 141722 w 327325"/>
                <a:gd name="connsiteY5" fmla="*/ 238961 h 673752"/>
                <a:gd name="connsiteX6" fmla="*/ 186178 w 327325"/>
                <a:gd name="connsiteY6" fmla="*/ 167809 h 673752"/>
                <a:gd name="connsiteX7" fmla="*/ 227943 w 327325"/>
                <a:gd name="connsiteY7" fmla="*/ 107330 h 673752"/>
                <a:gd name="connsiteX8" fmla="*/ 298137 w 327325"/>
                <a:gd name="connsiteY8" fmla="*/ 26709 h 673752"/>
                <a:gd name="connsiteX9" fmla="*/ 319429 w 327325"/>
                <a:gd name="connsiteY9" fmla="*/ 6677 h 673752"/>
                <a:gd name="connsiteX10" fmla="*/ 325278 w 327325"/>
                <a:gd name="connsiteY10" fmla="*/ 1642 h 673752"/>
                <a:gd name="connsiteX11" fmla="*/ 327326 w 327325"/>
                <a:gd name="connsiteY11" fmla="*/ 0 h 673752"/>
                <a:gd name="connsiteX12" fmla="*/ 325512 w 327325"/>
                <a:gd name="connsiteY12" fmla="*/ 1916 h 673752"/>
                <a:gd name="connsiteX13" fmla="*/ 320072 w 327325"/>
                <a:gd name="connsiteY13" fmla="*/ 7389 h 673752"/>
                <a:gd name="connsiteX14" fmla="*/ 299248 w 327325"/>
                <a:gd name="connsiteY14" fmla="*/ 27859 h 673752"/>
                <a:gd name="connsiteX15" fmla="*/ 230108 w 327325"/>
                <a:gd name="connsiteY15" fmla="*/ 108972 h 673752"/>
                <a:gd name="connsiteX16" fmla="*/ 188810 w 327325"/>
                <a:gd name="connsiteY16" fmla="*/ 169505 h 673752"/>
                <a:gd name="connsiteX17" fmla="*/ 144705 w 327325"/>
                <a:gd name="connsiteY17" fmla="*/ 240986 h 673752"/>
                <a:gd name="connsiteX18" fmla="*/ 102355 w 327325"/>
                <a:gd name="connsiteY18" fmla="*/ 323084 h 673752"/>
                <a:gd name="connsiteX19" fmla="*/ 84807 w 327325"/>
                <a:gd name="connsiteY19" fmla="*/ 368347 h 673752"/>
                <a:gd name="connsiteX20" fmla="*/ 67551 w 327325"/>
                <a:gd name="connsiteY20" fmla="*/ 415472 h 673752"/>
                <a:gd name="connsiteX21" fmla="*/ 11396 w 327325"/>
                <a:gd name="connsiteY21" fmla="*/ 597511 h 673752"/>
                <a:gd name="connsiteX22" fmla="*/ 4903 w 327325"/>
                <a:gd name="connsiteY22" fmla="*/ 673753 h 67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325" h="673752">
                  <a:moveTo>
                    <a:pt x="1744" y="672768"/>
                  </a:moveTo>
                  <a:cubicBezTo>
                    <a:pt x="2622" y="628544"/>
                    <a:pt x="-5626" y="653064"/>
                    <a:pt x="7594" y="596143"/>
                  </a:cubicBezTo>
                  <a:cubicBezTo>
                    <a:pt x="22510" y="534366"/>
                    <a:pt x="41199" y="473439"/>
                    <a:pt x="63573" y="413666"/>
                  </a:cubicBezTo>
                  <a:cubicBezTo>
                    <a:pt x="69423" y="397739"/>
                    <a:pt x="75272" y="382030"/>
                    <a:pt x="81122" y="366541"/>
                  </a:cubicBezTo>
                  <a:cubicBezTo>
                    <a:pt x="86971" y="351052"/>
                    <a:pt x="92470" y="335727"/>
                    <a:pt x="99021" y="321059"/>
                  </a:cubicBezTo>
                  <a:cubicBezTo>
                    <a:pt x="111627" y="292976"/>
                    <a:pt x="125882" y="265571"/>
                    <a:pt x="141722" y="238961"/>
                  </a:cubicBezTo>
                  <a:cubicBezTo>
                    <a:pt x="156638" y="213401"/>
                    <a:pt x="171847" y="189702"/>
                    <a:pt x="186178" y="167809"/>
                  </a:cubicBezTo>
                  <a:cubicBezTo>
                    <a:pt x="200509" y="145916"/>
                    <a:pt x="214431" y="125391"/>
                    <a:pt x="227943" y="107330"/>
                  </a:cubicBezTo>
                  <a:cubicBezTo>
                    <a:pt x="249001" y="78743"/>
                    <a:pt x="272475" y="51782"/>
                    <a:pt x="298137" y="26709"/>
                  </a:cubicBezTo>
                  <a:cubicBezTo>
                    <a:pt x="307203" y="17843"/>
                    <a:pt x="314457" y="11165"/>
                    <a:pt x="319429" y="6677"/>
                  </a:cubicBezTo>
                  <a:lnTo>
                    <a:pt x="325278" y="1642"/>
                  </a:lnTo>
                  <a:cubicBezTo>
                    <a:pt x="325922" y="1056"/>
                    <a:pt x="326606" y="504"/>
                    <a:pt x="327326" y="0"/>
                  </a:cubicBezTo>
                  <a:cubicBezTo>
                    <a:pt x="326776" y="679"/>
                    <a:pt x="326167" y="1319"/>
                    <a:pt x="325512" y="1916"/>
                  </a:cubicBezTo>
                  <a:lnTo>
                    <a:pt x="320072" y="7389"/>
                  </a:lnTo>
                  <a:cubicBezTo>
                    <a:pt x="315276" y="12041"/>
                    <a:pt x="308373" y="18828"/>
                    <a:pt x="299248" y="27859"/>
                  </a:cubicBezTo>
                  <a:cubicBezTo>
                    <a:pt x="274060" y="53238"/>
                    <a:pt x="250949" y="80352"/>
                    <a:pt x="230108" y="108972"/>
                  </a:cubicBezTo>
                  <a:cubicBezTo>
                    <a:pt x="216771" y="127033"/>
                    <a:pt x="203083" y="147284"/>
                    <a:pt x="188810" y="169505"/>
                  </a:cubicBezTo>
                  <a:cubicBezTo>
                    <a:pt x="174538" y="191727"/>
                    <a:pt x="159563" y="215426"/>
                    <a:pt x="144705" y="240986"/>
                  </a:cubicBezTo>
                  <a:cubicBezTo>
                    <a:pt x="128999" y="267607"/>
                    <a:pt x="114861" y="295017"/>
                    <a:pt x="102355" y="323084"/>
                  </a:cubicBezTo>
                  <a:cubicBezTo>
                    <a:pt x="95862" y="337697"/>
                    <a:pt x="90305" y="352858"/>
                    <a:pt x="84807" y="368347"/>
                  </a:cubicBezTo>
                  <a:cubicBezTo>
                    <a:pt x="79308" y="383837"/>
                    <a:pt x="73108" y="399599"/>
                    <a:pt x="67551" y="415472"/>
                  </a:cubicBezTo>
                  <a:cubicBezTo>
                    <a:pt x="45212" y="475124"/>
                    <a:pt x="26464" y="535899"/>
                    <a:pt x="11396" y="597511"/>
                  </a:cubicBezTo>
                  <a:cubicBezTo>
                    <a:pt x="-1882" y="654432"/>
                    <a:pt x="6073" y="629693"/>
                    <a:pt x="4903" y="673753"/>
                  </a:cubicBezTo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EF96FBFD-AFF3-B929-048A-9C011ACF1C39}"/>
                </a:ext>
              </a:extLst>
            </p:cNvPr>
            <p:cNvSpPr/>
            <p:nvPr/>
          </p:nvSpPr>
          <p:spPr>
            <a:xfrm>
              <a:off x="665314" y="5801579"/>
              <a:ext cx="44690" cy="200702"/>
            </a:xfrm>
            <a:custGeom>
              <a:avLst/>
              <a:gdLst>
                <a:gd name="connsiteX0" fmla="*/ 44690 w 44690"/>
                <a:gd name="connsiteY0" fmla="*/ 200703 h 200702"/>
                <a:gd name="connsiteX1" fmla="*/ 42175 w 44690"/>
                <a:gd name="connsiteY1" fmla="*/ 192986 h 200702"/>
                <a:gd name="connsiteX2" fmla="*/ 36793 w 44690"/>
                <a:gd name="connsiteY2" fmla="*/ 171585 h 200702"/>
                <a:gd name="connsiteX3" fmla="*/ 22345 w 44690"/>
                <a:gd name="connsiteY3" fmla="*/ 100434 h 200702"/>
                <a:gd name="connsiteX4" fmla="*/ 7195 w 44690"/>
                <a:gd name="connsiteY4" fmla="*/ 29282 h 200702"/>
                <a:gd name="connsiteX5" fmla="*/ 1755 w 44690"/>
                <a:gd name="connsiteY5" fmla="*/ 7936 h 200702"/>
                <a:gd name="connsiteX6" fmla="*/ 0 w 44690"/>
                <a:gd name="connsiteY6" fmla="*/ 0 h 200702"/>
                <a:gd name="connsiteX7" fmla="*/ 3100 w 44690"/>
                <a:gd name="connsiteY7" fmla="*/ 7553 h 200702"/>
                <a:gd name="connsiteX8" fmla="*/ 9710 w 44690"/>
                <a:gd name="connsiteY8" fmla="*/ 28680 h 200702"/>
                <a:gd name="connsiteX9" fmla="*/ 25913 w 44690"/>
                <a:gd name="connsiteY9" fmla="*/ 99831 h 200702"/>
                <a:gd name="connsiteX10" fmla="*/ 39308 w 44690"/>
                <a:gd name="connsiteY10" fmla="*/ 170983 h 200702"/>
                <a:gd name="connsiteX11" fmla="*/ 43579 w 44690"/>
                <a:gd name="connsiteY11" fmla="*/ 192602 h 200702"/>
                <a:gd name="connsiteX12" fmla="*/ 44690 w 44690"/>
                <a:gd name="connsiteY12" fmla="*/ 200703 h 20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690" h="200702">
                  <a:moveTo>
                    <a:pt x="44690" y="200703"/>
                  </a:moveTo>
                  <a:cubicBezTo>
                    <a:pt x="43561" y="198218"/>
                    <a:pt x="42719" y="195635"/>
                    <a:pt x="42175" y="192986"/>
                  </a:cubicBezTo>
                  <a:cubicBezTo>
                    <a:pt x="40712" y="188005"/>
                    <a:pt x="38899" y="180671"/>
                    <a:pt x="36793" y="171585"/>
                  </a:cubicBezTo>
                  <a:cubicBezTo>
                    <a:pt x="32582" y="153469"/>
                    <a:pt x="27668" y="128237"/>
                    <a:pt x="22345" y="100434"/>
                  </a:cubicBezTo>
                  <a:cubicBezTo>
                    <a:pt x="17022" y="72629"/>
                    <a:pt x="11699" y="47453"/>
                    <a:pt x="7195" y="29282"/>
                  </a:cubicBezTo>
                  <a:cubicBezTo>
                    <a:pt x="4972" y="20251"/>
                    <a:pt x="3100" y="12862"/>
                    <a:pt x="1755" y="7936"/>
                  </a:cubicBezTo>
                  <a:cubicBezTo>
                    <a:pt x="866" y="5358"/>
                    <a:pt x="281" y="2698"/>
                    <a:pt x="0" y="0"/>
                  </a:cubicBezTo>
                  <a:cubicBezTo>
                    <a:pt x="1328" y="2403"/>
                    <a:pt x="2363" y="4937"/>
                    <a:pt x="3100" y="7553"/>
                  </a:cubicBezTo>
                  <a:cubicBezTo>
                    <a:pt x="4855" y="12479"/>
                    <a:pt x="7136" y="19704"/>
                    <a:pt x="9710" y="28680"/>
                  </a:cubicBezTo>
                  <a:cubicBezTo>
                    <a:pt x="14858" y="46632"/>
                    <a:pt x="20590" y="71754"/>
                    <a:pt x="25913" y="99831"/>
                  </a:cubicBezTo>
                  <a:cubicBezTo>
                    <a:pt x="31236" y="127909"/>
                    <a:pt x="35740" y="152155"/>
                    <a:pt x="39308" y="170983"/>
                  </a:cubicBezTo>
                  <a:cubicBezTo>
                    <a:pt x="41005" y="179576"/>
                    <a:pt x="42409" y="186801"/>
                    <a:pt x="43579" y="192602"/>
                  </a:cubicBezTo>
                  <a:cubicBezTo>
                    <a:pt x="44292" y="195252"/>
                    <a:pt x="44666" y="197972"/>
                    <a:pt x="44690" y="20070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76FBE44A-A51F-3060-6D3A-70190C90C696}"/>
                </a:ext>
              </a:extLst>
            </p:cNvPr>
            <p:cNvSpPr/>
            <p:nvPr/>
          </p:nvSpPr>
          <p:spPr>
            <a:xfrm>
              <a:off x="710004" y="5940537"/>
              <a:ext cx="249538" cy="61744"/>
            </a:xfrm>
            <a:custGeom>
              <a:avLst/>
              <a:gdLst>
                <a:gd name="connsiteX0" fmla="*/ 249538 w 249538"/>
                <a:gd name="connsiteY0" fmla="*/ 62 h 61744"/>
                <a:gd name="connsiteX1" fmla="*/ 239536 w 249538"/>
                <a:gd name="connsiteY1" fmla="*/ 1868 h 61744"/>
                <a:gd name="connsiteX2" fmla="*/ 212277 w 249538"/>
                <a:gd name="connsiteY2" fmla="*/ 6301 h 61744"/>
                <a:gd name="connsiteX3" fmla="*/ 123248 w 249538"/>
                <a:gd name="connsiteY3" fmla="*/ 25293 h 61744"/>
                <a:gd name="connsiteX4" fmla="*/ 35857 w 249538"/>
                <a:gd name="connsiteY4" fmla="*/ 50196 h 61744"/>
                <a:gd name="connsiteX5" fmla="*/ 9710 w 249538"/>
                <a:gd name="connsiteY5" fmla="*/ 58844 h 61744"/>
                <a:gd name="connsiteX6" fmla="*/ 0 w 249538"/>
                <a:gd name="connsiteY6" fmla="*/ 61745 h 61744"/>
                <a:gd name="connsiteX7" fmla="*/ 9184 w 249538"/>
                <a:gd name="connsiteY7" fmla="*/ 57585 h 61744"/>
                <a:gd name="connsiteX8" fmla="*/ 34980 w 249538"/>
                <a:gd name="connsiteY8" fmla="*/ 47897 h 61744"/>
                <a:gd name="connsiteX9" fmla="*/ 122312 w 249538"/>
                <a:gd name="connsiteY9" fmla="*/ 22009 h 61744"/>
                <a:gd name="connsiteX10" fmla="*/ 211868 w 249538"/>
                <a:gd name="connsiteY10" fmla="*/ 3893 h 61744"/>
                <a:gd name="connsiteX11" fmla="*/ 239360 w 249538"/>
                <a:gd name="connsiteY11" fmla="*/ 554 h 61744"/>
                <a:gd name="connsiteX12" fmla="*/ 249538 w 249538"/>
                <a:gd name="connsiteY12" fmla="*/ 62 h 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538" h="61744">
                  <a:moveTo>
                    <a:pt x="249538" y="62"/>
                  </a:moveTo>
                  <a:cubicBezTo>
                    <a:pt x="246274" y="959"/>
                    <a:pt x="242923" y="1561"/>
                    <a:pt x="239536" y="1868"/>
                  </a:cubicBezTo>
                  <a:cubicBezTo>
                    <a:pt x="233101" y="2853"/>
                    <a:pt x="223742" y="4276"/>
                    <a:pt x="212277" y="6301"/>
                  </a:cubicBezTo>
                  <a:cubicBezTo>
                    <a:pt x="189289" y="10242"/>
                    <a:pt x="157760" y="16755"/>
                    <a:pt x="123248" y="25293"/>
                  </a:cubicBezTo>
                  <a:cubicBezTo>
                    <a:pt x="88736" y="33831"/>
                    <a:pt x="57968" y="43026"/>
                    <a:pt x="35857" y="50196"/>
                  </a:cubicBezTo>
                  <a:cubicBezTo>
                    <a:pt x="24743" y="53699"/>
                    <a:pt x="15852" y="56764"/>
                    <a:pt x="9710" y="58844"/>
                  </a:cubicBezTo>
                  <a:cubicBezTo>
                    <a:pt x="6581" y="60103"/>
                    <a:pt x="3328" y="61072"/>
                    <a:pt x="0" y="61745"/>
                  </a:cubicBezTo>
                  <a:cubicBezTo>
                    <a:pt x="2925" y="60108"/>
                    <a:pt x="5996" y="58713"/>
                    <a:pt x="9184" y="57585"/>
                  </a:cubicBezTo>
                  <a:cubicBezTo>
                    <a:pt x="15033" y="55122"/>
                    <a:pt x="23983" y="51674"/>
                    <a:pt x="34980" y="47897"/>
                  </a:cubicBezTo>
                  <a:cubicBezTo>
                    <a:pt x="56915" y="40126"/>
                    <a:pt x="87625" y="30657"/>
                    <a:pt x="122312" y="22009"/>
                  </a:cubicBezTo>
                  <a:cubicBezTo>
                    <a:pt x="151811" y="14533"/>
                    <a:pt x="181702" y="8485"/>
                    <a:pt x="211868" y="3893"/>
                  </a:cubicBezTo>
                  <a:cubicBezTo>
                    <a:pt x="223567" y="2141"/>
                    <a:pt x="232867" y="1101"/>
                    <a:pt x="239360" y="554"/>
                  </a:cubicBezTo>
                  <a:cubicBezTo>
                    <a:pt x="242724" y="62"/>
                    <a:pt x="246134" y="-103"/>
                    <a:pt x="249538" y="62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E95E7DF1-B91D-6398-E8E3-690BBCA8ABED}"/>
                </a:ext>
              </a:extLst>
            </p:cNvPr>
            <p:cNvSpPr/>
            <p:nvPr/>
          </p:nvSpPr>
          <p:spPr>
            <a:xfrm>
              <a:off x="469533" y="5979295"/>
              <a:ext cx="151033" cy="293692"/>
            </a:xfrm>
            <a:custGeom>
              <a:avLst/>
              <a:gdLst>
                <a:gd name="connsiteX0" fmla="*/ 151033 w 151033"/>
                <a:gd name="connsiteY0" fmla="*/ 293693 h 293692"/>
                <a:gd name="connsiteX1" fmla="*/ 149103 w 151033"/>
                <a:gd name="connsiteY1" fmla="*/ 290956 h 293692"/>
                <a:gd name="connsiteX2" fmla="*/ 144072 w 151033"/>
                <a:gd name="connsiteY2" fmla="*/ 282691 h 293692"/>
                <a:gd name="connsiteX3" fmla="*/ 126524 w 151033"/>
                <a:gd name="connsiteY3" fmla="*/ 251768 h 293692"/>
                <a:gd name="connsiteX4" fmla="*/ 73879 w 151033"/>
                <a:gd name="connsiteY4" fmla="*/ 147777 h 293692"/>
                <a:gd name="connsiteX5" fmla="*/ 21994 w 151033"/>
                <a:gd name="connsiteY5" fmla="*/ 43293 h 293692"/>
                <a:gd name="connsiteX6" fmla="*/ 5615 w 151033"/>
                <a:gd name="connsiteY6" fmla="*/ 11932 h 293692"/>
                <a:gd name="connsiteX7" fmla="*/ 1287 w 151033"/>
                <a:gd name="connsiteY7" fmla="*/ 3065 h 293692"/>
                <a:gd name="connsiteX8" fmla="*/ 0 w 151033"/>
                <a:gd name="connsiteY8" fmla="*/ 0 h 293692"/>
                <a:gd name="connsiteX9" fmla="*/ 1930 w 151033"/>
                <a:gd name="connsiteY9" fmla="*/ 2737 h 293692"/>
                <a:gd name="connsiteX10" fmla="*/ 6961 w 151033"/>
                <a:gd name="connsiteY10" fmla="*/ 11001 h 293692"/>
                <a:gd name="connsiteX11" fmla="*/ 24509 w 151033"/>
                <a:gd name="connsiteY11" fmla="*/ 41925 h 293692"/>
                <a:gd name="connsiteX12" fmla="*/ 77155 w 151033"/>
                <a:gd name="connsiteY12" fmla="*/ 145916 h 293692"/>
                <a:gd name="connsiteX13" fmla="*/ 129039 w 151033"/>
                <a:gd name="connsiteY13" fmla="*/ 250400 h 293692"/>
                <a:gd name="connsiteX14" fmla="*/ 145418 w 151033"/>
                <a:gd name="connsiteY14" fmla="*/ 281761 h 293692"/>
                <a:gd name="connsiteX15" fmla="*/ 149863 w 151033"/>
                <a:gd name="connsiteY15" fmla="*/ 290354 h 293692"/>
                <a:gd name="connsiteX16" fmla="*/ 151033 w 151033"/>
                <a:gd name="connsiteY16" fmla="*/ 293693 h 293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1033" h="293692">
                  <a:moveTo>
                    <a:pt x="151033" y="293693"/>
                  </a:moveTo>
                  <a:cubicBezTo>
                    <a:pt x="150255" y="292872"/>
                    <a:pt x="149606" y="291947"/>
                    <a:pt x="149103" y="290956"/>
                  </a:cubicBezTo>
                  <a:cubicBezTo>
                    <a:pt x="147699" y="288712"/>
                    <a:pt x="146061" y="285975"/>
                    <a:pt x="144072" y="282691"/>
                  </a:cubicBezTo>
                  <a:cubicBezTo>
                    <a:pt x="139744" y="275467"/>
                    <a:pt x="133836" y="264904"/>
                    <a:pt x="126524" y="251768"/>
                  </a:cubicBezTo>
                  <a:cubicBezTo>
                    <a:pt x="112193" y="225496"/>
                    <a:pt x="93591" y="188607"/>
                    <a:pt x="73879" y="147777"/>
                  </a:cubicBezTo>
                  <a:cubicBezTo>
                    <a:pt x="54166" y="106947"/>
                    <a:pt x="35740" y="69783"/>
                    <a:pt x="21994" y="43293"/>
                  </a:cubicBezTo>
                  <a:cubicBezTo>
                    <a:pt x="15267" y="30376"/>
                    <a:pt x="9769" y="19758"/>
                    <a:pt x="5615" y="11932"/>
                  </a:cubicBezTo>
                  <a:lnTo>
                    <a:pt x="1287" y="3065"/>
                  </a:lnTo>
                  <a:cubicBezTo>
                    <a:pt x="684" y="2113"/>
                    <a:pt x="252" y="1078"/>
                    <a:pt x="0" y="0"/>
                  </a:cubicBezTo>
                  <a:cubicBezTo>
                    <a:pt x="755" y="843"/>
                    <a:pt x="1398" y="1757"/>
                    <a:pt x="1930" y="2737"/>
                  </a:cubicBezTo>
                  <a:cubicBezTo>
                    <a:pt x="3276" y="4981"/>
                    <a:pt x="4914" y="7717"/>
                    <a:pt x="6961" y="11001"/>
                  </a:cubicBezTo>
                  <a:cubicBezTo>
                    <a:pt x="11231" y="18226"/>
                    <a:pt x="17197" y="28789"/>
                    <a:pt x="24509" y="41925"/>
                  </a:cubicBezTo>
                  <a:cubicBezTo>
                    <a:pt x="38899" y="68196"/>
                    <a:pt x="57500" y="105086"/>
                    <a:pt x="77155" y="145916"/>
                  </a:cubicBezTo>
                  <a:cubicBezTo>
                    <a:pt x="96809" y="186746"/>
                    <a:pt x="115352" y="223909"/>
                    <a:pt x="129039" y="250400"/>
                  </a:cubicBezTo>
                  <a:cubicBezTo>
                    <a:pt x="135825" y="263316"/>
                    <a:pt x="141323" y="273880"/>
                    <a:pt x="145418" y="281761"/>
                  </a:cubicBezTo>
                  <a:cubicBezTo>
                    <a:pt x="147231" y="285209"/>
                    <a:pt x="148635" y="288001"/>
                    <a:pt x="149863" y="290354"/>
                  </a:cubicBezTo>
                  <a:cubicBezTo>
                    <a:pt x="150413" y="291410"/>
                    <a:pt x="150811" y="292532"/>
                    <a:pt x="151033" y="293693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6FB43A79-10B3-7248-5B1D-57936D4867CA}"/>
                </a:ext>
              </a:extLst>
            </p:cNvPr>
            <p:cNvSpPr/>
            <p:nvPr/>
          </p:nvSpPr>
          <p:spPr>
            <a:xfrm>
              <a:off x="620624" y="6148362"/>
              <a:ext cx="328155" cy="124625"/>
            </a:xfrm>
            <a:custGeom>
              <a:avLst/>
              <a:gdLst>
                <a:gd name="connsiteX0" fmla="*/ 328155 w 328155"/>
                <a:gd name="connsiteY0" fmla="*/ 0 h 124625"/>
                <a:gd name="connsiteX1" fmla="*/ 324938 w 328155"/>
                <a:gd name="connsiteY1" fmla="*/ 1532 h 124625"/>
                <a:gd name="connsiteX2" fmla="*/ 315403 w 328155"/>
                <a:gd name="connsiteY2" fmla="*/ 5254 h 124625"/>
                <a:gd name="connsiteX3" fmla="*/ 280307 w 328155"/>
                <a:gd name="connsiteY3" fmla="*/ 18664 h 124625"/>
                <a:gd name="connsiteX4" fmla="*/ 164838 w 328155"/>
                <a:gd name="connsiteY4" fmla="*/ 63927 h 124625"/>
                <a:gd name="connsiteX5" fmla="*/ 48843 w 328155"/>
                <a:gd name="connsiteY5" fmla="*/ 108260 h 124625"/>
                <a:gd name="connsiteX6" fmla="*/ 13278 w 328155"/>
                <a:gd name="connsiteY6" fmla="*/ 120630 h 124625"/>
                <a:gd name="connsiteX7" fmla="*/ 3510 w 328155"/>
                <a:gd name="connsiteY7" fmla="*/ 123749 h 124625"/>
                <a:gd name="connsiteX8" fmla="*/ 0 w 328155"/>
                <a:gd name="connsiteY8" fmla="*/ 124625 h 124625"/>
                <a:gd name="connsiteX9" fmla="*/ 3217 w 328155"/>
                <a:gd name="connsiteY9" fmla="*/ 123093 h 124625"/>
                <a:gd name="connsiteX10" fmla="*/ 12752 w 328155"/>
                <a:gd name="connsiteY10" fmla="*/ 119371 h 124625"/>
                <a:gd name="connsiteX11" fmla="*/ 47849 w 328155"/>
                <a:gd name="connsiteY11" fmla="*/ 105962 h 124625"/>
                <a:gd name="connsiteX12" fmla="*/ 163376 w 328155"/>
                <a:gd name="connsiteY12" fmla="*/ 60753 h 124625"/>
                <a:gd name="connsiteX13" fmla="*/ 279312 w 328155"/>
                <a:gd name="connsiteY13" fmla="*/ 16420 h 124625"/>
                <a:gd name="connsiteX14" fmla="*/ 314936 w 328155"/>
                <a:gd name="connsiteY14" fmla="*/ 4050 h 124625"/>
                <a:gd name="connsiteX15" fmla="*/ 324704 w 328155"/>
                <a:gd name="connsiteY15" fmla="*/ 876 h 124625"/>
                <a:gd name="connsiteX16" fmla="*/ 328155 w 328155"/>
                <a:gd name="connsiteY16" fmla="*/ 0 h 12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8155" h="124625">
                  <a:moveTo>
                    <a:pt x="328155" y="0"/>
                  </a:moveTo>
                  <a:cubicBezTo>
                    <a:pt x="327173" y="662"/>
                    <a:pt x="326090" y="1182"/>
                    <a:pt x="324938" y="1532"/>
                  </a:cubicBezTo>
                  <a:lnTo>
                    <a:pt x="315403" y="5254"/>
                  </a:lnTo>
                  <a:cubicBezTo>
                    <a:pt x="306629" y="8648"/>
                    <a:pt x="294755" y="13190"/>
                    <a:pt x="280307" y="18664"/>
                  </a:cubicBezTo>
                  <a:cubicBezTo>
                    <a:pt x="250650" y="29993"/>
                    <a:pt x="210113" y="46030"/>
                    <a:pt x="164838" y="63927"/>
                  </a:cubicBezTo>
                  <a:cubicBezTo>
                    <a:pt x="119563" y="81825"/>
                    <a:pt x="78792" y="97478"/>
                    <a:pt x="48843" y="108260"/>
                  </a:cubicBezTo>
                  <a:cubicBezTo>
                    <a:pt x="33868" y="113733"/>
                    <a:pt x="21702" y="117838"/>
                    <a:pt x="13278" y="120630"/>
                  </a:cubicBezTo>
                  <a:lnTo>
                    <a:pt x="3510" y="123749"/>
                  </a:lnTo>
                  <a:cubicBezTo>
                    <a:pt x="2393" y="124204"/>
                    <a:pt x="1211" y="124499"/>
                    <a:pt x="0" y="124625"/>
                  </a:cubicBezTo>
                  <a:cubicBezTo>
                    <a:pt x="1012" y="124007"/>
                    <a:pt x="2088" y="123492"/>
                    <a:pt x="3217" y="123093"/>
                  </a:cubicBezTo>
                  <a:lnTo>
                    <a:pt x="12752" y="119371"/>
                  </a:lnTo>
                  <a:lnTo>
                    <a:pt x="47849" y="105962"/>
                  </a:lnTo>
                  <a:cubicBezTo>
                    <a:pt x="77505" y="94632"/>
                    <a:pt x="118042" y="78595"/>
                    <a:pt x="163376" y="60753"/>
                  </a:cubicBezTo>
                  <a:cubicBezTo>
                    <a:pt x="208709" y="42910"/>
                    <a:pt x="249421" y="27147"/>
                    <a:pt x="279312" y="16420"/>
                  </a:cubicBezTo>
                  <a:cubicBezTo>
                    <a:pt x="294287" y="10946"/>
                    <a:pt x="306454" y="6787"/>
                    <a:pt x="314936" y="4050"/>
                  </a:cubicBezTo>
                  <a:lnTo>
                    <a:pt x="324704" y="876"/>
                  </a:lnTo>
                  <a:cubicBezTo>
                    <a:pt x="325810" y="454"/>
                    <a:pt x="326974" y="159"/>
                    <a:pt x="328155" y="0"/>
                  </a:cubicBezTo>
                  <a:close/>
                </a:path>
              </a:pathLst>
            </a:custGeom>
            <a:solidFill>
              <a:srgbClr val="E0E0E0"/>
            </a:solidFill>
            <a:ln w="60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209530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6E83B685-4022-4E87-A193-DAB86895EF72}"/>
              </a:ext>
            </a:extLst>
          </p:cNvPr>
          <p:cNvSpPr/>
          <p:nvPr/>
        </p:nvSpPr>
        <p:spPr>
          <a:xfrm rot="16200000">
            <a:off x="352841" y="4677895"/>
            <a:ext cx="1854218" cy="2569080"/>
          </a:xfrm>
          <a:custGeom>
            <a:avLst/>
            <a:gdLst>
              <a:gd name="connsiteX0" fmla="*/ 0 w 1854218"/>
              <a:gd name="connsiteY0" fmla="*/ 0 h 2569080"/>
              <a:gd name="connsiteX1" fmla="*/ 1763137 w 1854218"/>
              <a:gd name="connsiteY1" fmla="*/ 0 h 2569080"/>
              <a:gd name="connsiteX2" fmla="*/ 1777132 w 1854218"/>
              <a:gd name="connsiteY2" fmla="*/ 34695 h 2569080"/>
              <a:gd name="connsiteX3" fmla="*/ 1534375 w 1854218"/>
              <a:gd name="connsiteY3" fmla="*/ 1595779 h 2569080"/>
              <a:gd name="connsiteX4" fmla="*/ 11518 w 1854218"/>
              <a:gd name="connsiteY4" fmla="*/ 2567520 h 2569080"/>
              <a:gd name="connsiteX5" fmla="*/ 0 w 1854218"/>
              <a:gd name="connsiteY5" fmla="*/ 2569080 h 256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54218" h="2569080">
                <a:moveTo>
                  <a:pt x="0" y="0"/>
                </a:moveTo>
                <a:lnTo>
                  <a:pt x="1763137" y="0"/>
                </a:lnTo>
                <a:lnTo>
                  <a:pt x="1777132" y="34695"/>
                </a:lnTo>
                <a:cubicBezTo>
                  <a:pt x="1940769" y="549398"/>
                  <a:pt x="1836496" y="1144056"/>
                  <a:pt x="1534375" y="1595779"/>
                </a:cubicBezTo>
                <a:cubicBezTo>
                  <a:pt x="1189094" y="2112035"/>
                  <a:pt x="615117" y="2446171"/>
                  <a:pt x="11518" y="2567520"/>
                </a:cubicBezTo>
                <a:lnTo>
                  <a:pt x="0" y="2569080"/>
                </a:lnTo>
                <a:close/>
              </a:path>
            </a:pathLst>
          </a:custGeom>
          <a:solidFill>
            <a:srgbClr val="002E3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Freeform 5">
            <a:extLst>
              <a:ext uri="{FF2B5EF4-FFF2-40B4-BE49-F238E27FC236}">
                <a16:creationId xmlns:a16="http://schemas.microsoft.com/office/drawing/2014/main" id="{6DCEA173-CF7A-4C99-8F5D-D35928904C9C}"/>
              </a:ext>
            </a:extLst>
          </p:cNvPr>
          <p:cNvSpPr>
            <a:spLocks/>
          </p:cNvSpPr>
          <p:nvPr/>
        </p:nvSpPr>
        <p:spPr bwMode="auto">
          <a:xfrm>
            <a:off x="7039429" y="2571213"/>
            <a:ext cx="5152571" cy="4286788"/>
          </a:xfrm>
          <a:custGeom>
            <a:avLst/>
            <a:gdLst>
              <a:gd name="T0" fmla="*/ 1301 w 1301"/>
              <a:gd name="T1" fmla="*/ 0 h 1083"/>
              <a:gd name="T2" fmla="*/ 1301 w 1301"/>
              <a:gd name="T3" fmla="*/ 1083 h 1083"/>
              <a:gd name="T4" fmla="*/ 0 w 1301"/>
              <a:gd name="T5" fmla="*/ 1083 h 1083"/>
              <a:gd name="T6" fmla="*/ 344 w 1301"/>
              <a:gd name="T7" fmla="*/ 897 h 1083"/>
              <a:gd name="T8" fmla="*/ 1047 w 1301"/>
              <a:gd name="T9" fmla="*/ 467 h 1083"/>
              <a:gd name="T10" fmla="*/ 1301 w 1301"/>
              <a:gd name="T11" fmla="*/ 0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1" h="1083">
                <a:moveTo>
                  <a:pt x="1301" y="0"/>
                </a:moveTo>
                <a:cubicBezTo>
                  <a:pt x="1301" y="1083"/>
                  <a:pt x="1301" y="1083"/>
                  <a:pt x="1301" y="1083"/>
                </a:cubicBezTo>
                <a:cubicBezTo>
                  <a:pt x="0" y="1083"/>
                  <a:pt x="0" y="1083"/>
                  <a:pt x="0" y="1083"/>
                </a:cubicBezTo>
                <a:cubicBezTo>
                  <a:pt x="0" y="1083"/>
                  <a:pt x="94" y="911"/>
                  <a:pt x="344" y="897"/>
                </a:cubicBezTo>
                <a:cubicBezTo>
                  <a:pt x="594" y="882"/>
                  <a:pt x="900" y="894"/>
                  <a:pt x="1047" y="467"/>
                </a:cubicBezTo>
                <a:cubicBezTo>
                  <a:pt x="1194" y="41"/>
                  <a:pt x="1177" y="113"/>
                  <a:pt x="1301" y="0"/>
                </a:cubicBezTo>
                <a:close/>
              </a:path>
            </a:pathLst>
          </a:custGeom>
          <a:solidFill>
            <a:srgbClr val="002E35"/>
          </a:solidFill>
          <a:ln w="11113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quipExtended-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les and Responsibilities:</a:t>
            </a:r>
            <a:endParaRPr lang="en-ID" sz="66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4</a:t>
            </a:fld>
            <a:endParaRPr lang="en-ID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527956" y="1759302"/>
            <a:ext cx="10821654" cy="1970404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89CA40A-1DC4-4BA8-AECC-E13D8E1380ED}"/>
              </a:ext>
            </a:extLst>
          </p:cNvPr>
          <p:cNvSpPr/>
          <p:nvPr/>
        </p:nvSpPr>
        <p:spPr>
          <a:xfrm>
            <a:off x="9075963" y="2046190"/>
            <a:ext cx="2098345" cy="1306800"/>
          </a:xfrm>
          <a:prstGeom prst="roundRect">
            <a:avLst>
              <a:gd name="adj" fmla="val 5402"/>
            </a:avLst>
          </a:prstGeom>
          <a:solidFill>
            <a:srgbClr val="287192"/>
          </a:solidFill>
          <a:effectLst/>
        </p:spPr>
        <p:txBody>
          <a:bodyPr wrap="square" lIns="360000" tIns="72000" rIns="72000" bIns="72000" anchor="ctr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NADUN</a:t>
            </a:r>
          </a:p>
        </p:txBody>
      </p: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68BA9472-27D7-4B01-A419-22C6DB2A3E2D}"/>
              </a:ext>
            </a:extLst>
          </p:cNvPr>
          <p:cNvGrpSpPr/>
          <p:nvPr/>
        </p:nvGrpSpPr>
        <p:grpSpPr>
          <a:xfrm>
            <a:off x="842390" y="2187988"/>
            <a:ext cx="414176" cy="412095"/>
            <a:chOff x="5594351" y="2909888"/>
            <a:chExt cx="315912" cy="314325"/>
          </a:xfrm>
        </p:grpSpPr>
        <p:sp>
          <p:nvSpPr>
            <p:cNvPr id="320" name="Freeform 10">
              <a:extLst>
                <a:ext uri="{FF2B5EF4-FFF2-40B4-BE49-F238E27FC236}">
                  <a16:creationId xmlns:a16="http://schemas.microsoft.com/office/drawing/2014/main" id="{B560DA01-2126-4EED-A2C9-6B0339A2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1" name="Freeform 11">
              <a:extLst>
                <a:ext uri="{FF2B5EF4-FFF2-40B4-BE49-F238E27FC236}">
                  <a16:creationId xmlns:a16="http://schemas.microsoft.com/office/drawing/2014/main" id="{A17E7A14-32FD-448E-ACD7-0EF0C756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733F9C-1259-4D3C-A162-8E22814915B1}"/>
              </a:ext>
            </a:extLst>
          </p:cNvPr>
          <p:cNvCxnSpPr>
            <a:cxnSpLocks/>
          </p:cNvCxnSpPr>
          <p:nvPr/>
        </p:nvCxnSpPr>
        <p:spPr>
          <a:xfrm>
            <a:off x="1492114" y="2084602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D3E971BF-F2F9-431E-BBB6-5DFAB665741A}"/>
              </a:ext>
            </a:extLst>
          </p:cNvPr>
          <p:cNvGrpSpPr/>
          <p:nvPr/>
        </p:nvGrpSpPr>
        <p:grpSpPr>
          <a:xfrm>
            <a:off x="1550389" y="2061146"/>
            <a:ext cx="5489040" cy="1488998"/>
            <a:chOff x="1550388" y="1858596"/>
            <a:chExt cx="4545611" cy="148899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DABC21D-2A36-438D-8324-067E54C82E12}"/>
                </a:ext>
              </a:extLst>
            </p:cNvPr>
            <p:cNvSpPr txBox="1"/>
            <p:nvPr/>
          </p:nvSpPr>
          <p:spPr>
            <a:xfrm>
              <a:off x="1550388" y="1858596"/>
              <a:ext cx="45456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DUCT OWNER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395D2DDE-059E-41A2-9A95-F92C251588DC}"/>
                </a:ext>
              </a:extLst>
            </p:cNvPr>
            <p:cNvSpPr txBox="1"/>
            <p:nvPr/>
          </p:nvSpPr>
          <p:spPr>
            <a:xfrm>
              <a:off x="1928116" y="2166373"/>
              <a:ext cx="4167883" cy="1181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manage and prioritize the product backlog.</a:t>
              </a:r>
              <a:endParaRPr lang="en-IN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serve as a liaison between the product, and its development.</a:t>
              </a:r>
            </a:p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motivate the team members, and be accessible to them.</a:t>
              </a:r>
              <a:endParaRPr lang="en-IN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3E852751-62BC-4B50-A82E-B7F750F69661}"/>
              </a:ext>
            </a:extLst>
          </p:cNvPr>
          <p:cNvSpPr/>
          <p:nvPr/>
        </p:nvSpPr>
        <p:spPr>
          <a:xfrm>
            <a:off x="495828" y="4466923"/>
            <a:ext cx="10785100" cy="1939751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47" name="Rectangle: Rounded Corners 346">
            <a:extLst>
              <a:ext uri="{FF2B5EF4-FFF2-40B4-BE49-F238E27FC236}">
                <a16:creationId xmlns:a16="http://schemas.microsoft.com/office/drawing/2014/main" id="{E886E0C4-4865-4BBA-BDBC-A1068BAEDFF7}"/>
              </a:ext>
            </a:extLst>
          </p:cNvPr>
          <p:cNvSpPr/>
          <p:nvPr/>
        </p:nvSpPr>
        <p:spPr>
          <a:xfrm>
            <a:off x="9075963" y="4822425"/>
            <a:ext cx="2098345" cy="1306800"/>
          </a:xfrm>
          <a:prstGeom prst="roundRect">
            <a:avLst>
              <a:gd name="adj" fmla="val 5402"/>
            </a:avLst>
          </a:prstGeom>
          <a:solidFill>
            <a:srgbClr val="287192"/>
          </a:solidFill>
          <a:effectLst/>
        </p:spPr>
        <p:txBody>
          <a:bodyPr wrap="square" lIns="360000" tIns="72000" rIns="72000" bIns="72000" anchor="ctr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HELISHA</a:t>
            </a:r>
          </a:p>
        </p:txBody>
      </p: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944328CB-A6BE-4EC7-A7AC-18A932151A94}"/>
              </a:ext>
            </a:extLst>
          </p:cNvPr>
          <p:cNvGrpSpPr/>
          <p:nvPr/>
        </p:nvGrpSpPr>
        <p:grpSpPr>
          <a:xfrm>
            <a:off x="836127" y="4826892"/>
            <a:ext cx="414176" cy="412095"/>
            <a:chOff x="5594351" y="2909888"/>
            <a:chExt cx="315912" cy="314325"/>
          </a:xfrm>
        </p:grpSpPr>
        <p:sp>
          <p:nvSpPr>
            <p:cNvPr id="354" name="Freeform 10">
              <a:extLst>
                <a:ext uri="{FF2B5EF4-FFF2-40B4-BE49-F238E27FC236}">
                  <a16:creationId xmlns:a16="http://schemas.microsoft.com/office/drawing/2014/main" id="{26042AD6-8A1F-4BE4-BBF0-B63E6E18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5" name="Freeform 11">
              <a:extLst>
                <a:ext uri="{FF2B5EF4-FFF2-40B4-BE49-F238E27FC236}">
                  <a16:creationId xmlns:a16="http://schemas.microsoft.com/office/drawing/2014/main" id="{E994337C-4208-47C0-A986-C02C6B465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2153699D-4DCB-43B7-B252-9334FE6C7C1E}"/>
              </a:ext>
            </a:extLst>
          </p:cNvPr>
          <p:cNvCxnSpPr>
            <a:cxnSpLocks/>
          </p:cNvCxnSpPr>
          <p:nvPr/>
        </p:nvCxnSpPr>
        <p:spPr>
          <a:xfrm>
            <a:off x="1408068" y="4793396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66485EA-71DA-4D54-B94F-72A7EB61DA2E}"/>
              </a:ext>
            </a:extLst>
          </p:cNvPr>
          <p:cNvGrpSpPr/>
          <p:nvPr/>
        </p:nvGrpSpPr>
        <p:grpSpPr>
          <a:xfrm>
            <a:off x="1502662" y="4690326"/>
            <a:ext cx="5086145" cy="1474891"/>
            <a:chOff x="1550388" y="1858596"/>
            <a:chExt cx="4545611" cy="1474891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0E0C6D3-5402-4D48-BB5D-AEC32323DFD1}"/>
                </a:ext>
              </a:extLst>
            </p:cNvPr>
            <p:cNvSpPr txBox="1"/>
            <p:nvPr/>
          </p:nvSpPr>
          <p:spPr>
            <a:xfrm>
              <a:off x="1550388" y="1858596"/>
              <a:ext cx="45456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CRUM MASTER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70C0F15-9C03-4D40-95A7-059904BE4151}"/>
                </a:ext>
              </a:extLst>
            </p:cNvPr>
            <p:cNvSpPr txBox="1"/>
            <p:nvPr/>
          </p:nvSpPr>
          <p:spPr>
            <a:xfrm>
              <a:off x="1928116" y="2166373"/>
              <a:ext cx="4167883" cy="11671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plan, and organize stand-up group meetings, on daily basis. </a:t>
              </a:r>
              <a:endParaRPr lang="en-US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50000"/>
                </a:lnSpc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assist the product owner with the product backlog.</a:t>
              </a:r>
            </a:p>
            <a:p>
              <a:pPr marL="285750" indent="-285750">
                <a:lnSpc>
                  <a:spcPct val="150000"/>
                </a:lnSpc>
                <a:buFont typeface="Courier New" panose="02070309020205020404" pitchFamily="49" charset="0"/>
                <a:buChar char="o"/>
              </a:pPr>
              <a:r>
                <a:rPr lang="en-US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ensure good interaction between the development team and the product owner. </a:t>
              </a:r>
              <a:endParaRPr lang="en-US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235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6E83B685-4022-4E87-A193-DAB86895EF72}"/>
              </a:ext>
            </a:extLst>
          </p:cNvPr>
          <p:cNvSpPr/>
          <p:nvPr/>
        </p:nvSpPr>
        <p:spPr>
          <a:xfrm rot="16200000">
            <a:off x="352841" y="4677895"/>
            <a:ext cx="1854218" cy="2569080"/>
          </a:xfrm>
          <a:custGeom>
            <a:avLst/>
            <a:gdLst>
              <a:gd name="connsiteX0" fmla="*/ 0 w 1854218"/>
              <a:gd name="connsiteY0" fmla="*/ 0 h 2569080"/>
              <a:gd name="connsiteX1" fmla="*/ 1763137 w 1854218"/>
              <a:gd name="connsiteY1" fmla="*/ 0 h 2569080"/>
              <a:gd name="connsiteX2" fmla="*/ 1777132 w 1854218"/>
              <a:gd name="connsiteY2" fmla="*/ 34695 h 2569080"/>
              <a:gd name="connsiteX3" fmla="*/ 1534375 w 1854218"/>
              <a:gd name="connsiteY3" fmla="*/ 1595779 h 2569080"/>
              <a:gd name="connsiteX4" fmla="*/ 11518 w 1854218"/>
              <a:gd name="connsiteY4" fmla="*/ 2567520 h 2569080"/>
              <a:gd name="connsiteX5" fmla="*/ 0 w 1854218"/>
              <a:gd name="connsiteY5" fmla="*/ 2569080 h 256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54218" h="2569080">
                <a:moveTo>
                  <a:pt x="0" y="0"/>
                </a:moveTo>
                <a:lnTo>
                  <a:pt x="1763137" y="0"/>
                </a:lnTo>
                <a:lnTo>
                  <a:pt x="1777132" y="34695"/>
                </a:lnTo>
                <a:cubicBezTo>
                  <a:pt x="1940769" y="549398"/>
                  <a:pt x="1836496" y="1144056"/>
                  <a:pt x="1534375" y="1595779"/>
                </a:cubicBezTo>
                <a:cubicBezTo>
                  <a:pt x="1189094" y="2112035"/>
                  <a:pt x="615117" y="2446171"/>
                  <a:pt x="11518" y="2567520"/>
                </a:cubicBezTo>
                <a:lnTo>
                  <a:pt x="0" y="2569080"/>
                </a:lnTo>
                <a:close/>
              </a:path>
            </a:pathLst>
          </a:custGeom>
          <a:solidFill>
            <a:srgbClr val="002E3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Freeform 5">
            <a:extLst>
              <a:ext uri="{FF2B5EF4-FFF2-40B4-BE49-F238E27FC236}">
                <a16:creationId xmlns:a16="http://schemas.microsoft.com/office/drawing/2014/main" id="{6DCEA173-CF7A-4C99-8F5D-D35928904C9C}"/>
              </a:ext>
            </a:extLst>
          </p:cNvPr>
          <p:cNvSpPr>
            <a:spLocks/>
          </p:cNvSpPr>
          <p:nvPr/>
        </p:nvSpPr>
        <p:spPr bwMode="auto">
          <a:xfrm>
            <a:off x="7039429" y="2571213"/>
            <a:ext cx="5152571" cy="4286788"/>
          </a:xfrm>
          <a:custGeom>
            <a:avLst/>
            <a:gdLst>
              <a:gd name="T0" fmla="*/ 1301 w 1301"/>
              <a:gd name="T1" fmla="*/ 0 h 1083"/>
              <a:gd name="T2" fmla="*/ 1301 w 1301"/>
              <a:gd name="T3" fmla="*/ 1083 h 1083"/>
              <a:gd name="T4" fmla="*/ 0 w 1301"/>
              <a:gd name="T5" fmla="*/ 1083 h 1083"/>
              <a:gd name="T6" fmla="*/ 344 w 1301"/>
              <a:gd name="T7" fmla="*/ 897 h 1083"/>
              <a:gd name="T8" fmla="*/ 1047 w 1301"/>
              <a:gd name="T9" fmla="*/ 467 h 1083"/>
              <a:gd name="T10" fmla="*/ 1301 w 1301"/>
              <a:gd name="T11" fmla="*/ 0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1" h="1083">
                <a:moveTo>
                  <a:pt x="1301" y="0"/>
                </a:moveTo>
                <a:cubicBezTo>
                  <a:pt x="1301" y="1083"/>
                  <a:pt x="1301" y="1083"/>
                  <a:pt x="1301" y="1083"/>
                </a:cubicBezTo>
                <a:cubicBezTo>
                  <a:pt x="0" y="1083"/>
                  <a:pt x="0" y="1083"/>
                  <a:pt x="0" y="1083"/>
                </a:cubicBezTo>
                <a:cubicBezTo>
                  <a:pt x="0" y="1083"/>
                  <a:pt x="94" y="911"/>
                  <a:pt x="344" y="897"/>
                </a:cubicBezTo>
                <a:cubicBezTo>
                  <a:pt x="594" y="882"/>
                  <a:pt x="900" y="894"/>
                  <a:pt x="1047" y="467"/>
                </a:cubicBezTo>
                <a:cubicBezTo>
                  <a:pt x="1194" y="41"/>
                  <a:pt x="1177" y="113"/>
                  <a:pt x="1301" y="0"/>
                </a:cubicBezTo>
                <a:close/>
              </a:path>
            </a:pathLst>
          </a:custGeom>
          <a:solidFill>
            <a:srgbClr val="002E35"/>
          </a:solidFill>
          <a:ln w="11113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quipExtended-Ligh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5</a:t>
            </a:fld>
            <a:endParaRPr lang="en-ID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601919" y="804888"/>
            <a:ext cx="8108043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89CA40A-1DC4-4BA8-AECC-E13D8E1380ED}"/>
              </a:ext>
            </a:extLst>
          </p:cNvPr>
          <p:cNvSpPr/>
          <p:nvPr/>
        </p:nvSpPr>
        <p:spPr>
          <a:xfrm>
            <a:off x="6977618" y="824318"/>
            <a:ext cx="2098345" cy="1306800"/>
          </a:xfrm>
          <a:prstGeom prst="roundRect">
            <a:avLst>
              <a:gd name="adj" fmla="val 5402"/>
            </a:avLst>
          </a:prstGeom>
          <a:solidFill>
            <a:srgbClr val="287192"/>
          </a:solidFill>
          <a:effectLst/>
        </p:spPr>
        <p:txBody>
          <a:bodyPr wrap="square" lIns="360000" tIns="72000" rIns="72000" bIns="72000" anchor="ctr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JAHANVI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C3A725-023C-4048-ADD4-78D9F07BC406}"/>
              </a:ext>
            </a:extLst>
          </p:cNvPr>
          <p:cNvGrpSpPr/>
          <p:nvPr/>
        </p:nvGrpSpPr>
        <p:grpSpPr>
          <a:xfrm>
            <a:off x="7199051" y="629417"/>
            <a:ext cx="196172" cy="425333"/>
            <a:chOff x="7405709" y="1520658"/>
            <a:chExt cx="196172" cy="425333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78F1D30-1190-47E9-AE25-179038F8D3D8}"/>
                </a:ext>
              </a:extLst>
            </p:cNvPr>
            <p:cNvSpPr/>
            <p:nvPr/>
          </p:nvSpPr>
          <p:spPr>
            <a:xfrm>
              <a:off x="7405709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3F1472AA-51D5-4C9A-8062-0C5317DB3427}"/>
                </a:ext>
              </a:extLst>
            </p:cNvPr>
            <p:cNvSpPr/>
            <p:nvPr/>
          </p:nvSpPr>
          <p:spPr>
            <a:xfrm rot="5400000">
              <a:off x="732030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39F6281-1904-4E29-A697-1B319413BD01}"/>
              </a:ext>
            </a:extLst>
          </p:cNvPr>
          <p:cNvGrpSpPr/>
          <p:nvPr/>
        </p:nvGrpSpPr>
        <p:grpSpPr>
          <a:xfrm>
            <a:off x="8658357" y="611650"/>
            <a:ext cx="196172" cy="425333"/>
            <a:chOff x="11068637" y="1520658"/>
            <a:chExt cx="196172" cy="425333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C4CF9A9D-CF66-4A91-A8BB-0924D3462543}"/>
                </a:ext>
              </a:extLst>
            </p:cNvPr>
            <p:cNvSpPr/>
            <p:nvPr/>
          </p:nvSpPr>
          <p:spPr>
            <a:xfrm>
              <a:off x="11068637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1ABEA543-6321-4B00-83CC-27349F7BEA95}"/>
                </a:ext>
              </a:extLst>
            </p:cNvPr>
            <p:cNvSpPr/>
            <p:nvPr/>
          </p:nvSpPr>
          <p:spPr>
            <a:xfrm rot="5400000">
              <a:off x="1098447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68BA9472-27D7-4B01-A419-22C6DB2A3E2D}"/>
              </a:ext>
            </a:extLst>
          </p:cNvPr>
          <p:cNvGrpSpPr/>
          <p:nvPr/>
        </p:nvGrpSpPr>
        <p:grpSpPr>
          <a:xfrm>
            <a:off x="1288008" y="1272397"/>
            <a:ext cx="414176" cy="412095"/>
            <a:chOff x="5594351" y="2909888"/>
            <a:chExt cx="315912" cy="314325"/>
          </a:xfrm>
        </p:grpSpPr>
        <p:sp>
          <p:nvSpPr>
            <p:cNvPr id="320" name="Freeform 10">
              <a:extLst>
                <a:ext uri="{FF2B5EF4-FFF2-40B4-BE49-F238E27FC236}">
                  <a16:creationId xmlns:a16="http://schemas.microsoft.com/office/drawing/2014/main" id="{B560DA01-2126-4EED-A2C9-6B0339A2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1" name="Freeform 11">
              <a:extLst>
                <a:ext uri="{FF2B5EF4-FFF2-40B4-BE49-F238E27FC236}">
                  <a16:creationId xmlns:a16="http://schemas.microsoft.com/office/drawing/2014/main" id="{A17E7A14-32FD-448E-ACD7-0EF0C756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733F9C-1259-4D3C-A162-8E22814915B1}"/>
              </a:ext>
            </a:extLst>
          </p:cNvPr>
          <p:cNvCxnSpPr>
            <a:cxnSpLocks/>
          </p:cNvCxnSpPr>
          <p:nvPr/>
        </p:nvCxnSpPr>
        <p:spPr>
          <a:xfrm>
            <a:off x="1937732" y="1169011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D3E971BF-F2F9-431E-BBB6-5DFAB665741A}"/>
              </a:ext>
            </a:extLst>
          </p:cNvPr>
          <p:cNvGrpSpPr/>
          <p:nvPr/>
        </p:nvGrpSpPr>
        <p:grpSpPr>
          <a:xfrm>
            <a:off x="1996006" y="927489"/>
            <a:ext cx="4545611" cy="1147174"/>
            <a:chOff x="1550388" y="1858596"/>
            <a:chExt cx="4545611" cy="114717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DABC21D-2A36-438D-8324-067E54C82E12}"/>
                </a:ext>
              </a:extLst>
            </p:cNvPr>
            <p:cNvSpPr txBox="1"/>
            <p:nvPr/>
          </p:nvSpPr>
          <p:spPr>
            <a:xfrm>
              <a:off x="1550388" y="1858596"/>
              <a:ext cx="45456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IGNER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395D2DDE-059E-41A2-9A95-F92C251588DC}"/>
                </a:ext>
              </a:extLst>
            </p:cNvPr>
            <p:cNvSpPr txBox="1"/>
            <p:nvPr/>
          </p:nvSpPr>
          <p:spPr>
            <a:xfrm>
              <a:off x="1928116" y="2166373"/>
              <a:ext cx="4167883" cy="839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sponsible for the performance of the project. </a:t>
              </a:r>
              <a:endParaRPr lang="en-IN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provide all the intermediate results of the project work at the end of each sprint, to the scrum master. </a:t>
              </a:r>
              <a:endParaRPr lang="en-IN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31" name="Rectangle: Rounded Corners 330">
            <a:extLst>
              <a:ext uri="{FF2B5EF4-FFF2-40B4-BE49-F238E27FC236}">
                <a16:creationId xmlns:a16="http://schemas.microsoft.com/office/drawing/2014/main" id="{ED95C25A-CD0A-495A-8687-B462D6A62A12}"/>
              </a:ext>
            </a:extLst>
          </p:cNvPr>
          <p:cNvSpPr/>
          <p:nvPr/>
        </p:nvSpPr>
        <p:spPr>
          <a:xfrm>
            <a:off x="601920" y="2345094"/>
            <a:ext cx="8108043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32" name="Rectangle: Rounded Corners 331">
            <a:extLst>
              <a:ext uri="{FF2B5EF4-FFF2-40B4-BE49-F238E27FC236}">
                <a16:creationId xmlns:a16="http://schemas.microsoft.com/office/drawing/2014/main" id="{47E5CFDA-8248-4788-A504-35E58BA1A8C9}"/>
              </a:ext>
            </a:extLst>
          </p:cNvPr>
          <p:cNvSpPr/>
          <p:nvPr/>
        </p:nvSpPr>
        <p:spPr>
          <a:xfrm>
            <a:off x="6977618" y="2332172"/>
            <a:ext cx="2098345" cy="1306800"/>
          </a:xfrm>
          <a:prstGeom prst="roundRect">
            <a:avLst>
              <a:gd name="adj" fmla="val 5402"/>
            </a:avLst>
          </a:prstGeom>
          <a:solidFill>
            <a:srgbClr val="287192"/>
          </a:solidFill>
          <a:effectLst/>
        </p:spPr>
        <p:txBody>
          <a:bodyPr wrap="square" lIns="360000" tIns="72000" rIns="72000" bIns="72000" anchor="ctr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SANDEEP</a:t>
            </a:r>
          </a:p>
        </p:txBody>
      </p: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7DF99BD-AC12-4788-8E69-D32DA2A102A0}"/>
              </a:ext>
            </a:extLst>
          </p:cNvPr>
          <p:cNvGrpSpPr/>
          <p:nvPr/>
        </p:nvGrpSpPr>
        <p:grpSpPr>
          <a:xfrm>
            <a:off x="7199051" y="2137271"/>
            <a:ext cx="196172" cy="425333"/>
            <a:chOff x="7405709" y="1520658"/>
            <a:chExt cx="196172" cy="425333"/>
          </a:xfrm>
        </p:grpSpPr>
        <p:sp>
          <p:nvSpPr>
            <p:cNvPr id="343" name="Oval 342">
              <a:extLst>
                <a:ext uri="{FF2B5EF4-FFF2-40B4-BE49-F238E27FC236}">
                  <a16:creationId xmlns:a16="http://schemas.microsoft.com/office/drawing/2014/main" id="{EB040E4A-401E-40BE-941A-49B266A57705}"/>
                </a:ext>
              </a:extLst>
            </p:cNvPr>
            <p:cNvSpPr/>
            <p:nvPr/>
          </p:nvSpPr>
          <p:spPr>
            <a:xfrm>
              <a:off x="7405709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4" name="Rectangle: Rounded Corners 343">
              <a:extLst>
                <a:ext uri="{FF2B5EF4-FFF2-40B4-BE49-F238E27FC236}">
                  <a16:creationId xmlns:a16="http://schemas.microsoft.com/office/drawing/2014/main" id="{80D0AC44-5574-405F-ABB7-C4C5465C4729}"/>
                </a:ext>
              </a:extLst>
            </p:cNvPr>
            <p:cNvSpPr/>
            <p:nvPr/>
          </p:nvSpPr>
          <p:spPr>
            <a:xfrm rot="5400000">
              <a:off x="732030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3A040B55-27F3-46F3-AA85-051B8FC84665}"/>
              </a:ext>
            </a:extLst>
          </p:cNvPr>
          <p:cNvGrpSpPr/>
          <p:nvPr/>
        </p:nvGrpSpPr>
        <p:grpSpPr>
          <a:xfrm>
            <a:off x="8658357" y="2119504"/>
            <a:ext cx="196172" cy="425333"/>
            <a:chOff x="11068637" y="1520658"/>
            <a:chExt cx="196172" cy="425333"/>
          </a:xfrm>
        </p:grpSpPr>
        <p:sp>
          <p:nvSpPr>
            <p:cNvPr id="341" name="Oval 340">
              <a:extLst>
                <a:ext uri="{FF2B5EF4-FFF2-40B4-BE49-F238E27FC236}">
                  <a16:creationId xmlns:a16="http://schemas.microsoft.com/office/drawing/2014/main" id="{267199ED-3E94-4CE3-96F8-49C0DCD6A6C6}"/>
                </a:ext>
              </a:extLst>
            </p:cNvPr>
            <p:cNvSpPr/>
            <p:nvPr/>
          </p:nvSpPr>
          <p:spPr>
            <a:xfrm>
              <a:off x="11068637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2" name="Rectangle: Rounded Corners 341">
              <a:extLst>
                <a:ext uri="{FF2B5EF4-FFF2-40B4-BE49-F238E27FC236}">
                  <a16:creationId xmlns:a16="http://schemas.microsoft.com/office/drawing/2014/main" id="{7FC7B563-D4B1-4823-A6AE-8D335C513897}"/>
                </a:ext>
              </a:extLst>
            </p:cNvPr>
            <p:cNvSpPr/>
            <p:nvPr/>
          </p:nvSpPr>
          <p:spPr>
            <a:xfrm rot="5400000">
              <a:off x="1098447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6FA96609-FD55-44E9-B8F1-466D45C5E4FA}"/>
              </a:ext>
            </a:extLst>
          </p:cNvPr>
          <p:cNvGrpSpPr/>
          <p:nvPr/>
        </p:nvGrpSpPr>
        <p:grpSpPr>
          <a:xfrm>
            <a:off x="1288008" y="2780251"/>
            <a:ext cx="414176" cy="412095"/>
            <a:chOff x="5594351" y="2909888"/>
            <a:chExt cx="315912" cy="314325"/>
          </a:xfrm>
        </p:grpSpPr>
        <p:sp>
          <p:nvSpPr>
            <p:cNvPr id="339" name="Freeform 10">
              <a:extLst>
                <a:ext uri="{FF2B5EF4-FFF2-40B4-BE49-F238E27FC236}">
                  <a16:creationId xmlns:a16="http://schemas.microsoft.com/office/drawing/2014/main" id="{E7BFACD1-3C5A-4B71-8FAB-7B38D1E0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0" name="Freeform 11">
              <a:extLst>
                <a:ext uri="{FF2B5EF4-FFF2-40B4-BE49-F238E27FC236}">
                  <a16:creationId xmlns:a16="http://schemas.microsoft.com/office/drawing/2014/main" id="{354F2388-D3A9-4495-8D3C-4A091B53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1BBD63D6-FD96-4E74-9ACB-59C10FEB90BA}"/>
              </a:ext>
            </a:extLst>
          </p:cNvPr>
          <p:cNvCxnSpPr>
            <a:cxnSpLocks/>
          </p:cNvCxnSpPr>
          <p:nvPr/>
        </p:nvCxnSpPr>
        <p:spPr>
          <a:xfrm>
            <a:off x="1937732" y="2676865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3E852751-62BC-4B50-A82E-B7F750F69661}"/>
              </a:ext>
            </a:extLst>
          </p:cNvPr>
          <p:cNvSpPr/>
          <p:nvPr/>
        </p:nvSpPr>
        <p:spPr>
          <a:xfrm>
            <a:off x="518504" y="3871803"/>
            <a:ext cx="8108043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347" name="Rectangle: Rounded Corners 346">
            <a:extLst>
              <a:ext uri="{FF2B5EF4-FFF2-40B4-BE49-F238E27FC236}">
                <a16:creationId xmlns:a16="http://schemas.microsoft.com/office/drawing/2014/main" id="{E886E0C4-4865-4BBA-BDBC-A1068BAEDFF7}"/>
              </a:ext>
            </a:extLst>
          </p:cNvPr>
          <p:cNvSpPr/>
          <p:nvPr/>
        </p:nvSpPr>
        <p:spPr>
          <a:xfrm>
            <a:off x="6977618" y="3840025"/>
            <a:ext cx="2098345" cy="1306800"/>
          </a:xfrm>
          <a:prstGeom prst="roundRect">
            <a:avLst>
              <a:gd name="adj" fmla="val 5402"/>
            </a:avLst>
          </a:prstGeom>
          <a:solidFill>
            <a:srgbClr val="287192"/>
          </a:solidFill>
          <a:effectLst/>
        </p:spPr>
        <p:txBody>
          <a:bodyPr wrap="square" lIns="360000" tIns="72000" rIns="72000" bIns="72000" anchor="ctr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RIDHI</a:t>
            </a:r>
          </a:p>
        </p:txBody>
      </p:sp>
      <p:grpSp>
        <p:nvGrpSpPr>
          <p:cNvPr id="348" name="Group 347">
            <a:extLst>
              <a:ext uri="{FF2B5EF4-FFF2-40B4-BE49-F238E27FC236}">
                <a16:creationId xmlns:a16="http://schemas.microsoft.com/office/drawing/2014/main" id="{01EE0C76-A6D0-4288-9DE7-0E6B46070971}"/>
              </a:ext>
            </a:extLst>
          </p:cNvPr>
          <p:cNvGrpSpPr/>
          <p:nvPr/>
        </p:nvGrpSpPr>
        <p:grpSpPr>
          <a:xfrm>
            <a:off x="7199051" y="3645124"/>
            <a:ext cx="196172" cy="425333"/>
            <a:chOff x="7405709" y="1520658"/>
            <a:chExt cx="196172" cy="425333"/>
          </a:xfrm>
        </p:grpSpPr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AB013DC4-7CB6-4824-B8F0-8E988186CCF0}"/>
                </a:ext>
              </a:extLst>
            </p:cNvPr>
            <p:cNvSpPr/>
            <p:nvPr/>
          </p:nvSpPr>
          <p:spPr>
            <a:xfrm>
              <a:off x="7405709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59" name="Rectangle: Rounded Corners 358">
              <a:extLst>
                <a:ext uri="{FF2B5EF4-FFF2-40B4-BE49-F238E27FC236}">
                  <a16:creationId xmlns:a16="http://schemas.microsoft.com/office/drawing/2014/main" id="{82FF58ED-57E7-45BF-844E-BE982F3CEECB}"/>
                </a:ext>
              </a:extLst>
            </p:cNvPr>
            <p:cNvSpPr/>
            <p:nvPr/>
          </p:nvSpPr>
          <p:spPr>
            <a:xfrm rot="5400000">
              <a:off x="732030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349" name="Group 348">
            <a:extLst>
              <a:ext uri="{FF2B5EF4-FFF2-40B4-BE49-F238E27FC236}">
                <a16:creationId xmlns:a16="http://schemas.microsoft.com/office/drawing/2014/main" id="{B5363B0F-6E05-4635-AA2E-8446BDAF878E}"/>
              </a:ext>
            </a:extLst>
          </p:cNvPr>
          <p:cNvGrpSpPr/>
          <p:nvPr/>
        </p:nvGrpSpPr>
        <p:grpSpPr>
          <a:xfrm>
            <a:off x="8658357" y="3627357"/>
            <a:ext cx="196172" cy="425333"/>
            <a:chOff x="11068637" y="1520658"/>
            <a:chExt cx="196172" cy="425333"/>
          </a:xfrm>
        </p:grpSpPr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F74C0E0E-B0EA-4B3A-AAC5-C0DAB9FAFA95}"/>
                </a:ext>
              </a:extLst>
            </p:cNvPr>
            <p:cNvSpPr/>
            <p:nvPr/>
          </p:nvSpPr>
          <p:spPr>
            <a:xfrm>
              <a:off x="11068637" y="1749819"/>
              <a:ext cx="196172" cy="19617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57" name="Rectangle: Rounded Corners 356">
              <a:extLst>
                <a:ext uri="{FF2B5EF4-FFF2-40B4-BE49-F238E27FC236}">
                  <a16:creationId xmlns:a16="http://schemas.microsoft.com/office/drawing/2014/main" id="{17E71D03-7B2B-427B-BDA3-614AAF16185B}"/>
                </a:ext>
              </a:extLst>
            </p:cNvPr>
            <p:cNvSpPr/>
            <p:nvPr/>
          </p:nvSpPr>
          <p:spPr>
            <a:xfrm rot="5400000">
              <a:off x="10984474" y="1643661"/>
              <a:ext cx="368948" cy="122941"/>
            </a:xfrm>
            <a:prstGeom prst="roundRect">
              <a:avLst>
                <a:gd name="adj" fmla="val 50000"/>
              </a:avLst>
            </a:prstGeom>
            <a:solidFill>
              <a:srgbClr val="95B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944328CB-A6BE-4EC7-A7AC-18A932151A94}"/>
              </a:ext>
            </a:extLst>
          </p:cNvPr>
          <p:cNvGrpSpPr/>
          <p:nvPr/>
        </p:nvGrpSpPr>
        <p:grpSpPr>
          <a:xfrm>
            <a:off x="1288008" y="4288104"/>
            <a:ext cx="414176" cy="412095"/>
            <a:chOff x="5594351" y="2909888"/>
            <a:chExt cx="315912" cy="314325"/>
          </a:xfrm>
        </p:grpSpPr>
        <p:sp>
          <p:nvSpPr>
            <p:cNvPr id="354" name="Freeform 10">
              <a:extLst>
                <a:ext uri="{FF2B5EF4-FFF2-40B4-BE49-F238E27FC236}">
                  <a16:creationId xmlns:a16="http://schemas.microsoft.com/office/drawing/2014/main" id="{26042AD6-8A1F-4BE4-BBF0-B63E6E18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5" name="Freeform 11">
              <a:extLst>
                <a:ext uri="{FF2B5EF4-FFF2-40B4-BE49-F238E27FC236}">
                  <a16:creationId xmlns:a16="http://schemas.microsoft.com/office/drawing/2014/main" id="{E994337C-4208-47C0-A986-C02C6B465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2153699D-4DCB-43B7-B252-9334FE6C7C1E}"/>
              </a:ext>
            </a:extLst>
          </p:cNvPr>
          <p:cNvCxnSpPr>
            <a:cxnSpLocks/>
          </p:cNvCxnSpPr>
          <p:nvPr/>
        </p:nvCxnSpPr>
        <p:spPr>
          <a:xfrm>
            <a:off x="1937732" y="4184718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Graphic 114">
            <a:extLst>
              <a:ext uri="{FF2B5EF4-FFF2-40B4-BE49-F238E27FC236}">
                <a16:creationId xmlns:a16="http://schemas.microsoft.com/office/drawing/2014/main" id="{312377A6-E807-480B-AB64-FA84AB7255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flipH="1">
            <a:off x="8885578" y="1854488"/>
            <a:ext cx="3804550" cy="4572836"/>
          </a:xfrm>
          <a:custGeom>
            <a:avLst/>
            <a:gdLst>
              <a:gd name="connsiteX0" fmla="*/ 4572836 w 4572836"/>
              <a:gd name="connsiteY0" fmla="*/ 0 h 4572836"/>
              <a:gd name="connsiteX1" fmla="*/ 0 w 4572836"/>
              <a:gd name="connsiteY1" fmla="*/ 0 h 4572836"/>
              <a:gd name="connsiteX2" fmla="*/ 0 w 4572836"/>
              <a:gd name="connsiteY2" fmla="*/ 41701 h 4572836"/>
              <a:gd name="connsiteX3" fmla="*/ 498128 w 4572836"/>
              <a:gd name="connsiteY3" fmla="*/ 41701 h 4572836"/>
              <a:gd name="connsiteX4" fmla="*/ 498128 w 4572836"/>
              <a:gd name="connsiteY4" fmla="*/ 4572836 h 4572836"/>
              <a:gd name="connsiteX5" fmla="*/ 4572836 w 4572836"/>
              <a:gd name="connsiteY5" fmla="*/ 4572836 h 45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2836" h="4572836">
                <a:moveTo>
                  <a:pt x="4572836" y="0"/>
                </a:moveTo>
                <a:lnTo>
                  <a:pt x="0" y="0"/>
                </a:lnTo>
                <a:lnTo>
                  <a:pt x="0" y="41701"/>
                </a:lnTo>
                <a:lnTo>
                  <a:pt x="498128" y="41701"/>
                </a:lnTo>
                <a:lnTo>
                  <a:pt x="498128" y="4572836"/>
                </a:lnTo>
                <a:lnTo>
                  <a:pt x="4572836" y="4572836"/>
                </a:lnTo>
                <a:close/>
              </a:path>
            </a:pathLst>
          </a:cu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41D9A04F-BA52-4100-AABE-0227C6E273D7}"/>
              </a:ext>
            </a:extLst>
          </p:cNvPr>
          <p:cNvGrpSpPr/>
          <p:nvPr/>
        </p:nvGrpSpPr>
        <p:grpSpPr>
          <a:xfrm>
            <a:off x="1996006" y="2416911"/>
            <a:ext cx="4545611" cy="992452"/>
            <a:chOff x="1550388" y="1858596"/>
            <a:chExt cx="4545611" cy="99245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9494C0-40A2-44E8-8952-134495049A8B}"/>
                </a:ext>
              </a:extLst>
            </p:cNvPr>
            <p:cNvSpPr txBox="1"/>
            <p:nvPr/>
          </p:nvSpPr>
          <p:spPr>
            <a:xfrm>
              <a:off x="1550388" y="1858596"/>
              <a:ext cx="45456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VELOPER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99E7E69-531A-432B-A03D-93459C9A21F6}"/>
                </a:ext>
              </a:extLst>
            </p:cNvPr>
            <p:cNvSpPr txBox="1"/>
            <p:nvPr/>
          </p:nvSpPr>
          <p:spPr>
            <a:xfrm>
              <a:off x="1928116" y="2166373"/>
              <a:ext cx="4167883" cy="684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develop project, as per the design approved by the client.</a:t>
              </a:r>
            </a:p>
            <a:p>
              <a:pPr marL="285750" lvl="0" indent="-285750">
                <a:lnSpc>
                  <a:spcPct val="115000"/>
                </a:lnSpc>
                <a:spcAft>
                  <a:spcPts val="1000"/>
                </a:spcAft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participate in the daily scrum and other essential group meetings organized by the scrum master.</a:t>
              </a:r>
              <a:endParaRPr lang="en-IN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66485EA-71DA-4D54-B94F-72A7EB61DA2E}"/>
              </a:ext>
            </a:extLst>
          </p:cNvPr>
          <p:cNvGrpSpPr/>
          <p:nvPr/>
        </p:nvGrpSpPr>
        <p:grpSpPr>
          <a:xfrm>
            <a:off x="1996006" y="3924764"/>
            <a:ext cx="4545611" cy="1138774"/>
            <a:chOff x="1550388" y="1858596"/>
            <a:chExt cx="4545611" cy="113877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0E0C6D3-5402-4D48-BB5D-AEC32323DFD1}"/>
                </a:ext>
              </a:extLst>
            </p:cNvPr>
            <p:cNvSpPr txBox="1"/>
            <p:nvPr/>
          </p:nvSpPr>
          <p:spPr>
            <a:xfrm>
              <a:off x="1550388" y="1858596"/>
              <a:ext cx="45456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STER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70C0F15-9C03-4D40-95A7-059904BE4151}"/>
                </a:ext>
              </a:extLst>
            </p:cNvPr>
            <p:cNvSpPr txBox="1"/>
            <p:nvPr/>
          </p:nvSpPr>
          <p:spPr>
            <a:xfrm>
              <a:off x="1928116" y="2166373"/>
              <a:ext cx="41678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test whether the developed modules are working seamlessly or not. 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AU" sz="1200" dirty="0">
                  <a:solidFill>
                    <a:srgbClr val="0D616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give an estimated amount of time required for delivering the tasks, assigned while developing the project.</a:t>
              </a:r>
              <a:endParaRPr lang="en-US" sz="1200" dirty="0">
                <a:solidFill>
                  <a:srgbClr val="0D616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335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&amp; Description of Project:</a:t>
            </a:r>
            <a:endParaRPr lang="en-ID" sz="54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: Top Corners Snipped 2">
            <a:extLst>
              <a:ext uri="{FF2B5EF4-FFF2-40B4-BE49-F238E27FC236}">
                <a16:creationId xmlns:a16="http://schemas.microsoft.com/office/drawing/2014/main" id="{102A1057-591D-4FD4-8E9D-91038FA593C2}"/>
              </a:ext>
            </a:extLst>
          </p:cNvPr>
          <p:cNvSpPr/>
          <p:nvPr/>
        </p:nvSpPr>
        <p:spPr>
          <a:xfrm flipH="1">
            <a:off x="4806" y="2700530"/>
            <a:ext cx="4325122" cy="4163419"/>
          </a:xfrm>
          <a:custGeom>
            <a:avLst/>
            <a:gdLst>
              <a:gd name="connsiteX0" fmla="*/ 1675362 w 5522685"/>
              <a:gd name="connsiteY0" fmla="*/ 0 h 5522686"/>
              <a:gd name="connsiteX1" fmla="*/ 3847323 w 5522685"/>
              <a:gd name="connsiteY1" fmla="*/ 0 h 5522686"/>
              <a:gd name="connsiteX2" fmla="*/ 5522685 w 5522685"/>
              <a:gd name="connsiteY2" fmla="*/ 1675362 h 5522686"/>
              <a:gd name="connsiteX3" fmla="*/ 5522685 w 5522685"/>
              <a:gd name="connsiteY3" fmla="*/ 5522686 h 5522686"/>
              <a:gd name="connsiteX4" fmla="*/ 5522685 w 5522685"/>
              <a:gd name="connsiteY4" fmla="*/ 5522686 h 5522686"/>
              <a:gd name="connsiteX5" fmla="*/ 0 w 5522685"/>
              <a:gd name="connsiteY5" fmla="*/ 5522686 h 5522686"/>
              <a:gd name="connsiteX6" fmla="*/ 0 w 5522685"/>
              <a:gd name="connsiteY6" fmla="*/ 5522686 h 5522686"/>
              <a:gd name="connsiteX7" fmla="*/ 0 w 5522685"/>
              <a:gd name="connsiteY7" fmla="*/ 1675362 h 5522686"/>
              <a:gd name="connsiteX8" fmla="*/ 1675362 w 5522685"/>
              <a:gd name="connsiteY8" fmla="*/ 0 h 5522686"/>
              <a:gd name="connsiteX0" fmla="*/ 1675362 w 5522685"/>
              <a:gd name="connsiteY0" fmla="*/ 0 h 5522686"/>
              <a:gd name="connsiteX1" fmla="*/ 3847323 w 5522685"/>
              <a:gd name="connsiteY1" fmla="*/ 0 h 5522686"/>
              <a:gd name="connsiteX2" fmla="*/ 5522685 w 5522685"/>
              <a:gd name="connsiteY2" fmla="*/ 1675362 h 5522686"/>
              <a:gd name="connsiteX3" fmla="*/ 5522685 w 5522685"/>
              <a:gd name="connsiteY3" fmla="*/ 5522686 h 5522686"/>
              <a:gd name="connsiteX4" fmla="*/ 5522685 w 5522685"/>
              <a:gd name="connsiteY4" fmla="*/ 5522686 h 5522686"/>
              <a:gd name="connsiteX5" fmla="*/ 0 w 5522685"/>
              <a:gd name="connsiteY5" fmla="*/ 5522686 h 5522686"/>
              <a:gd name="connsiteX6" fmla="*/ 0 w 5522685"/>
              <a:gd name="connsiteY6" fmla="*/ 5522686 h 5522686"/>
              <a:gd name="connsiteX7" fmla="*/ 0 w 5522685"/>
              <a:gd name="connsiteY7" fmla="*/ 1675362 h 5522686"/>
              <a:gd name="connsiteX8" fmla="*/ 1675362 w 5522685"/>
              <a:gd name="connsiteY8" fmla="*/ 0 h 5522686"/>
              <a:gd name="connsiteX0" fmla="*/ 1683761 w 5531084"/>
              <a:gd name="connsiteY0" fmla="*/ 0 h 5522686"/>
              <a:gd name="connsiteX1" fmla="*/ 3855722 w 5531084"/>
              <a:gd name="connsiteY1" fmla="*/ 0 h 5522686"/>
              <a:gd name="connsiteX2" fmla="*/ 5531084 w 5531084"/>
              <a:gd name="connsiteY2" fmla="*/ 1675362 h 5522686"/>
              <a:gd name="connsiteX3" fmla="*/ 5531084 w 5531084"/>
              <a:gd name="connsiteY3" fmla="*/ 5522686 h 5522686"/>
              <a:gd name="connsiteX4" fmla="*/ 5531084 w 5531084"/>
              <a:gd name="connsiteY4" fmla="*/ 5522686 h 5522686"/>
              <a:gd name="connsiteX5" fmla="*/ 8399 w 5531084"/>
              <a:gd name="connsiteY5" fmla="*/ 5522686 h 5522686"/>
              <a:gd name="connsiteX6" fmla="*/ 8399 w 5531084"/>
              <a:gd name="connsiteY6" fmla="*/ 5522686 h 5522686"/>
              <a:gd name="connsiteX7" fmla="*/ 8399 w 5531084"/>
              <a:gd name="connsiteY7" fmla="*/ 1675362 h 5522686"/>
              <a:gd name="connsiteX8" fmla="*/ 1683761 w 5531084"/>
              <a:gd name="connsiteY8" fmla="*/ 0 h 5522686"/>
              <a:gd name="connsiteX0" fmla="*/ 1683761 w 5531084"/>
              <a:gd name="connsiteY0" fmla="*/ 322423 h 5845109"/>
              <a:gd name="connsiteX1" fmla="*/ 3855722 w 5531084"/>
              <a:gd name="connsiteY1" fmla="*/ 322423 h 5845109"/>
              <a:gd name="connsiteX2" fmla="*/ 5531084 w 5531084"/>
              <a:gd name="connsiteY2" fmla="*/ 1997785 h 5845109"/>
              <a:gd name="connsiteX3" fmla="*/ 5531084 w 5531084"/>
              <a:gd name="connsiteY3" fmla="*/ 5845109 h 5845109"/>
              <a:gd name="connsiteX4" fmla="*/ 5531084 w 5531084"/>
              <a:gd name="connsiteY4" fmla="*/ 5845109 h 5845109"/>
              <a:gd name="connsiteX5" fmla="*/ 8399 w 5531084"/>
              <a:gd name="connsiteY5" fmla="*/ 5845109 h 5845109"/>
              <a:gd name="connsiteX6" fmla="*/ 8399 w 5531084"/>
              <a:gd name="connsiteY6" fmla="*/ 5845109 h 5845109"/>
              <a:gd name="connsiteX7" fmla="*/ 8399 w 5531084"/>
              <a:gd name="connsiteY7" fmla="*/ 1997785 h 5845109"/>
              <a:gd name="connsiteX8" fmla="*/ 1683761 w 5531084"/>
              <a:gd name="connsiteY8" fmla="*/ 322423 h 5845109"/>
              <a:gd name="connsiteX0" fmla="*/ 1683761 w 5531084"/>
              <a:gd name="connsiteY0" fmla="*/ 418840 h 5941526"/>
              <a:gd name="connsiteX1" fmla="*/ 3855722 w 5531084"/>
              <a:gd name="connsiteY1" fmla="*/ 418840 h 5941526"/>
              <a:gd name="connsiteX2" fmla="*/ 5531084 w 5531084"/>
              <a:gd name="connsiteY2" fmla="*/ 2094202 h 5941526"/>
              <a:gd name="connsiteX3" fmla="*/ 5531084 w 5531084"/>
              <a:gd name="connsiteY3" fmla="*/ 5941526 h 5941526"/>
              <a:gd name="connsiteX4" fmla="*/ 5531084 w 5531084"/>
              <a:gd name="connsiteY4" fmla="*/ 5941526 h 5941526"/>
              <a:gd name="connsiteX5" fmla="*/ 8399 w 5531084"/>
              <a:gd name="connsiteY5" fmla="*/ 5941526 h 5941526"/>
              <a:gd name="connsiteX6" fmla="*/ 8399 w 5531084"/>
              <a:gd name="connsiteY6" fmla="*/ 5941526 h 5941526"/>
              <a:gd name="connsiteX7" fmla="*/ 8399 w 5531084"/>
              <a:gd name="connsiteY7" fmla="*/ 2094202 h 5941526"/>
              <a:gd name="connsiteX8" fmla="*/ 1683761 w 5531084"/>
              <a:gd name="connsiteY8" fmla="*/ 418840 h 5941526"/>
              <a:gd name="connsiteX0" fmla="*/ 1683761 w 5531084"/>
              <a:gd name="connsiteY0" fmla="*/ 418840 h 5941526"/>
              <a:gd name="connsiteX1" fmla="*/ 3855722 w 5531084"/>
              <a:gd name="connsiteY1" fmla="*/ 418840 h 5941526"/>
              <a:gd name="connsiteX2" fmla="*/ 5531084 w 5531084"/>
              <a:gd name="connsiteY2" fmla="*/ 2094202 h 5941526"/>
              <a:gd name="connsiteX3" fmla="*/ 5531084 w 5531084"/>
              <a:gd name="connsiteY3" fmla="*/ 5941526 h 5941526"/>
              <a:gd name="connsiteX4" fmla="*/ 5531084 w 5531084"/>
              <a:gd name="connsiteY4" fmla="*/ 5941526 h 5941526"/>
              <a:gd name="connsiteX5" fmla="*/ 8399 w 5531084"/>
              <a:gd name="connsiteY5" fmla="*/ 5941526 h 5941526"/>
              <a:gd name="connsiteX6" fmla="*/ 8399 w 5531084"/>
              <a:gd name="connsiteY6" fmla="*/ 5941526 h 5941526"/>
              <a:gd name="connsiteX7" fmla="*/ 8399 w 5531084"/>
              <a:gd name="connsiteY7" fmla="*/ 2094202 h 5941526"/>
              <a:gd name="connsiteX8" fmla="*/ 1683761 w 5531084"/>
              <a:gd name="connsiteY8" fmla="*/ 418840 h 5941526"/>
              <a:gd name="connsiteX0" fmla="*/ 2552314 w 5527767"/>
              <a:gd name="connsiteY0" fmla="*/ 1531516 h 5523114"/>
              <a:gd name="connsiteX1" fmla="*/ 3852405 w 5527767"/>
              <a:gd name="connsiteY1" fmla="*/ 428 h 5523114"/>
              <a:gd name="connsiteX2" fmla="*/ 5527767 w 5527767"/>
              <a:gd name="connsiteY2" fmla="*/ 1675790 h 5523114"/>
              <a:gd name="connsiteX3" fmla="*/ 5527767 w 5527767"/>
              <a:gd name="connsiteY3" fmla="*/ 5523114 h 5523114"/>
              <a:gd name="connsiteX4" fmla="*/ 5527767 w 5527767"/>
              <a:gd name="connsiteY4" fmla="*/ 5523114 h 5523114"/>
              <a:gd name="connsiteX5" fmla="*/ 5082 w 5527767"/>
              <a:gd name="connsiteY5" fmla="*/ 5523114 h 5523114"/>
              <a:gd name="connsiteX6" fmla="*/ 5082 w 5527767"/>
              <a:gd name="connsiteY6" fmla="*/ 5523114 h 5523114"/>
              <a:gd name="connsiteX7" fmla="*/ 5082 w 5527767"/>
              <a:gd name="connsiteY7" fmla="*/ 1675790 h 5523114"/>
              <a:gd name="connsiteX8" fmla="*/ 2552314 w 5527767"/>
              <a:gd name="connsiteY8" fmla="*/ 1531516 h 5523114"/>
              <a:gd name="connsiteX0" fmla="*/ 2547232 w 5522685"/>
              <a:gd name="connsiteY0" fmla="*/ 1531485 h 5523083"/>
              <a:gd name="connsiteX1" fmla="*/ 3847323 w 5522685"/>
              <a:gd name="connsiteY1" fmla="*/ 397 h 5523083"/>
              <a:gd name="connsiteX2" fmla="*/ 5522685 w 5522685"/>
              <a:gd name="connsiteY2" fmla="*/ 1675759 h 5523083"/>
              <a:gd name="connsiteX3" fmla="*/ 5522685 w 5522685"/>
              <a:gd name="connsiteY3" fmla="*/ 5523083 h 5523083"/>
              <a:gd name="connsiteX4" fmla="*/ 5522685 w 5522685"/>
              <a:gd name="connsiteY4" fmla="*/ 5523083 h 5523083"/>
              <a:gd name="connsiteX5" fmla="*/ 0 w 5522685"/>
              <a:gd name="connsiteY5" fmla="*/ 5523083 h 5523083"/>
              <a:gd name="connsiteX6" fmla="*/ 0 w 5522685"/>
              <a:gd name="connsiteY6" fmla="*/ 5523083 h 5523083"/>
              <a:gd name="connsiteX7" fmla="*/ 414673 w 5522685"/>
              <a:gd name="connsiteY7" fmla="*/ 2877238 h 5523083"/>
              <a:gd name="connsiteX8" fmla="*/ 2547232 w 5522685"/>
              <a:gd name="connsiteY8" fmla="*/ 1531485 h 5523083"/>
              <a:gd name="connsiteX0" fmla="*/ 2547232 w 5522685"/>
              <a:gd name="connsiteY0" fmla="*/ 24325 h 4015923"/>
              <a:gd name="connsiteX1" fmla="*/ 4006812 w 5522685"/>
              <a:gd name="connsiteY1" fmla="*/ 757972 h 4015923"/>
              <a:gd name="connsiteX2" fmla="*/ 5522685 w 5522685"/>
              <a:gd name="connsiteY2" fmla="*/ 168599 h 4015923"/>
              <a:gd name="connsiteX3" fmla="*/ 5522685 w 5522685"/>
              <a:gd name="connsiteY3" fmla="*/ 4015923 h 4015923"/>
              <a:gd name="connsiteX4" fmla="*/ 5522685 w 5522685"/>
              <a:gd name="connsiteY4" fmla="*/ 4015923 h 4015923"/>
              <a:gd name="connsiteX5" fmla="*/ 0 w 5522685"/>
              <a:gd name="connsiteY5" fmla="*/ 4015923 h 4015923"/>
              <a:gd name="connsiteX6" fmla="*/ 0 w 5522685"/>
              <a:gd name="connsiteY6" fmla="*/ 4015923 h 4015923"/>
              <a:gd name="connsiteX7" fmla="*/ 414673 w 5522685"/>
              <a:gd name="connsiteY7" fmla="*/ 1370078 h 4015923"/>
              <a:gd name="connsiteX8" fmla="*/ 2547232 w 5522685"/>
              <a:gd name="connsiteY8" fmla="*/ 24325 h 4015923"/>
              <a:gd name="connsiteX0" fmla="*/ 2547232 w 5522685"/>
              <a:gd name="connsiteY0" fmla="*/ 123143 h 4114741"/>
              <a:gd name="connsiteX1" fmla="*/ 4006812 w 5522685"/>
              <a:gd name="connsiteY1" fmla="*/ 856790 h 4114741"/>
              <a:gd name="connsiteX2" fmla="*/ 5522685 w 5522685"/>
              <a:gd name="connsiteY2" fmla="*/ 267417 h 4114741"/>
              <a:gd name="connsiteX3" fmla="*/ 5522685 w 5522685"/>
              <a:gd name="connsiteY3" fmla="*/ 4114741 h 4114741"/>
              <a:gd name="connsiteX4" fmla="*/ 5522685 w 5522685"/>
              <a:gd name="connsiteY4" fmla="*/ 4114741 h 4114741"/>
              <a:gd name="connsiteX5" fmla="*/ 0 w 5522685"/>
              <a:gd name="connsiteY5" fmla="*/ 4114741 h 4114741"/>
              <a:gd name="connsiteX6" fmla="*/ 0 w 5522685"/>
              <a:gd name="connsiteY6" fmla="*/ 4114741 h 4114741"/>
              <a:gd name="connsiteX7" fmla="*/ 414673 w 5522685"/>
              <a:gd name="connsiteY7" fmla="*/ 1468896 h 4114741"/>
              <a:gd name="connsiteX8" fmla="*/ 2547232 w 5522685"/>
              <a:gd name="connsiteY8" fmla="*/ 123143 h 4114741"/>
              <a:gd name="connsiteX0" fmla="*/ 2547232 w 5522685"/>
              <a:gd name="connsiteY0" fmla="*/ 123143 h 4114741"/>
              <a:gd name="connsiteX1" fmla="*/ 4006812 w 5522685"/>
              <a:gd name="connsiteY1" fmla="*/ 856790 h 4114741"/>
              <a:gd name="connsiteX2" fmla="*/ 5522685 w 5522685"/>
              <a:gd name="connsiteY2" fmla="*/ 267417 h 4114741"/>
              <a:gd name="connsiteX3" fmla="*/ 5522685 w 5522685"/>
              <a:gd name="connsiteY3" fmla="*/ 4114741 h 4114741"/>
              <a:gd name="connsiteX4" fmla="*/ 5522685 w 5522685"/>
              <a:gd name="connsiteY4" fmla="*/ 4114741 h 4114741"/>
              <a:gd name="connsiteX5" fmla="*/ 0 w 5522685"/>
              <a:gd name="connsiteY5" fmla="*/ 4114741 h 4114741"/>
              <a:gd name="connsiteX6" fmla="*/ 0 w 5522685"/>
              <a:gd name="connsiteY6" fmla="*/ 4114741 h 4114741"/>
              <a:gd name="connsiteX7" fmla="*/ 414673 w 5522685"/>
              <a:gd name="connsiteY7" fmla="*/ 1468896 h 4114741"/>
              <a:gd name="connsiteX8" fmla="*/ 2547232 w 5522685"/>
              <a:gd name="connsiteY8" fmla="*/ 123143 h 4114741"/>
              <a:gd name="connsiteX0" fmla="*/ 2547232 w 5522685"/>
              <a:gd name="connsiteY0" fmla="*/ 139792 h 4131390"/>
              <a:gd name="connsiteX1" fmla="*/ 4006812 w 5522685"/>
              <a:gd name="connsiteY1" fmla="*/ 873439 h 4131390"/>
              <a:gd name="connsiteX2" fmla="*/ 5522685 w 5522685"/>
              <a:gd name="connsiteY2" fmla="*/ 1496178 h 4131390"/>
              <a:gd name="connsiteX3" fmla="*/ 5522685 w 5522685"/>
              <a:gd name="connsiteY3" fmla="*/ 4131390 h 4131390"/>
              <a:gd name="connsiteX4" fmla="*/ 5522685 w 5522685"/>
              <a:gd name="connsiteY4" fmla="*/ 4131390 h 4131390"/>
              <a:gd name="connsiteX5" fmla="*/ 0 w 5522685"/>
              <a:gd name="connsiteY5" fmla="*/ 4131390 h 4131390"/>
              <a:gd name="connsiteX6" fmla="*/ 0 w 5522685"/>
              <a:gd name="connsiteY6" fmla="*/ 4131390 h 4131390"/>
              <a:gd name="connsiteX7" fmla="*/ 414673 w 5522685"/>
              <a:gd name="connsiteY7" fmla="*/ 1485545 h 4131390"/>
              <a:gd name="connsiteX8" fmla="*/ 2547232 w 5522685"/>
              <a:gd name="connsiteY8" fmla="*/ 139792 h 4131390"/>
              <a:gd name="connsiteX0" fmla="*/ 2547232 w 5522688"/>
              <a:gd name="connsiteY0" fmla="*/ 128843 h 4120441"/>
              <a:gd name="connsiteX1" fmla="*/ 4006812 w 5522688"/>
              <a:gd name="connsiteY1" fmla="*/ 862490 h 4120441"/>
              <a:gd name="connsiteX2" fmla="*/ 5522688 w 5522688"/>
              <a:gd name="connsiteY2" fmla="*/ 719685 h 4120441"/>
              <a:gd name="connsiteX3" fmla="*/ 5522685 w 5522688"/>
              <a:gd name="connsiteY3" fmla="*/ 4120441 h 4120441"/>
              <a:gd name="connsiteX4" fmla="*/ 5522685 w 5522688"/>
              <a:gd name="connsiteY4" fmla="*/ 4120441 h 4120441"/>
              <a:gd name="connsiteX5" fmla="*/ 0 w 5522688"/>
              <a:gd name="connsiteY5" fmla="*/ 4120441 h 4120441"/>
              <a:gd name="connsiteX6" fmla="*/ 0 w 5522688"/>
              <a:gd name="connsiteY6" fmla="*/ 4120441 h 4120441"/>
              <a:gd name="connsiteX7" fmla="*/ 414673 w 5522688"/>
              <a:gd name="connsiteY7" fmla="*/ 1474596 h 4120441"/>
              <a:gd name="connsiteX8" fmla="*/ 2547232 w 5522688"/>
              <a:gd name="connsiteY8" fmla="*/ 128843 h 4120441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50611 h 4142209"/>
              <a:gd name="connsiteX1" fmla="*/ 4006812 w 5522691"/>
              <a:gd name="connsiteY1" fmla="*/ 884258 h 4142209"/>
              <a:gd name="connsiteX2" fmla="*/ 5522691 w 5522691"/>
              <a:gd name="connsiteY2" fmla="*/ 2166216 h 4142209"/>
              <a:gd name="connsiteX3" fmla="*/ 5522685 w 5522691"/>
              <a:gd name="connsiteY3" fmla="*/ 4142209 h 4142209"/>
              <a:gd name="connsiteX4" fmla="*/ 5522685 w 5522691"/>
              <a:gd name="connsiteY4" fmla="*/ 4142209 h 4142209"/>
              <a:gd name="connsiteX5" fmla="*/ 0 w 5522691"/>
              <a:gd name="connsiteY5" fmla="*/ 4142209 h 4142209"/>
              <a:gd name="connsiteX6" fmla="*/ 0 w 5522691"/>
              <a:gd name="connsiteY6" fmla="*/ 4142209 h 4142209"/>
              <a:gd name="connsiteX7" fmla="*/ 414673 w 5522691"/>
              <a:gd name="connsiteY7" fmla="*/ 1496364 h 4142209"/>
              <a:gd name="connsiteX8" fmla="*/ 2547232 w 5522691"/>
              <a:gd name="connsiteY8" fmla="*/ 150611 h 4142209"/>
              <a:gd name="connsiteX0" fmla="*/ 2547232 w 5522691"/>
              <a:gd name="connsiteY0" fmla="*/ 171821 h 4163419"/>
              <a:gd name="connsiteX1" fmla="*/ 4006812 w 5522691"/>
              <a:gd name="connsiteY1" fmla="*/ 905468 h 4163419"/>
              <a:gd name="connsiteX2" fmla="*/ 5522691 w 5522691"/>
              <a:gd name="connsiteY2" fmla="*/ 2187426 h 4163419"/>
              <a:gd name="connsiteX3" fmla="*/ 5522685 w 5522691"/>
              <a:gd name="connsiteY3" fmla="*/ 4163419 h 4163419"/>
              <a:gd name="connsiteX4" fmla="*/ 5522685 w 5522691"/>
              <a:gd name="connsiteY4" fmla="*/ 4163419 h 4163419"/>
              <a:gd name="connsiteX5" fmla="*/ 0 w 5522691"/>
              <a:gd name="connsiteY5" fmla="*/ 4163419 h 4163419"/>
              <a:gd name="connsiteX6" fmla="*/ 0 w 5522691"/>
              <a:gd name="connsiteY6" fmla="*/ 4163419 h 4163419"/>
              <a:gd name="connsiteX7" fmla="*/ 414673 w 5522691"/>
              <a:gd name="connsiteY7" fmla="*/ 1517574 h 4163419"/>
              <a:gd name="connsiteX8" fmla="*/ 2547232 w 5522691"/>
              <a:gd name="connsiteY8" fmla="*/ 171821 h 4163419"/>
              <a:gd name="connsiteX0" fmla="*/ 2547232 w 5522691"/>
              <a:gd name="connsiteY0" fmla="*/ 171821 h 4163419"/>
              <a:gd name="connsiteX1" fmla="*/ 4006812 w 5522691"/>
              <a:gd name="connsiteY1" fmla="*/ 905468 h 4163419"/>
              <a:gd name="connsiteX2" fmla="*/ 5522691 w 5522691"/>
              <a:gd name="connsiteY2" fmla="*/ 2187426 h 4163419"/>
              <a:gd name="connsiteX3" fmla="*/ 5522685 w 5522691"/>
              <a:gd name="connsiteY3" fmla="*/ 4163419 h 4163419"/>
              <a:gd name="connsiteX4" fmla="*/ 5522685 w 5522691"/>
              <a:gd name="connsiteY4" fmla="*/ 4163419 h 4163419"/>
              <a:gd name="connsiteX5" fmla="*/ 0 w 5522691"/>
              <a:gd name="connsiteY5" fmla="*/ 4163419 h 4163419"/>
              <a:gd name="connsiteX6" fmla="*/ 0 w 5522691"/>
              <a:gd name="connsiteY6" fmla="*/ 4163419 h 4163419"/>
              <a:gd name="connsiteX7" fmla="*/ 414673 w 5522691"/>
              <a:gd name="connsiteY7" fmla="*/ 1517574 h 4163419"/>
              <a:gd name="connsiteX8" fmla="*/ 2547232 w 5522691"/>
              <a:gd name="connsiteY8" fmla="*/ 171821 h 4163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2691" h="4163419">
                <a:moveTo>
                  <a:pt x="2547232" y="171821"/>
                </a:moveTo>
                <a:cubicBezTo>
                  <a:pt x="3135290" y="-334235"/>
                  <a:pt x="3659757" y="388780"/>
                  <a:pt x="4006812" y="905468"/>
                </a:cubicBezTo>
                <a:cubicBezTo>
                  <a:pt x="4353867" y="1422156"/>
                  <a:pt x="5522692" y="1053841"/>
                  <a:pt x="5522691" y="2187426"/>
                </a:cubicBezTo>
                <a:cubicBezTo>
                  <a:pt x="5522690" y="3321011"/>
                  <a:pt x="5522686" y="3029834"/>
                  <a:pt x="5522685" y="4163419"/>
                </a:cubicBezTo>
                <a:lnTo>
                  <a:pt x="5522685" y="4163419"/>
                </a:lnTo>
                <a:lnTo>
                  <a:pt x="0" y="4163419"/>
                </a:lnTo>
                <a:lnTo>
                  <a:pt x="0" y="4163419"/>
                </a:lnTo>
                <a:cubicBezTo>
                  <a:pt x="69112" y="3722445"/>
                  <a:pt x="536699" y="3394466"/>
                  <a:pt x="414673" y="1517574"/>
                </a:cubicBezTo>
                <a:cubicBezTo>
                  <a:pt x="292647" y="-359318"/>
                  <a:pt x="1959174" y="677877"/>
                  <a:pt x="2547232" y="171821"/>
                </a:cubicBezTo>
                <a:close/>
              </a:path>
            </a:pathLst>
          </a:cu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12" name="Group 1111">
            <a:extLst>
              <a:ext uri="{FF2B5EF4-FFF2-40B4-BE49-F238E27FC236}">
                <a16:creationId xmlns:a16="http://schemas.microsoft.com/office/drawing/2014/main" id="{9CD4D7B1-0491-43A8-B5F1-872DCED52D37}"/>
              </a:ext>
            </a:extLst>
          </p:cNvPr>
          <p:cNvGrpSpPr/>
          <p:nvPr/>
        </p:nvGrpSpPr>
        <p:grpSpPr>
          <a:xfrm>
            <a:off x="189243" y="1195291"/>
            <a:ext cx="3269699" cy="3225448"/>
            <a:chOff x="958888" y="1612740"/>
            <a:chExt cx="4119949" cy="4389404"/>
          </a:xfrm>
        </p:grpSpPr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B22D4C77-FC33-4CA3-B59A-7526CAFD8E4E}"/>
                </a:ext>
              </a:extLst>
            </p:cNvPr>
            <p:cNvSpPr/>
            <p:nvPr/>
          </p:nvSpPr>
          <p:spPr>
            <a:xfrm>
              <a:off x="1393735" y="5999052"/>
              <a:ext cx="2626101" cy="3092"/>
            </a:xfrm>
            <a:custGeom>
              <a:avLst/>
              <a:gdLst>
                <a:gd name="connsiteX0" fmla="*/ 2436664 w 2436664"/>
                <a:gd name="connsiteY0" fmla="*/ 1435 h 2869"/>
                <a:gd name="connsiteX1" fmla="*/ 1218387 w 2436664"/>
                <a:gd name="connsiteY1" fmla="*/ 2870 h 2869"/>
                <a:gd name="connsiteX2" fmla="*/ 0 w 2436664"/>
                <a:gd name="connsiteY2" fmla="*/ 1435 h 2869"/>
                <a:gd name="connsiteX3" fmla="*/ 1218387 w 2436664"/>
                <a:gd name="connsiteY3" fmla="*/ 0 h 2869"/>
                <a:gd name="connsiteX4" fmla="*/ 2436664 w 2436664"/>
                <a:gd name="connsiteY4" fmla="*/ 1435 h 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6664" h="2869">
                  <a:moveTo>
                    <a:pt x="2436664" y="1435"/>
                  </a:moveTo>
                  <a:cubicBezTo>
                    <a:pt x="2436664" y="2207"/>
                    <a:pt x="1891155" y="2870"/>
                    <a:pt x="1218387" y="2870"/>
                  </a:cubicBezTo>
                  <a:cubicBezTo>
                    <a:pt x="545399" y="2870"/>
                    <a:pt x="0" y="2207"/>
                    <a:pt x="0" y="1435"/>
                  </a:cubicBezTo>
                  <a:cubicBezTo>
                    <a:pt x="0" y="662"/>
                    <a:pt x="545399" y="0"/>
                    <a:pt x="1218387" y="0"/>
                  </a:cubicBezTo>
                  <a:cubicBezTo>
                    <a:pt x="1891155" y="0"/>
                    <a:pt x="2436664" y="662"/>
                    <a:pt x="2436664" y="1435"/>
                  </a:cubicBezTo>
                  <a:close/>
                </a:path>
              </a:pathLst>
            </a:custGeom>
            <a:solidFill>
              <a:srgbClr val="95B7A9"/>
            </a:solidFill>
            <a:ln w="55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61" name="Group 860">
              <a:extLst>
                <a:ext uri="{FF2B5EF4-FFF2-40B4-BE49-F238E27FC236}">
                  <a16:creationId xmlns:a16="http://schemas.microsoft.com/office/drawing/2014/main" id="{E21F6E3A-31B8-491E-BFF0-52E34CAF7940}"/>
                </a:ext>
              </a:extLst>
            </p:cNvPr>
            <p:cNvGrpSpPr/>
            <p:nvPr/>
          </p:nvGrpSpPr>
          <p:grpSpPr>
            <a:xfrm>
              <a:off x="958888" y="1612740"/>
              <a:ext cx="4119949" cy="4383500"/>
              <a:chOff x="1034109" y="1753349"/>
              <a:chExt cx="3792770" cy="4035392"/>
            </a:xfrm>
          </p:grpSpPr>
          <p:grpSp>
            <p:nvGrpSpPr>
              <p:cNvPr id="16" name="Graphic 13">
                <a:extLst>
                  <a:ext uri="{FF2B5EF4-FFF2-40B4-BE49-F238E27FC236}">
                    <a16:creationId xmlns:a16="http://schemas.microsoft.com/office/drawing/2014/main" id="{B525E9F8-5FBF-4FB4-95A1-75380AFACFC2}"/>
                  </a:ext>
                </a:extLst>
              </p:cNvPr>
              <p:cNvGrpSpPr/>
              <p:nvPr/>
            </p:nvGrpSpPr>
            <p:grpSpPr>
              <a:xfrm>
                <a:off x="1034109" y="1831376"/>
                <a:ext cx="3707364" cy="3957365"/>
                <a:chOff x="1034109" y="1831376"/>
                <a:chExt cx="3707364" cy="3957365"/>
              </a:xfrm>
            </p:grpSpPr>
            <p:grpSp>
              <p:nvGrpSpPr>
                <p:cNvPr id="17" name="Graphic 13">
                  <a:extLst>
                    <a:ext uri="{FF2B5EF4-FFF2-40B4-BE49-F238E27FC236}">
                      <a16:creationId xmlns:a16="http://schemas.microsoft.com/office/drawing/2014/main" id="{9340FFA3-BC35-4CDC-B2A5-3525964587B6}"/>
                    </a:ext>
                  </a:extLst>
                </p:cNvPr>
                <p:cNvGrpSpPr/>
                <p:nvPr/>
              </p:nvGrpSpPr>
              <p:grpSpPr>
                <a:xfrm>
                  <a:off x="1034109" y="3423299"/>
                  <a:ext cx="2169560" cy="766133"/>
                  <a:chOff x="1034109" y="3423299"/>
                  <a:chExt cx="2169560" cy="766133"/>
                </a:xfrm>
              </p:grpSpPr>
              <p:sp>
                <p:nvSpPr>
                  <p:cNvPr id="18" name="Freeform: Shape 17">
                    <a:extLst>
                      <a:ext uri="{FF2B5EF4-FFF2-40B4-BE49-F238E27FC236}">
                        <a16:creationId xmlns:a16="http://schemas.microsoft.com/office/drawing/2014/main" id="{F3B848AF-D540-4E01-99CE-0D7C3AEBB7D5}"/>
                      </a:ext>
                    </a:extLst>
                  </p:cNvPr>
                  <p:cNvSpPr/>
                  <p:nvPr/>
                </p:nvSpPr>
                <p:spPr>
                  <a:xfrm>
                    <a:off x="1034109" y="3423299"/>
                    <a:ext cx="2169560" cy="766133"/>
                  </a:xfrm>
                  <a:custGeom>
                    <a:avLst/>
                    <a:gdLst>
                      <a:gd name="connsiteX0" fmla="*/ 0 w 2169560"/>
                      <a:gd name="connsiteY0" fmla="*/ 151576 h 766133"/>
                      <a:gd name="connsiteX1" fmla="*/ 0 w 2169560"/>
                      <a:gd name="connsiteY1" fmla="*/ 614462 h 766133"/>
                      <a:gd name="connsiteX2" fmla="*/ 151672 w 2169560"/>
                      <a:gd name="connsiteY2" fmla="*/ 766134 h 766133"/>
                      <a:gd name="connsiteX3" fmla="*/ 1811319 w 2169560"/>
                      <a:gd name="connsiteY3" fmla="*/ 766134 h 766133"/>
                      <a:gd name="connsiteX4" fmla="*/ 1962991 w 2169560"/>
                      <a:gd name="connsiteY4" fmla="*/ 614462 h 766133"/>
                      <a:gd name="connsiteX5" fmla="*/ 1962991 w 2169560"/>
                      <a:gd name="connsiteY5" fmla="*/ 223380 h 766133"/>
                      <a:gd name="connsiteX6" fmla="*/ 2169560 w 2169560"/>
                      <a:gd name="connsiteY6" fmla="*/ 6317 h 766133"/>
                      <a:gd name="connsiteX7" fmla="*/ 152158 w 2169560"/>
                      <a:gd name="connsiteY7" fmla="*/ 1 h 766133"/>
                      <a:gd name="connsiteX8" fmla="*/ 0 w 2169560"/>
                      <a:gd name="connsiteY8" fmla="*/ 151576 h 766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169560" h="766133">
                        <a:moveTo>
                          <a:pt x="0" y="151576"/>
                        </a:moveTo>
                        <a:lnTo>
                          <a:pt x="0" y="614462"/>
                        </a:lnTo>
                        <a:cubicBezTo>
                          <a:pt x="0" y="698217"/>
                          <a:pt x="67917" y="766134"/>
                          <a:pt x="151672" y="766134"/>
                        </a:cubicBezTo>
                        <a:lnTo>
                          <a:pt x="1811319" y="766134"/>
                        </a:lnTo>
                        <a:cubicBezTo>
                          <a:pt x="1895074" y="766134"/>
                          <a:pt x="1962991" y="698217"/>
                          <a:pt x="1962991" y="614462"/>
                        </a:cubicBezTo>
                        <a:lnTo>
                          <a:pt x="1962991" y="223380"/>
                        </a:lnTo>
                        <a:lnTo>
                          <a:pt x="2169560" y="6317"/>
                        </a:lnTo>
                        <a:lnTo>
                          <a:pt x="152158" y="1"/>
                        </a:lnTo>
                        <a:cubicBezTo>
                          <a:pt x="68209" y="-291"/>
                          <a:pt x="0" y="67724"/>
                          <a:pt x="0" y="151576"/>
                        </a:cubicBez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" name="Freeform: Shape 18">
                    <a:extLst>
                      <a:ext uri="{FF2B5EF4-FFF2-40B4-BE49-F238E27FC236}">
                        <a16:creationId xmlns:a16="http://schemas.microsoft.com/office/drawing/2014/main" id="{F8D76C67-60C0-43B1-A358-97BBCEACD71A}"/>
                      </a:ext>
                    </a:extLst>
                  </p:cNvPr>
                  <p:cNvSpPr/>
                  <p:nvPr/>
                </p:nvSpPr>
                <p:spPr>
                  <a:xfrm>
                    <a:off x="1246410" y="3650468"/>
                    <a:ext cx="1506128" cy="53245"/>
                  </a:xfrm>
                  <a:custGeom>
                    <a:avLst/>
                    <a:gdLst>
                      <a:gd name="connsiteX0" fmla="*/ 1505935 w 1506128"/>
                      <a:gd name="connsiteY0" fmla="*/ 53245 h 53245"/>
                      <a:gd name="connsiteX1" fmla="*/ 0 w 1506128"/>
                      <a:gd name="connsiteY1" fmla="*/ 46250 h 53245"/>
                      <a:gd name="connsiteX2" fmla="*/ 97 w 1506128"/>
                      <a:gd name="connsiteY2" fmla="*/ 0 h 53245"/>
                      <a:gd name="connsiteX3" fmla="*/ 1506129 w 1506128"/>
                      <a:gd name="connsiteY3" fmla="*/ 6996 h 53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06128" h="53245">
                        <a:moveTo>
                          <a:pt x="1505935" y="53245"/>
                        </a:moveTo>
                        <a:lnTo>
                          <a:pt x="0" y="46250"/>
                        </a:lnTo>
                        <a:lnTo>
                          <a:pt x="97" y="0"/>
                        </a:lnTo>
                        <a:lnTo>
                          <a:pt x="1506129" y="6996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D8C5BC2E-B92D-4736-813B-6B384D37D518}"/>
                      </a:ext>
                    </a:extLst>
                  </p:cNvPr>
                  <p:cNvSpPr/>
                  <p:nvPr/>
                </p:nvSpPr>
                <p:spPr>
                  <a:xfrm>
                    <a:off x="1246410" y="3802723"/>
                    <a:ext cx="1506128" cy="53245"/>
                  </a:xfrm>
                  <a:custGeom>
                    <a:avLst/>
                    <a:gdLst>
                      <a:gd name="connsiteX0" fmla="*/ 1505935 w 1506128"/>
                      <a:gd name="connsiteY0" fmla="*/ 53245 h 53245"/>
                      <a:gd name="connsiteX1" fmla="*/ 0 w 1506128"/>
                      <a:gd name="connsiteY1" fmla="*/ 46347 h 53245"/>
                      <a:gd name="connsiteX2" fmla="*/ 97 w 1506128"/>
                      <a:gd name="connsiteY2" fmla="*/ 0 h 53245"/>
                      <a:gd name="connsiteX3" fmla="*/ 1506129 w 1506128"/>
                      <a:gd name="connsiteY3" fmla="*/ 6996 h 53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06128" h="53245">
                        <a:moveTo>
                          <a:pt x="1505935" y="53245"/>
                        </a:moveTo>
                        <a:lnTo>
                          <a:pt x="0" y="46347"/>
                        </a:lnTo>
                        <a:lnTo>
                          <a:pt x="97" y="0"/>
                        </a:lnTo>
                        <a:lnTo>
                          <a:pt x="1506129" y="6996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09609CD5-57F1-48FE-A5E5-3E7BCA3C9371}"/>
                      </a:ext>
                    </a:extLst>
                  </p:cNvPr>
                  <p:cNvSpPr/>
                  <p:nvPr/>
                </p:nvSpPr>
                <p:spPr>
                  <a:xfrm rot="-5383094">
                    <a:off x="2431425" y="3681816"/>
                    <a:ext cx="46250" cy="595909"/>
                  </a:xfrm>
                  <a:custGeom>
                    <a:avLst/>
                    <a:gdLst>
                      <a:gd name="connsiteX0" fmla="*/ 0 w 46250"/>
                      <a:gd name="connsiteY0" fmla="*/ 0 h 595909"/>
                      <a:gd name="connsiteX1" fmla="*/ 46250 w 46250"/>
                      <a:gd name="connsiteY1" fmla="*/ 0 h 595909"/>
                      <a:gd name="connsiteX2" fmla="*/ 46250 w 46250"/>
                      <a:gd name="connsiteY2" fmla="*/ 595910 h 595909"/>
                      <a:gd name="connsiteX3" fmla="*/ 0 w 46250"/>
                      <a:gd name="connsiteY3" fmla="*/ 595910 h 595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6250" h="595909">
                        <a:moveTo>
                          <a:pt x="0" y="0"/>
                        </a:moveTo>
                        <a:lnTo>
                          <a:pt x="46250" y="0"/>
                        </a:lnTo>
                        <a:lnTo>
                          <a:pt x="46250" y="595910"/>
                        </a:lnTo>
                        <a:lnTo>
                          <a:pt x="0" y="595910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1" name="Graphic 13">
                  <a:extLst>
                    <a:ext uri="{FF2B5EF4-FFF2-40B4-BE49-F238E27FC236}">
                      <a16:creationId xmlns:a16="http://schemas.microsoft.com/office/drawing/2014/main" id="{274284B2-8E79-4D5A-A858-05EFAEB20FCC}"/>
                    </a:ext>
                  </a:extLst>
                </p:cNvPr>
                <p:cNvGrpSpPr/>
                <p:nvPr/>
              </p:nvGrpSpPr>
              <p:grpSpPr>
                <a:xfrm>
                  <a:off x="2571913" y="5022607"/>
                  <a:ext cx="2169560" cy="766133"/>
                  <a:chOff x="2571913" y="5022607"/>
                  <a:chExt cx="2169560" cy="766133"/>
                </a:xfrm>
              </p:grpSpPr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46EDCDA1-D8B0-40F7-B8EF-19D4ED7E4663}"/>
                      </a:ext>
                    </a:extLst>
                  </p:cNvPr>
                  <p:cNvSpPr/>
                  <p:nvPr/>
                </p:nvSpPr>
                <p:spPr>
                  <a:xfrm>
                    <a:off x="2571913" y="5022607"/>
                    <a:ext cx="2169560" cy="766133"/>
                  </a:xfrm>
                  <a:custGeom>
                    <a:avLst/>
                    <a:gdLst>
                      <a:gd name="connsiteX0" fmla="*/ 0 w 2169560"/>
                      <a:gd name="connsiteY0" fmla="*/ 151576 h 766133"/>
                      <a:gd name="connsiteX1" fmla="*/ 0 w 2169560"/>
                      <a:gd name="connsiteY1" fmla="*/ 614462 h 766133"/>
                      <a:gd name="connsiteX2" fmla="*/ 151672 w 2169560"/>
                      <a:gd name="connsiteY2" fmla="*/ 766134 h 766133"/>
                      <a:gd name="connsiteX3" fmla="*/ 1811319 w 2169560"/>
                      <a:gd name="connsiteY3" fmla="*/ 766134 h 766133"/>
                      <a:gd name="connsiteX4" fmla="*/ 1962991 w 2169560"/>
                      <a:gd name="connsiteY4" fmla="*/ 614462 h 766133"/>
                      <a:gd name="connsiteX5" fmla="*/ 1962991 w 2169560"/>
                      <a:gd name="connsiteY5" fmla="*/ 223380 h 766133"/>
                      <a:gd name="connsiteX6" fmla="*/ 2169560 w 2169560"/>
                      <a:gd name="connsiteY6" fmla="*/ 6317 h 766133"/>
                      <a:gd name="connsiteX7" fmla="*/ 152158 w 2169560"/>
                      <a:gd name="connsiteY7" fmla="*/ 1 h 766133"/>
                      <a:gd name="connsiteX8" fmla="*/ 0 w 2169560"/>
                      <a:gd name="connsiteY8" fmla="*/ 151576 h 766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169560" h="766133">
                        <a:moveTo>
                          <a:pt x="0" y="151576"/>
                        </a:moveTo>
                        <a:lnTo>
                          <a:pt x="0" y="614462"/>
                        </a:lnTo>
                        <a:cubicBezTo>
                          <a:pt x="0" y="698217"/>
                          <a:pt x="67917" y="766134"/>
                          <a:pt x="151672" y="766134"/>
                        </a:cubicBezTo>
                        <a:lnTo>
                          <a:pt x="1811319" y="766134"/>
                        </a:lnTo>
                        <a:cubicBezTo>
                          <a:pt x="1895074" y="766134"/>
                          <a:pt x="1962991" y="698217"/>
                          <a:pt x="1962991" y="614462"/>
                        </a:cubicBezTo>
                        <a:lnTo>
                          <a:pt x="1962991" y="223380"/>
                        </a:lnTo>
                        <a:lnTo>
                          <a:pt x="2169560" y="6317"/>
                        </a:lnTo>
                        <a:lnTo>
                          <a:pt x="152158" y="1"/>
                        </a:lnTo>
                        <a:cubicBezTo>
                          <a:pt x="68209" y="-291"/>
                          <a:pt x="0" y="67724"/>
                          <a:pt x="0" y="151576"/>
                        </a:cubicBez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4D6EA7AD-AC53-4C4A-8F89-9D518E771212}"/>
                      </a:ext>
                    </a:extLst>
                  </p:cNvPr>
                  <p:cNvSpPr/>
                  <p:nvPr/>
                </p:nvSpPr>
                <p:spPr>
                  <a:xfrm>
                    <a:off x="2791405" y="5237728"/>
                    <a:ext cx="1506129" cy="53245"/>
                  </a:xfrm>
                  <a:custGeom>
                    <a:avLst/>
                    <a:gdLst>
                      <a:gd name="connsiteX0" fmla="*/ 1506032 w 1506129"/>
                      <a:gd name="connsiteY0" fmla="*/ 53246 h 53245"/>
                      <a:gd name="connsiteX1" fmla="*/ 0 w 1506129"/>
                      <a:gd name="connsiteY1" fmla="*/ 46347 h 53245"/>
                      <a:gd name="connsiteX2" fmla="*/ 97 w 1506129"/>
                      <a:gd name="connsiteY2" fmla="*/ 0 h 53245"/>
                      <a:gd name="connsiteX3" fmla="*/ 1506129 w 1506129"/>
                      <a:gd name="connsiteY3" fmla="*/ 6996 h 53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06129" h="53245">
                        <a:moveTo>
                          <a:pt x="1506032" y="53246"/>
                        </a:moveTo>
                        <a:lnTo>
                          <a:pt x="0" y="46347"/>
                        </a:lnTo>
                        <a:lnTo>
                          <a:pt x="97" y="0"/>
                        </a:lnTo>
                        <a:lnTo>
                          <a:pt x="1506129" y="6996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F0B5BC8E-90E7-487B-8C4B-296981B04490}"/>
                      </a:ext>
                    </a:extLst>
                  </p:cNvPr>
                  <p:cNvSpPr/>
                  <p:nvPr/>
                </p:nvSpPr>
                <p:spPr>
                  <a:xfrm>
                    <a:off x="2791405" y="5389983"/>
                    <a:ext cx="1506129" cy="53245"/>
                  </a:xfrm>
                  <a:custGeom>
                    <a:avLst/>
                    <a:gdLst>
                      <a:gd name="connsiteX0" fmla="*/ 1506032 w 1506129"/>
                      <a:gd name="connsiteY0" fmla="*/ 53245 h 53245"/>
                      <a:gd name="connsiteX1" fmla="*/ 0 w 1506129"/>
                      <a:gd name="connsiteY1" fmla="*/ 46347 h 53245"/>
                      <a:gd name="connsiteX2" fmla="*/ 97 w 1506129"/>
                      <a:gd name="connsiteY2" fmla="*/ 0 h 53245"/>
                      <a:gd name="connsiteX3" fmla="*/ 1506129 w 1506129"/>
                      <a:gd name="connsiteY3" fmla="*/ 6995 h 53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06129" h="53245">
                        <a:moveTo>
                          <a:pt x="1506032" y="53245"/>
                        </a:moveTo>
                        <a:lnTo>
                          <a:pt x="0" y="46347"/>
                        </a:lnTo>
                        <a:lnTo>
                          <a:pt x="97" y="0"/>
                        </a:lnTo>
                        <a:lnTo>
                          <a:pt x="1506129" y="6995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CEC6A1D7-9347-4F34-B11E-E0F99F97C28B}"/>
                      </a:ext>
                    </a:extLst>
                  </p:cNvPr>
                  <p:cNvSpPr/>
                  <p:nvPr/>
                </p:nvSpPr>
                <p:spPr>
                  <a:xfrm rot="-5383088">
                    <a:off x="3976440" y="5269106"/>
                    <a:ext cx="46250" cy="595909"/>
                  </a:xfrm>
                  <a:custGeom>
                    <a:avLst/>
                    <a:gdLst>
                      <a:gd name="connsiteX0" fmla="*/ 0 w 46250"/>
                      <a:gd name="connsiteY0" fmla="*/ 0 h 595909"/>
                      <a:gd name="connsiteX1" fmla="*/ 46250 w 46250"/>
                      <a:gd name="connsiteY1" fmla="*/ 0 h 595909"/>
                      <a:gd name="connsiteX2" fmla="*/ 46250 w 46250"/>
                      <a:gd name="connsiteY2" fmla="*/ 595910 h 595909"/>
                      <a:gd name="connsiteX3" fmla="*/ 0 w 46250"/>
                      <a:gd name="connsiteY3" fmla="*/ 595910 h 595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6250" h="595909">
                        <a:moveTo>
                          <a:pt x="0" y="0"/>
                        </a:moveTo>
                        <a:lnTo>
                          <a:pt x="46250" y="0"/>
                        </a:lnTo>
                        <a:lnTo>
                          <a:pt x="46250" y="595910"/>
                        </a:lnTo>
                        <a:lnTo>
                          <a:pt x="0" y="595910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B2A6D620-ACA1-48B2-BCE7-B0EC8D3F68AD}"/>
                    </a:ext>
                  </a:extLst>
                </p:cNvPr>
                <p:cNvSpPr/>
                <p:nvPr/>
              </p:nvSpPr>
              <p:spPr>
                <a:xfrm>
                  <a:off x="1921210" y="1831376"/>
                  <a:ext cx="1066561" cy="654297"/>
                </a:xfrm>
                <a:custGeom>
                  <a:avLst/>
                  <a:gdLst>
                    <a:gd name="connsiteX0" fmla="*/ 0 w 1066561"/>
                    <a:gd name="connsiteY0" fmla="*/ 0 h 654297"/>
                    <a:gd name="connsiteX1" fmla="*/ 978823 w 1066561"/>
                    <a:gd name="connsiteY1" fmla="*/ 0 h 654297"/>
                    <a:gd name="connsiteX2" fmla="*/ 1066562 w 1066561"/>
                    <a:gd name="connsiteY2" fmla="*/ 87738 h 654297"/>
                    <a:gd name="connsiteX3" fmla="*/ 1066562 w 1066561"/>
                    <a:gd name="connsiteY3" fmla="*/ 566559 h 654297"/>
                    <a:gd name="connsiteX4" fmla="*/ 978823 w 1066561"/>
                    <a:gd name="connsiteY4" fmla="*/ 654298 h 654297"/>
                    <a:gd name="connsiteX5" fmla="*/ 148174 w 1066561"/>
                    <a:gd name="connsiteY5" fmla="*/ 654298 h 654297"/>
                    <a:gd name="connsiteX6" fmla="*/ 60436 w 1066561"/>
                    <a:gd name="connsiteY6" fmla="*/ 566559 h 654297"/>
                    <a:gd name="connsiteX7" fmla="*/ 60436 w 1066561"/>
                    <a:gd name="connsiteY7" fmla="*/ 60533 h 654297"/>
                    <a:gd name="connsiteX8" fmla="*/ 0 w 1066561"/>
                    <a:gd name="connsiteY8" fmla="*/ 0 h 654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66561" h="654297">
                      <a:moveTo>
                        <a:pt x="0" y="0"/>
                      </a:moveTo>
                      <a:lnTo>
                        <a:pt x="978823" y="0"/>
                      </a:lnTo>
                      <a:cubicBezTo>
                        <a:pt x="1027308" y="0"/>
                        <a:pt x="1066562" y="39254"/>
                        <a:pt x="1066562" y="87738"/>
                      </a:cubicBezTo>
                      <a:lnTo>
                        <a:pt x="1066562" y="566559"/>
                      </a:lnTo>
                      <a:cubicBezTo>
                        <a:pt x="1066562" y="615044"/>
                        <a:pt x="1027308" y="654298"/>
                        <a:pt x="978823" y="654298"/>
                      </a:cubicBezTo>
                      <a:lnTo>
                        <a:pt x="148174" y="654298"/>
                      </a:lnTo>
                      <a:cubicBezTo>
                        <a:pt x="99690" y="654298"/>
                        <a:pt x="60436" y="615044"/>
                        <a:pt x="60436" y="566559"/>
                      </a:cubicBezTo>
                      <a:lnTo>
                        <a:pt x="60436" y="605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5F5F5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63" name="Graphic 13">
                  <a:extLst>
                    <a:ext uri="{FF2B5EF4-FFF2-40B4-BE49-F238E27FC236}">
                      <a16:creationId xmlns:a16="http://schemas.microsoft.com/office/drawing/2014/main" id="{6578BF4A-C3D6-4F78-9725-0B79D31CBD38}"/>
                    </a:ext>
                  </a:extLst>
                </p:cNvPr>
                <p:cNvGrpSpPr/>
                <p:nvPr/>
              </p:nvGrpSpPr>
              <p:grpSpPr>
                <a:xfrm>
                  <a:off x="1049752" y="2196127"/>
                  <a:ext cx="1438891" cy="508164"/>
                  <a:chOff x="1049752" y="2196127"/>
                  <a:chExt cx="1438891" cy="508164"/>
                </a:xfrm>
              </p:grpSpPr>
              <p:sp>
                <p:nvSpPr>
                  <p:cNvPr id="256" name="Freeform: Shape 255">
                    <a:extLst>
                      <a:ext uri="{FF2B5EF4-FFF2-40B4-BE49-F238E27FC236}">
                        <a16:creationId xmlns:a16="http://schemas.microsoft.com/office/drawing/2014/main" id="{4C6390ED-7D48-40B0-9478-A9D71EC09AA0}"/>
                      </a:ext>
                    </a:extLst>
                  </p:cNvPr>
                  <p:cNvSpPr/>
                  <p:nvPr/>
                </p:nvSpPr>
                <p:spPr>
                  <a:xfrm>
                    <a:off x="1049752" y="2196127"/>
                    <a:ext cx="1438891" cy="508164"/>
                  </a:xfrm>
                  <a:custGeom>
                    <a:avLst/>
                    <a:gdLst>
                      <a:gd name="connsiteX0" fmla="*/ 1438892 w 1438891"/>
                      <a:gd name="connsiteY0" fmla="*/ 100661 h 508164"/>
                      <a:gd name="connsiteX1" fmla="*/ 1438892 w 1438891"/>
                      <a:gd name="connsiteY1" fmla="*/ 407600 h 508164"/>
                      <a:gd name="connsiteX2" fmla="*/ 1338328 w 1438891"/>
                      <a:gd name="connsiteY2" fmla="*/ 508164 h 508164"/>
                      <a:gd name="connsiteX3" fmla="*/ 237564 w 1438891"/>
                      <a:gd name="connsiteY3" fmla="*/ 508164 h 508164"/>
                      <a:gd name="connsiteX4" fmla="*/ 137000 w 1438891"/>
                      <a:gd name="connsiteY4" fmla="*/ 407600 h 508164"/>
                      <a:gd name="connsiteX5" fmla="*/ 137000 w 1438891"/>
                      <a:gd name="connsiteY5" fmla="*/ 148174 h 508164"/>
                      <a:gd name="connsiteX6" fmla="*/ 0 w 1438891"/>
                      <a:gd name="connsiteY6" fmla="*/ 4178 h 508164"/>
                      <a:gd name="connsiteX7" fmla="*/ 1338036 w 1438891"/>
                      <a:gd name="connsiteY7" fmla="*/ 0 h 508164"/>
                      <a:gd name="connsiteX8" fmla="*/ 1438892 w 1438891"/>
                      <a:gd name="connsiteY8" fmla="*/ 100661 h 508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38891" h="508164">
                        <a:moveTo>
                          <a:pt x="1438892" y="100661"/>
                        </a:moveTo>
                        <a:lnTo>
                          <a:pt x="1438892" y="407600"/>
                        </a:lnTo>
                        <a:cubicBezTo>
                          <a:pt x="1438892" y="463178"/>
                          <a:pt x="1393905" y="508164"/>
                          <a:pt x="1338328" y="508164"/>
                        </a:cubicBezTo>
                        <a:lnTo>
                          <a:pt x="237564" y="508164"/>
                        </a:lnTo>
                        <a:cubicBezTo>
                          <a:pt x="181987" y="508164"/>
                          <a:pt x="137000" y="463178"/>
                          <a:pt x="137000" y="407600"/>
                        </a:cubicBezTo>
                        <a:lnTo>
                          <a:pt x="137000" y="148174"/>
                        </a:lnTo>
                        <a:lnTo>
                          <a:pt x="0" y="4178"/>
                        </a:lnTo>
                        <a:lnTo>
                          <a:pt x="1338036" y="0"/>
                        </a:lnTo>
                        <a:cubicBezTo>
                          <a:pt x="1393711" y="0"/>
                          <a:pt x="1438892" y="44987"/>
                          <a:pt x="1438892" y="100661"/>
                        </a:cubicBez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7" name="Freeform: Shape 256">
                    <a:extLst>
                      <a:ext uri="{FF2B5EF4-FFF2-40B4-BE49-F238E27FC236}">
                        <a16:creationId xmlns:a16="http://schemas.microsoft.com/office/drawing/2014/main" id="{5AE21184-8BAB-4731-8D37-A042692ECE0C}"/>
                      </a:ext>
                    </a:extLst>
                  </p:cNvPr>
                  <p:cNvSpPr/>
                  <p:nvPr/>
                </p:nvSpPr>
                <p:spPr>
                  <a:xfrm>
                    <a:off x="1348918" y="2346924"/>
                    <a:ext cx="999033" cy="35270"/>
                  </a:xfrm>
                  <a:custGeom>
                    <a:avLst/>
                    <a:gdLst>
                      <a:gd name="connsiteX0" fmla="*/ 97 w 999033"/>
                      <a:gd name="connsiteY0" fmla="*/ 35270 h 35270"/>
                      <a:gd name="connsiteX1" fmla="*/ 999033 w 999033"/>
                      <a:gd name="connsiteY1" fmla="*/ 30704 h 35270"/>
                      <a:gd name="connsiteX2" fmla="*/ 998839 w 999033"/>
                      <a:gd name="connsiteY2" fmla="*/ 0 h 35270"/>
                      <a:gd name="connsiteX3" fmla="*/ 0 w 999033"/>
                      <a:gd name="connsiteY3" fmla="*/ 4664 h 3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9033" h="35270">
                        <a:moveTo>
                          <a:pt x="97" y="35270"/>
                        </a:moveTo>
                        <a:lnTo>
                          <a:pt x="999033" y="30704"/>
                        </a:lnTo>
                        <a:lnTo>
                          <a:pt x="998839" y="0"/>
                        </a:lnTo>
                        <a:lnTo>
                          <a:pt x="0" y="4664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8" name="Freeform: Shape 257">
                    <a:extLst>
                      <a:ext uri="{FF2B5EF4-FFF2-40B4-BE49-F238E27FC236}">
                        <a16:creationId xmlns:a16="http://schemas.microsoft.com/office/drawing/2014/main" id="{7C2C993E-0246-4B0B-83AF-CF8B0D156292}"/>
                      </a:ext>
                    </a:extLst>
                  </p:cNvPr>
                  <p:cNvSpPr/>
                  <p:nvPr/>
                </p:nvSpPr>
                <p:spPr>
                  <a:xfrm>
                    <a:off x="1348918" y="2447974"/>
                    <a:ext cx="999033" cy="35270"/>
                  </a:xfrm>
                  <a:custGeom>
                    <a:avLst/>
                    <a:gdLst>
                      <a:gd name="connsiteX0" fmla="*/ 97 w 999033"/>
                      <a:gd name="connsiteY0" fmla="*/ 35270 h 35270"/>
                      <a:gd name="connsiteX1" fmla="*/ 999033 w 999033"/>
                      <a:gd name="connsiteY1" fmla="*/ 30704 h 35270"/>
                      <a:gd name="connsiteX2" fmla="*/ 998839 w 999033"/>
                      <a:gd name="connsiteY2" fmla="*/ 0 h 35270"/>
                      <a:gd name="connsiteX3" fmla="*/ 0 w 999033"/>
                      <a:gd name="connsiteY3" fmla="*/ 4567 h 3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9033" h="35270">
                        <a:moveTo>
                          <a:pt x="97" y="35270"/>
                        </a:moveTo>
                        <a:lnTo>
                          <a:pt x="999033" y="30704"/>
                        </a:lnTo>
                        <a:lnTo>
                          <a:pt x="998839" y="0"/>
                        </a:lnTo>
                        <a:lnTo>
                          <a:pt x="0" y="4567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9" name="Freeform: Shape 258">
                    <a:extLst>
                      <a:ext uri="{FF2B5EF4-FFF2-40B4-BE49-F238E27FC236}">
                        <a16:creationId xmlns:a16="http://schemas.microsoft.com/office/drawing/2014/main" id="{C324D5D4-D3D9-4547-8470-779A6D6E6157}"/>
                      </a:ext>
                    </a:extLst>
                  </p:cNvPr>
                  <p:cNvSpPr/>
                  <p:nvPr/>
                </p:nvSpPr>
                <p:spPr>
                  <a:xfrm rot="-16920">
                    <a:off x="1349025" y="2550009"/>
                    <a:ext cx="395265" cy="30703"/>
                  </a:xfrm>
                  <a:custGeom>
                    <a:avLst/>
                    <a:gdLst>
                      <a:gd name="connsiteX0" fmla="*/ 0 w 395265"/>
                      <a:gd name="connsiteY0" fmla="*/ 0 h 30703"/>
                      <a:gd name="connsiteX1" fmla="*/ 395265 w 395265"/>
                      <a:gd name="connsiteY1" fmla="*/ 0 h 30703"/>
                      <a:gd name="connsiteX2" fmla="*/ 395265 w 395265"/>
                      <a:gd name="connsiteY2" fmla="*/ 30704 h 30703"/>
                      <a:gd name="connsiteX3" fmla="*/ 0 w 395265"/>
                      <a:gd name="connsiteY3" fmla="*/ 30704 h 307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265" h="30703">
                        <a:moveTo>
                          <a:pt x="0" y="0"/>
                        </a:moveTo>
                        <a:lnTo>
                          <a:pt x="395265" y="0"/>
                        </a:lnTo>
                        <a:lnTo>
                          <a:pt x="395265" y="30704"/>
                        </a:lnTo>
                        <a:lnTo>
                          <a:pt x="0" y="30704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60" name="Graphic 13">
                  <a:extLst>
                    <a:ext uri="{FF2B5EF4-FFF2-40B4-BE49-F238E27FC236}">
                      <a16:creationId xmlns:a16="http://schemas.microsoft.com/office/drawing/2014/main" id="{FB39C409-BD95-4B4D-AF1B-3A805CED48F8}"/>
                    </a:ext>
                  </a:extLst>
                </p:cNvPr>
                <p:cNvGrpSpPr/>
                <p:nvPr/>
              </p:nvGrpSpPr>
              <p:grpSpPr>
                <a:xfrm>
                  <a:off x="3135071" y="3619667"/>
                  <a:ext cx="1438794" cy="508164"/>
                  <a:chOff x="3135071" y="3619667"/>
                  <a:chExt cx="1438794" cy="508164"/>
                </a:xfrm>
              </p:grpSpPr>
              <p:sp>
                <p:nvSpPr>
                  <p:cNvPr id="261" name="Freeform: Shape 260">
                    <a:extLst>
                      <a:ext uri="{FF2B5EF4-FFF2-40B4-BE49-F238E27FC236}">
                        <a16:creationId xmlns:a16="http://schemas.microsoft.com/office/drawing/2014/main" id="{80F08FF7-D784-4DAE-A694-311245D28816}"/>
                      </a:ext>
                    </a:extLst>
                  </p:cNvPr>
                  <p:cNvSpPr/>
                  <p:nvPr/>
                </p:nvSpPr>
                <p:spPr>
                  <a:xfrm>
                    <a:off x="3135071" y="3619667"/>
                    <a:ext cx="1438794" cy="508164"/>
                  </a:xfrm>
                  <a:custGeom>
                    <a:avLst/>
                    <a:gdLst>
                      <a:gd name="connsiteX0" fmla="*/ 1438795 w 1438794"/>
                      <a:gd name="connsiteY0" fmla="*/ 100661 h 508164"/>
                      <a:gd name="connsiteX1" fmla="*/ 1438795 w 1438794"/>
                      <a:gd name="connsiteY1" fmla="*/ 407600 h 508164"/>
                      <a:gd name="connsiteX2" fmla="*/ 1338231 w 1438794"/>
                      <a:gd name="connsiteY2" fmla="*/ 508164 h 508164"/>
                      <a:gd name="connsiteX3" fmla="*/ 237564 w 1438794"/>
                      <a:gd name="connsiteY3" fmla="*/ 508164 h 508164"/>
                      <a:gd name="connsiteX4" fmla="*/ 137000 w 1438794"/>
                      <a:gd name="connsiteY4" fmla="*/ 407600 h 508164"/>
                      <a:gd name="connsiteX5" fmla="*/ 137000 w 1438794"/>
                      <a:gd name="connsiteY5" fmla="*/ 148174 h 508164"/>
                      <a:gd name="connsiteX6" fmla="*/ 0 w 1438794"/>
                      <a:gd name="connsiteY6" fmla="*/ 4178 h 508164"/>
                      <a:gd name="connsiteX7" fmla="*/ 1338036 w 1438794"/>
                      <a:gd name="connsiteY7" fmla="*/ 0 h 508164"/>
                      <a:gd name="connsiteX8" fmla="*/ 1438795 w 1438794"/>
                      <a:gd name="connsiteY8" fmla="*/ 100661 h 508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38794" h="508164">
                        <a:moveTo>
                          <a:pt x="1438795" y="100661"/>
                        </a:moveTo>
                        <a:lnTo>
                          <a:pt x="1438795" y="407600"/>
                        </a:lnTo>
                        <a:cubicBezTo>
                          <a:pt x="1438795" y="463177"/>
                          <a:pt x="1393808" y="508164"/>
                          <a:pt x="1338231" y="508164"/>
                        </a:cubicBezTo>
                        <a:lnTo>
                          <a:pt x="237564" y="508164"/>
                        </a:lnTo>
                        <a:cubicBezTo>
                          <a:pt x="181987" y="508164"/>
                          <a:pt x="137000" y="463177"/>
                          <a:pt x="137000" y="407600"/>
                        </a:cubicBezTo>
                        <a:lnTo>
                          <a:pt x="137000" y="148174"/>
                        </a:lnTo>
                        <a:lnTo>
                          <a:pt x="0" y="4178"/>
                        </a:lnTo>
                        <a:lnTo>
                          <a:pt x="1338036" y="0"/>
                        </a:lnTo>
                        <a:cubicBezTo>
                          <a:pt x="1393614" y="0"/>
                          <a:pt x="1438795" y="45084"/>
                          <a:pt x="1438795" y="100661"/>
                        </a:cubicBez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2" name="Freeform: Shape 261">
                    <a:extLst>
                      <a:ext uri="{FF2B5EF4-FFF2-40B4-BE49-F238E27FC236}">
                        <a16:creationId xmlns:a16="http://schemas.microsoft.com/office/drawing/2014/main" id="{A6A78BED-4F57-4982-B0A4-25D46D772646}"/>
                      </a:ext>
                    </a:extLst>
                  </p:cNvPr>
                  <p:cNvSpPr/>
                  <p:nvPr/>
                </p:nvSpPr>
                <p:spPr>
                  <a:xfrm>
                    <a:off x="3434140" y="3770464"/>
                    <a:ext cx="999033" cy="35367"/>
                  </a:xfrm>
                  <a:custGeom>
                    <a:avLst/>
                    <a:gdLst>
                      <a:gd name="connsiteX0" fmla="*/ 97 w 999033"/>
                      <a:gd name="connsiteY0" fmla="*/ 35367 h 35367"/>
                      <a:gd name="connsiteX1" fmla="*/ 999034 w 999033"/>
                      <a:gd name="connsiteY1" fmla="*/ 30704 h 35367"/>
                      <a:gd name="connsiteX2" fmla="*/ 998839 w 999033"/>
                      <a:gd name="connsiteY2" fmla="*/ 0 h 35367"/>
                      <a:gd name="connsiteX3" fmla="*/ 0 w 999033"/>
                      <a:gd name="connsiteY3" fmla="*/ 4664 h 35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9033" h="35367">
                        <a:moveTo>
                          <a:pt x="97" y="35367"/>
                        </a:moveTo>
                        <a:lnTo>
                          <a:pt x="999034" y="30704"/>
                        </a:lnTo>
                        <a:lnTo>
                          <a:pt x="998839" y="0"/>
                        </a:lnTo>
                        <a:lnTo>
                          <a:pt x="0" y="4664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eform: Shape 262">
                    <a:extLst>
                      <a:ext uri="{FF2B5EF4-FFF2-40B4-BE49-F238E27FC236}">
                        <a16:creationId xmlns:a16="http://schemas.microsoft.com/office/drawing/2014/main" id="{68351F4A-5CC3-45EC-9669-BDDD6EDF68BB}"/>
                      </a:ext>
                    </a:extLst>
                  </p:cNvPr>
                  <p:cNvSpPr/>
                  <p:nvPr/>
                </p:nvSpPr>
                <p:spPr>
                  <a:xfrm>
                    <a:off x="3434140" y="3871514"/>
                    <a:ext cx="999033" cy="35270"/>
                  </a:xfrm>
                  <a:custGeom>
                    <a:avLst/>
                    <a:gdLst>
                      <a:gd name="connsiteX0" fmla="*/ 97 w 999033"/>
                      <a:gd name="connsiteY0" fmla="*/ 35270 h 35270"/>
                      <a:gd name="connsiteX1" fmla="*/ 999034 w 999033"/>
                      <a:gd name="connsiteY1" fmla="*/ 30704 h 35270"/>
                      <a:gd name="connsiteX2" fmla="*/ 998839 w 999033"/>
                      <a:gd name="connsiteY2" fmla="*/ 0 h 35270"/>
                      <a:gd name="connsiteX3" fmla="*/ 0 w 999033"/>
                      <a:gd name="connsiteY3" fmla="*/ 4567 h 3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99033" h="35270">
                        <a:moveTo>
                          <a:pt x="97" y="35270"/>
                        </a:moveTo>
                        <a:lnTo>
                          <a:pt x="999034" y="30704"/>
                        </a:lnTo>
                        <a:lnTo>
                          <a:pt x="998839" y="0"/>
                        </a:lnTo>
                        <a:lnTo>
                          <a:pt x="0" y="4567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eform: Shape 263">
                    <a:extLst>
                      <a:ext uri="{FF2B5EF4-FFF2-40B4-BE49-F238E27FC236}">
                        <a16:creationId xmlns:a16="http://schemas.microsoft.com/office/drawing/2014/main" id="{F0E771F0-BF0B-4D92-94C4-62C193D974C3}"/>
                      </a:ext>
                    </a:extLst>
                  </p:cNvPr>
                  <p:cNvSpPr/>
                  <p:nvPr/>
                </p:nvSpPr>
                <p:spPr>
                  <a:xfrm rot="-16920">
                    <a:off x="3434273" y="3973567"/>
                    <a:ext cx="395265" cy="30703"/>
                  </a:xfrm>
                  <a:custGeom>
                    <a:avLst/>
                    <a:gdLst>
                      <a:gd name="connsiteX0" fmla="*/ 0 w 395265"/>
                      <a:gd name="connsiteY0" fmla="*/ 0 h 30703"/>
                      <a:gd name="connsiteX1" fmla="*/ 395265 w 395265"/>
                      <a:gd name="connsiteY1" fmla="*/ 0 h 30703"/>
                      <a:gd name="connsiteX2" fmla="*/ 395265 w 395265"/>
                      <a:gd name="connsiteY2" fmla="*/ 30704 h 30703"/>
                      <a:gd name="connsiteX3" fmla="*/ 0 w 395265"/>
                      <a:gd name="connsiteY3" fmla="*/ 30704 h 307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265" h="30703">
                        <a:moveTo>
                          <a:pt x="0" y="0"/>
                        </a:moveTo>
                        <a:lnTo>
                          <a:pt x="395265" y="0"/>
                        </a:lnTo>
                        <a:lnTo>
                          <a:pt x="395265" y="30704"/>
                        </a:lnTo>
                        <a:lnTo>
                          <a:pt x="0" y="30704"/>
                        </a:lnTo>
                        <a:close/>
                      </a:path>
                    </a:pathLst>
                  </a:custGeom>
                  <a:solidFill>
                    <a:srgbClr val="F5F5F5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65" name="Graphic 13">
                <a:extLst>
                  <a:ext uri="{FF2B5EF4-FFF2-40B4-BE49-F238E27FC236}">
                    <a16:creationId xmlns:a16="http://schemas.microsoft.com/office/drawing/2014/main" id="{4C7777B8-FF17-4C6C-B673-9F6F9A025FA3}"/>
                  </a:ext>
                </a:extLst>
              </p:cNvPr>
              <p:cNvGrpSpPr/>
              <p:nvPr/>
            </p:nvGrpSpPr>
            <p:grpSpPr>
              <a:xfrm>
                <a:off x="1641698" y="2725645"/>
                <a:ext cx="2960362" cy="2680078"/>
                <a:chOff x="1641698" y="2725645"/>
                <a:chExt cx="2960362" cy="2680078"/>
              </a:xfrm>
            </p:grpSpPr>
            <p:grpSp>
              <p:nvGrpSpPr>
                <p:cNvPr id="266" name="Graphic 13">
                  <a:extLst>
                    <a:ext uri="{FF2B5EF4-FFF2-40B4-BE49-F238E27FC236}">
                      <a16:creationId xmlns:a16="http://schemas.microsoft.com/office/drawing/2014/main" id="{31532208-2803-47F0-ABAF-B9E309854244}"/>
                    </a:ext>
                  </a:extLst>
                </p:cNvPr>
                <p:cNvGrpSpPr/>
                <p:nvPr/>
              </p:nvGrpSpPr>
              <p:grpSpPr>
                <a:xfrm>
                  <a:off x="3483267" y="4069313"/>
                  <a:ext cx="1118792" cy="1336410"/>
                  <a:chOff x="3483267" y="4069313"/>
                  <a:chExt cx="1118792" cy="1336410"/>
                </a:xfrm>
              </p:grpSpPr>
              <p:sp>
                <p:nvSpPr>
                  <p:cNvPr id="267" name="Freeform: Shape 266">
                    <a:extLst>
                      <a:ext uri="{FF2B5EF4-FFF2-40B4-BE49-F238E27FC236}">
                        <a16:creationId xmlns:a16="http://schemas.microsoft.com/office/drawing/2014/main" id="{4175A216-3DEE-4E82-855F-B951722EA96E}"/>
                      </a:ext>
                    </a:extLst>
                  </p:cNvPr>
                  <p:cNvSpPr/>
                  <p:nvPr/>
                </p:nvSpPr>
                <p:spPr>
                  <a:xfrm>
                    <a:off x="3483267" y="4069313"/>
                    <a:ext cx="1118792" cy="1231862"/>
                  </a:xfrm>
                  <a:custGeom>
                    <a:avLst/>
                    <a:gdLst>
                      <a:gd name="connsiteX0" fmla="*/ 147726 w 1118792"/>
                      <a:gd name="connsiteY0" fmla="*/ 1175022 h 1231862"/>
                      <a:gd name="connsiteX1" fmla="*/ 23357 w 1118792"/>
                      <a:gd name="connsiteY1" fmla="*/ 551720 h 1231862"/>
                      <a:gd name="connsiteX2" fmla="*/ 55129 w 1118792"/>
                      <a:gd name="connsiteY2" fmla="*/ 448143 h 1231862"/>
                      <a:gd name="connsiteX3" fmla="*/ 151030 w 1118792"/>
                      <a:gd name="connsiteY3" fmla="*/ 424630 h 1231862"/>
                      <a:gd name="connsiteX4" fmla="*/ 193198 w 1118792"/>
                      <a:gd name="connsiteY4" fmla="*/ 503041 h 1231862"/>
                      <a:gd name="connsiteX5" fmla="*/ 264711 w 1118792"/>
                      <a:gd name="connsiteY5" fmla="*/ 597872 h 1231862"/>
                      <a:gd name="connsiteX6" fmla="*/ 337875 w 1118792"/>
                      <a:gd name="connsiteY6" fmla="*/ 616722 h 1231862"/>
                      <a:gd name="connsiteX7" fmla="*/ 388302 w 1118792"/>
                      <a:gd name="connsiteY7" fmla="*/ 526166 h 1231862"/>
                      <a:gd name="connsiteX8" fmla="*/ 419978 w 1118792"/>
                      <a:gd name="connsiteY8" fmla="*/ 324940 h 1231862"/>
                      <a:gd name="connsiteX9" fmla="*/ 448349 w 1118792"/>
                      <a:gd name="connsiteY9" fmla="*/ 219907 h 1231862"/>
                      <a:gd name="connsiteX10" fmla="*/ 530744 w 1118792"/>
                      <a:gd name="connsiteY10" fmla="*/ 155973 h 1231862"/>
                      <a:gd name="connsiteX11" fmla="*/ 607017 w 1118792"/>
                      <a:gd name="connsiteY11" fmla="*/ 215049 h 1231862"/>
                      <a:gd name="connsiteX12" fmla="*/ 600701 w 1118792"/>
                      <a:gd name="connsiteY12" fmla="*/ 259938 h 1231862"/>
                      <a:gd name="connsiteX13" fmla="*/ 617025 w 1118792"/>
                      <a:gd name="connsiteY13" fmla="*/ 299192 h 1231862"/>
                      <a:gd name="connsiteX14" fmla="*/ 659194 w 1118792"/>
                      <a:gd name="connsiteY14" fmla="*/ 289184 h 1231862"/>
                      <a:gd name="connsiteX15" fmla="*/ 766268 w 1118792"/>
                      <a:gd name="connsiteY15" fmla="*/ 173657 h 1231862"/>
                      <a:gd name="connsiteX16" fmla="*/ 868192 w 1118792"/>
                      <a:gd name="connsiteY16" fmla="*/ 53077 h 1231862"/>
                      <a:gd name="connsiteX17" fmla="*/ 1011994 w 1118792"/>
                      <a:gd name="connsiteY17" fmla="*/ 803 h 1231862"/>
                      <a:gd name="connsiteX18" fmla="*/ 1118388 w 1118792"/>
                      <a:gd name="connsiteY18" fmla="*/ 99716 h 1231862"/>
                      <a:gd name="connsiteX19" fmla="*/ 1046292 w 1118792"/>
                      <a:gd name="connsiteY19" fmla="*/ 234870 h 1231862"/>
                      <a:gd name="connsiteX20" fmla="*/ 853132 w 1118792"/>
                      <a:gd name="connsiteY20" fmla="*/ 366818 h 1231862"/>
                      <a:gd name="connsiteX21" fmla="*/ 820291 w 1118792"/>
                      <a:gd name="connsiteY21" fmla="*/ 392275 h 1231862"/>
                      <a:gd name="connsiteX22" fmla="*/ 849731 w 1118792"/>
                      <a:gd name="connsiteY22" fmla="*/ 454265 h 1231862"/>
                      <a:gd name="connsiteX23" fmla="*/ 932125 w 1118792"/>
                      <a:gd name="connsiteY23" fmla="*/ 477487 h 1231862"/>
                      <a:gd name="connsiteX24" fmla="*/ 994213 w 1118792"/>
                      <a:gd name="connsiteY24" fmla="*/ 530926 h 1231862"/>
                      <a:gd name="connsiteX25" fmla="*/ 931543 w 1118792"/>
                      <a:gd name="connsiteY25" fmla="*/ 623815 h 1231862"/>
                      <a:gd name="connsiteX26" fmla="*/ 708844 w 1118792"/>
                      <a:gd name="connsiteY26" fmla="*/ 707958 h 1231862"/>
                      <a:gd name="connsiteX27" fmla="*/ 627227 w 1118792"/>
                      <a:gd name="connsiteY27" fmla="*/ 732346 h 1231862"/>
                      <a:gd name="connsiteX28" fmla="*/ 593414 w 1118792"/>
                      <a:gd name="connsiteY28" fmla="*/ 805024 h 1231862"/>
                      <a:gd name="connsiteX29" fmla="*/ 662400 w 1118792"/>
                      <a:gd name="connsiteY29" fmla="*/ 845444 h 1231862"/>
                      <a:gd name="connsiteX30" fmla="*/ 746252 w 1118792"/>
                      <a:gd name="connsiteY30" fmla="*/ 828246 h 1231862"/>
                      <a:gd name="connsiteX31" fmla="*/ 886653 w 1118792"/>
                      <a:gd name="connsiteY31" fmla="*/ 879452 h 1231862"/>
                      <a:gd name="connsiteX32" fmla="*/ 882281 w 1118792"/>
                      <a:gd name="connsiteY32" fmla="*/ 982056 h 1231862"/>
                      <a:gd name="connsiteX33" fmla="*/ 813198 w 1118792"/>
                      <a:gd name="connsiteY33" fmla="*/ 1062021 h 1231862"/>
                      <a:gd name="connsiteX34" fmla="*/ 484105 w 1118792"/>
                      <a:gd name="connsiteY34" fmla="*/ 1221175 h 1231862"/>
                      <a:gd name="connsiteX35" fmla="*/ 147726 w 1118792"/>
                      <a:gd name="connsiteY35" fmla="*/ 1175022 h 12318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</a:cxnLst>
                    <a:rect l="l" t="t" r="r" b="b"/>
                    <a:pathLst>
                      <a:path w="1118792" h="1231862">
                        <a:moveTo>
                          <a:pt x="147726" y="1175022"/>
                        </a:moveTo>
                        <a:cubicBezTo>
                          <a:pt x="-16771" y="1014800"/>
                          <a:pt x="-19492" y="767034"/>
                          <a:pt x="23357" y="551720"/>
                        </a:cubicBezTo>
                        <a:cubicBezTo>
                          <a:pt x="30450" y="515769"/>
                          <a:pt x="32782" y="477001"/>
                          <a:pt x="55129" y="448143"/>
                        </a:cubicBezTo>
                        <a:cubicBezTo>
                          <a:pt x="77477" y="419286"/>
                          <a:pt x="121200" y="404128"/>
                          <a:pt x="151030" y="424630"/>
                        </a:cubicBezTo>
                        <a:cubicBezTo>
                          <a:pt x="175806" y="441634"/>
                          <a:pt x="182413" y="474766"/>
                          <a:pt x="193198" y="503041"/>
                        </a:cubicBezTo>
                        <a:cubicBezTo>
                          <a:pt x="207579" y="540643"/>
                          <a:pt x="232647" y="573970"/>
                          <a:pt x="264711" y="597872"/>
                        </a:cubicBezTo>
                        <a:cubicBezTo>
                          <a:pt x="285795" y="613613"/>
                          <a:pt x="313098" y="625564"/>
                          <a:pt x="337875" y="616722"/>
                        </a:cubicBezTo>
                        <a:cubicBezTo>
                          <a:pt x="371882" y="604576"/>
                          <a:pt x="382570" y="562116"/>
                          <a:pt x="388302" y="526166"/>
                        </a:cubicBezTo>
                        <a:cubicBezTo>
                          <a:pt x="398893" y="459123"/>
                          <a:pt x="409387" y="391983"/>
                          <a:pt x="419978" y="324940"/>
                        </a:cubicBezTo>
                        <a:cubicBezTo>
                          <a:pt x="425613" y="288990"/>
                          <a:pt x="431540" y="252262"/>
                          <a:pt x="448349" y="219907"/>
                        </a:cubicBezTo>
                        <a:cubicBezTo>
                          <a:pt x="465158" y="187649"/>
                          <a:pt x="494988" y="159957"/>
                          <a:pt x="530744" y="155973"/>
                        </a:cubicBezTo>
                        <a:cubicBezTo>
                          <a:pt x="566500" y="151989"/>
                          <a:pt x="605560" y="178612"/>
                          <a:pt x="607017" y="215049"/>
                        </a:cubicBezTo>
                        <a:cubicBezTo>
                          <a:pt x="607600" y="230206"/>
                          <a:pt x="602159" y="244878"/>
                          <a:pt x="600701" y="259938"/>
                        </a:cubicBezTo>
                        <a:cubicBezTo>
                          <a:pt x="599244" y="274998"/>
                          <a:pt x="603519" y="292682"/>
                          <a:pt x="617025" y="299192"/>
                        </a:cubicBezTo>
                        <a:cubicBezTo>
                          <a:pt x="630725" y="305799"/>
                          <a:pt x="646757" y="297929"/>
                          <a:pt x="659194" y="289184"/>
                        </a:cubicBezTo>
                        <a:cubicBezTo>
                          <a:pt x="702237" y="258966"/>
                          <a:pt x="735078" y="216312"/>
                          <a:pt x="766268" y="173657"/>
                        </a:cubicBezTo>
                        <a:cubicBezTo>
                          <a:pt x="797457" y="131002"/>
                          <a:pt x="828064" y="87182"/>
                          <a:pt x="868192" y="53077"/>
                        </a:cubicBezTo>
                        <a:cubicBezTo>
                          <a:pt x="908321" y="18973"/>
                          <a:pt x="960012" y="-4735"/>
                          <a:pt x="1011994" y="803"/>
                        </a:cubicBezTo>
                        <a:cubicBezTo>
                          <a:pt x="1063976" y="6342"/>
                          <a:pt x="1113627" y="47053"/>
                          <a:pt x="1118388" y="99716"/>
                        </a:cubicBezTo>
                        <a:cubicBezTo>
                          <a:pt x="1123149" y="152573"/>
                          <a:pt x="1085158" y="199114"/>
                          <a:pt x="1046292" y="234870"/>
                        </a:cubicBezTo>
                        <a:cubicBezTo>
                          <a:pt x="988578" y="287921"/>
                          <a:pt x="923284" y="332519"/>
                          <a:pt x="853132" y="366818"/>
                        </a:cubicBezTo>
                        <a:cubicBezTo>
                          <a:pt x="840501" y="373036"/>
                          <a:pt x="826800" y="379643"/>
                          <a:pt x="820291" y="392275"/>
                        </a:cubicBezTo>
                        <a:cubicBezTo>
                          <a:pt x="808534" y="415011"/>
                          <a:pt x="827383" y="442508"/>
                          <a:pt x="849731" y="454265"/>
                        </a:cubicBezTo>
                        <a:cubicBezTo>
                          <a:pt x="875091" y="467576"/>
                          <a:pt x="904628" y="469519"/>
                          <a:pt x="932125" y="477487"/>
                        </a:cubicBezTo>
                        <a:cubicBezTo>
                          <a:pt x="959623" y="485357"/>
                          <a:pt x="987994" y="502749"/>
                          <a:pt x="994213" y="530926"/>
                        </a:cubicBezTo>
                        <a:cubicBezTo>
                          <a:pt x="1002958" y="570084"/>
                          <a:pt x="965841" y="603605"/>
                          <a:pt x="931543" y="623815"/>
                        </a:cubicBezTo>
                        <a:cubicBezTo>
                          <a:pt x="862751" y="664429"/>
                          <a:pt x="787061" y="692995"/>
                          <a:pt x="708844" y="707958"/>
                        </a:cubicBezTo>
                        <a:cubicBezTo>
                          <a:pt x="680861" y="713302"/>
                          <a:pt x="651615" y="717189"/>
                          <a:pt x="627227" y="732346"/>
                        </a:cubicBezTo>
                        <a:cubicBezTo>
                          <a:pt x="602839" y="747407"/>
                          <a:pt x="584670" y="777624"/>
                          <a:pt x="593414" y="805024"/>
                        </a:cubicBezTo>
                        <a:cubicBezTo>
                          <a:pt x="602159" y="832522"/>
                          <a:pt x="633931" y="846027"/>
                          <a:pt x="662400" y="845444"/>
                        </a:cubicBezTo>
                        <a:cubicBezTo>
                          <a:pt x="690966" y="844862"/>
                          <a:pt x="718172" y="833882"/>
                          <a:pt x="746252" y="828246"/>
                        </a:cubicBezTo>
                        <a:cubicBezTo>
                          <a:pt x="798720" y="817656"/>
                          <a:pt x="861974" y="831550"/>
                          <a:pt x="886653" y="879452"/>
                        </a:cubicBezTo>
                        <a:cubicBezTo>
                          <a:pt x="902880" y="910932"/>
                          <a:pt x="898313" y="950284"/>
                          <a:pt x="882281" y="982056"/>
                        </a:cubicBezTo>
                        <a:cubicBezTo>
                          <a:pt x="866249" y="1013828"/>
                          <a:pt x="840209" y="1039091"/>
                          <a:pt x="813198" y="1062021"/>
                        </a:cubicBezTo>
                        <a:cubicBezTo>
                          <a:pt x="718755" y="1141987"/>
                          <a:pt x="605171" y="1200188"/>
                          <a:pt x="484105" y="1221175"/>
                        </a:cubicBezTo>
                        <a:cubicBezTo>
                          <a:pt x="362749" y="1241968"/>
                          <a:pt x="254800" y="1235361"/>
                          <a:pt x="147726" y="1175022"/>
                        </a:cubicBezTo>
                      </a:path>
                    </a:pathLst>
                  </a:custGeom>
                  <a:solidFill>
                    <a:srgbClr val="0D616C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eform: Shape 267">
                    <a:extLst>
                      <a:ext uri="{FF2B5EF4-FFF2-40B4-BE49-F238E27FC236}">
                        <a16:creationId xmlns:a16="http://schemas.microsoft.com/office/drawing/2014/main" id="{0B50AE6A-03BC-470C-9876-6234C159CDFB}"/>
                      </a:ext>
                    </a:extLst>
                  </p:cNvPr>
                  <p:cNvSpPr/>
                  <p:nvPr/>
                </p:nvSpPr>
                <p:spPr>
                  <a:xfrm>
                    <a:off x="3601844" y="4111305"/>
                    <a:ext cx="955703" cy="1294418"/>
                  </a:xfrm>
                  <a:custGeom>
                    <a:avLst/>
                    <a:gdLst>
                      <a:gd name="connsiteX0" fmla="*/ 0 w 955703"/>
                      <a:gd name="connsiteY0" fmla="*/ 1293155 h 1294418"/>
                      <a:gd name="connsiteX1" fmla="*/ 107268 w 955703"/>
                      <a:gd name="connsiteY1" fmla="*/ 1006523 h 1294418"/>
                      <a:gd name="connsiteX2" fmla="*/ 291879 w 955703"/>
                      <a:gd name="connsiteY2" fmla="*/ 680637 h 1294418"/>
                      <a:gd name="connsiteX3" fmla="*/ 344638 w 955703"/>
                      <a:gd name="connsiteY3" fmla="*/ 597660 h 1294418"/>
                      <a:gd name="connsiteX4" fmla="*/ 397787 w 955703"/>
                      <a:gd name="connsiteY4" fmla="*/ 518180 h 1294418"/>
                      <a:gd name="connsiteX5" fmla="*/ 512439 w 955703"/>
                      <a:gd name="connsiteY5" fmla="*/ 378751 h 1294418"/>
                      <a:gd name="connsiteX6" fmla="*/ 625149 w 955703"/>
                      <a:gd name="connsiteY6" fmla="*/ 260989 h 1294418"/>
                      <a:gd name="connsiteX7" fmla="*/ 727948 w 955703"/>
                      <a:gd name="connsiteY7" fmla="*/ 162951 h 1294418"/>
                      <a:gd name="connsiteX8" fmla="*/ 891279 w 955703"/>
                      <a:gd name="connsiteY8" fmla="*/ 38582 h 1294418"/>
                      <a:gd name="connsiteX9" fmla="*/ 938792 w 955703"/>
                      <a:gd name="connsiteY9" fmla="*/ 9433 h 1294418"/>
                      <a:gd name="connsiteX10" fmla="*/ 951326 w 955703"/>
                      <a:gd name="connsiteY10" fmla="*/ 2243 h 1294418"/>
                      <a:gd name="connsiteX11" fmla="*/ 955699 w 955703"/>
                      <a:gd name="connsiteY11" fmla="*/ 8 h 1294418"/>
                      <a:gd name="connsiteX12" fmla="*/ 951618 w 955703"/>
                      <a:gd name="connsiteY12" fmla="*/ 2826 h 1294418"/>
                      <a:gd name="connsiteX13" fmla="*/ 939375 w 955703"/>
                      <a:gd name="connsiteY13" fmla="*/ 10599 h 1294418"/>
                      <a:gd name="connsiteX14" fmla="*/ 892542 w 955703"/>
                      <a:gd name="connsiteY14" fmla="*/ 40817 h 1294418"/>
                      <a:gd name="connsiteX15" fmla="*/ 730960 w 955703"/>
                      <a:gd name="connsiteY15" fmla="*/ 166546 h 1294418"/>
                      <a:gd name="connsiteX16" fmla="*/ 628938 w 955703"/>
                      <a:gd name="connsiteY16" fmla="*/ 264972 h 1294418"/>
                      <a:gd name="connsiteX17" fmla="*/ 516812 w 955703"/>
                      <a:gd name="connsiteY17" fmla="*/ 383026 h 1294418"/>
                      <a:gd name="connsiteX18" fmla="*/ 402936 w 955703"/>
                      <a:gd name="connsiteY18" fmla="*/ 522164 h 1294418"/>
                      <a:gd name="connsiteX19" fmla="*/ 350080 w 955703"/>
                      <a:gd name="connsiteY19" fmla="*/ 601352 h 1294418"/>
                      <a:gd name="connsiteX20" fmla="*/ 297320 w 955703"/>
                      <a:gd name="connsiteY20" fmla="*/ 684232 h 1294418"/>
                      <a:gd name="connsiteX21" fmla="*/ 112515 w 955703"/>
                      <a:gd name="connsiteY21" fmla="*/ 1009244 h 1294418"/>
                      <a:gd name="connsiteX22" fmla="*/ 4275 w 955703"/>
                      <a:gd name="connsiteY22" fmla="*/ 1294418 h 1294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955703" h="1294418">
                        <a:moveTo>
                          <a:pt x="0" y="1293155"/>
                        </a:moveTo>
                        <a:cubicBezTo>
                          <a:pt x="21862" y="1208623"/>
                          <a:pt x="57326" y="1110391"/>
                          <a:pt x="107268" y="1006523"/>
                        </a:cubicBezTo>
                        <a:cubicBezTo>
                          <a:pt x="157016" y="902461"/>
                          <a:pt x="221047" y="792958"/>
                          <a:pt x="291879" y="680637"/>
                        </a:cubicBezTo>
                        <a:cubicBezTo>
                          <a:pt x="309660" y="652654"/>
                          <a:pt x="327343" y="624963"/>
                          <a:pt x="344638" y="597660"/>
                        </a:cubicBezTo>
                        <a:cubicBezTo>
                          <a:pt x="362030" y="570454"/>
                          <a:pt x="379229" y="543540"/>
                          <a:pt x="397787" y="518180"/>
                        </a:cubicBezTo>
                        <a:cubicBezTo>
                          <a:pt x="434611" y="467364"/>
                          <a:pt x="473768" y="421308"/>
                          <a:pt x="512439" y="378751"/>
                        </a:cubicBezTo>
                        <a:cubicBezTo>
                          <a:pt x="551013" y="336193"/>
                          <a:pt x="589198" y="297134"/>
                          <a:pt x="625149" y="260989"/>
                        </a:cubicBezTo>
                        <a:cubicBezTo>
                          <a:pt x="661196" y="224844"/>
                          <a:pt x="695495" y="191808"/>
                          <a:pt x="727948" y="162951"/>
                        </a:cubicBezTo>
                        <a:cubicBezTo>
                          <a:pt x="792756" y="105139"/>
                          <a:pt x="850471" y="64719"/>
                          <a:pt x="891279" y="38582"/>
                        </a:cubicBezTo>
                        <a:cubicBezTo>
                          <a:pt x="911684" y="25465"/>
                          <a:pt x="927715" y="15749"/>
                          <a:pt x="938792" y="9433"/>
                        </a:cubicBezTo>
                        <a:cubicBezTo>
                          <a:pt x="944039" y="6421"/>
                          <a:pt x="948217" y="3992"/>
                          <a:pt x="951326" y="2243"/>
                        </a:cubicBezTo>
                        <a:cubicBezTo>
                          <a:pt x="954144" y="688"/>
                          <a:pt x="955699" y="-89"/>
                          <a:pt x="955699" y="8"/>
                        </a:cubicBezTo>
                        <a:cubicBezTo>
                          <a:pt x="955796" y="105"/>
                          <a:pt x="954435" y="1077"/>
                          <a:pt x="951618" y="2826"/>
                        </a:cubicBezTo>
                        <a:cubicBezTo>
                          <a:pt x="948606" y="4769"/>
                          <a:pt x="944525" y="7295"/>
                          <a:pt x="939375" y="10599"/>
                        </a:cubicBezTo>
                        <a:cubicBezTo>
                          <a:pt x="928590" y="17400"/>
                          <a:pt x="912655" y="27408"/>
                          <a:pt x="892542" y="40817"/>
                        </a:cubicBezTo>
                        <a:cubicBezTo>
                          <a:pt x="852317" y="67536"/>
                          <a:pt x="795185" y="108442"/>
                          <a:pt x="730960" y="166546"/>
                        </a:cubicBezTo>
                        <a:cubicBezTo>
                          <a:pt x="698799" y="195501"/>
                          <a:pt x="664791" y="228633"/>
                          <a:pt x="628938" y="264972"/>
                        </a:cubicBezTo>
                        <a:cubicBezTo>
                          <a:pt x="593182" y="301311"/>
                          <a:pt x="555191" y="340371"/>
                          <a:pt x="516812" y="383026"/>
                        </a:cubicBezTo>
                        <a:cubicBezTo>
                          <a:pt x="478432" y="425583"/>
                          <a:pt x="439470" y="471542"/>
                          <a:pt x="402936" y="522164"/>
                        </a:cubicBezTo>
                        <a:cubicBezTo>
                          <a:pt x="384572" y="547329"/>
                          <a:pt x="367472" y="574146"/>
                          <a:pt x="350080" y="601352"/>
                        </a:cubicBezTo>
                        <a:cubicBezTo>
                          <a:pt x="332784" y="628655"/>
                          <a:pt x="315198" y="656249"/>
                          <a:pt x="297320" y="684232"/>
                        </a:cubicBezTo>
                        <a:cubicBezTo>
                          <a:pt x="226488" y="796456"/>
                          <a:pt x="162457" y="905570"/>
                          <a:pt x="112515" y="1009244"/>
                        </a:cubicBezTo>
                        <a:cubicBezTo>
                          <a:pt x="62379" y="1112723"/>
                          <a:pt x="26720" y="1210372"/>
                          <a:pt x="4275" y="1294418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eform: Shape 268">
                    <a:extLst>
                      <a:ext uri="{FF2B5EF4-FFF2-40B4-BE49-F238E27FC236}">
                        <a16:creationId xmlns:a16="http://schemas.microsoft.com/office/drawing/2014/main" id="{2E067263-3D9E-40D6-BBC8-44FF9EC22EE2}"/>
                      </a:ext>
                    </a:extLst>
                  </p:cNvPr>
                  <p:cNvSpPr/>
                  <p:nvPr/>
                </p:nvSpPr>
                <p:spPr>
                  <a:xfrm>
                    <a:off x="4000439" y="4225286"/>
                    <a:ext cx="18069" cy="404199"/>
                  </a:xfrm>
                  <a:custGeom>
                    <a:avLst/>
                    <a:gdLst>
                      <a:gd name="connsiteX0" fmla="*/ 1136 w 18069"/>
                      <a:gd name="connsiteY0" fmla="*/ 404200 h 404199"/>
                      <a:gd name="connsiteX1" fmla="*/ 164 w 18069"/>
                      <a:gd name="connsiteY1" fmla="*/ 388265 h 404199"/>
                      <a:gd name="connsiteX2" fmla="*/ 456 w 18069"/>
                      <a:gd name="connsiteY2" fmla="*/ 344833 h 404199"/>
                      <a:gd name="connsiteX3" fmla="*/ 7354 w 18069"/>
                      <a:gd name="connsiteY3" fmla="*/ 201905 h 404199"/>
                      <a:gd name="connsiteX4" fmla="*/ 12989 w 18069"/>
                      <a:gd name="connsiteY4" fmla="*/ 59172 h 404199"/>
                      <a:gd name="connsiteX5" fmla="*/ 12989 w 18069"/>
                      <a:gd name="connsiteY5" fmla="*/ 15935 h 404199"/>
                      <a:gd name="connsiteX6" fmla="*/ 13572 w 18069"/>
                      <a:gd name="connsiteY6" fmla="*/ 0 h 404199"/>
                      <a:gd name="connsiteX7" fmla="*/ 15613 w 18069"/>
                      <a:gd name="connsiteY7" fmla="*/ 15838 h 404199"/>
                      <a:gd name="connsiteX8" fmla="*/ 17751 w 18069"/>
                      <a:gd name="connsiteY8" fmla="*/ 59172 h 404199"/>
                      <a:gd name="connsiteX9" fmla="*/ 14155 w 18069"/>
                      <a:gd name="connsiteY9" fmla="*/ 202294 h 404199"/>
                      <a:gd name="connsiteX10" fmla="*/ 5314 w 18069"/>
                      <a:gd name="connsiteY10" fmla="*/ 345027 h 404199"/>
                      <a:gd name="connsiteX11" fmla="*/ 2885 w 18069"/>
                      <a:gd name="connsiteY11" fmla="*/ 388265 h 404199"/>
                      <a:gd name="connsiteX12" fmla="*/ 1136 w 18069"/>
                      <a:gd name="connsiteY12" fmla="*/ 404200 h 4041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8069" h="404199">
                        <a:moveTo>
                          <a:pt x="1136" y="404200"/>
                        </a:moveTo>
                        <a:cubicBezTo>
                          <a:pt x="650" y="404200"/>
                          <a:pt x="358" y="398564"/>
                          <a:pt x="164" y="388265"/>
                        </a:cubicBezTo>
                        <a:cubicBezTo>
                          <a:pt x="-128" y="378063"/>
                          <a:pt x="-30" y="363197"/>
                          <a:pt x="456" y="344833"/>
                        </a:cubicBezTo>
                        <a:cubicBezTo>
                          <a:pt x="1233" y="308202"/>
                          <a:pt x="4051" y="257677"/>
                          <a:pt x="7354" y="201905"/>
                        </a:cubicBezTo>
                        <a:cubicBezTo>
                          <a:pt x="10658" y="146134"/>
                          <a:pt x="12698" y="95706"/>
                          <a:pt x="12989" y="59172"/>
                        </a:cubicBezTo>
                        <a:cubicBezTo>
                          <a:pt x="13184" y="40906"/>
                          <a:pt x="13087" y="26137"/>
                          <a:pt x="12989" y="15935"/>
                        </a:cubicBezTo>
                        <a:cubicBezTo>
                          <a:pt x="12893" y="5733"/>
                          <a:pt x="13087" y="0"/>
                          <a:pt x="13572" y="0"/>
                        </a:cubicBezTo>
                        <a:cubicBezTo>
                          <a:pt x="14058" y="0"/>
                          <a:pt x="14739" y="5636"/>
                          <a:pt x="15613" y="15838"/>
                        </a:cubicBezTo>
                        <a:cubicBezTo>
                          <a:pt x="16584" y="26040"/>
                          <a:pt x="17265" y="40906"/>
                          <a:pt x="17751" y="59172"/>
                        </a:cubicBezTo>
                        <a:cubicBezTo>
                          <a:pt x="18722" y="95803"/>
                          <a:pt x="17459" y="146522"/>
                          <a:pt x="14155" y="202294"/>
                        </a:cubicBezTo>
                        <a:cubicBezTo>
                          <a:pt x="10755" y="257289"/>
                          <a:pt x="7646" y="307036"/>
                          <a:pt x="5314" y="345027"/>
                        </a:cubicBezTo>
                        <a:cubicBezTo>
                          <a:pt x="4342" y="362225"/>
                          <a:pt x="3565" y="376702"/>
                          <a:pt x="2885" y="388265"/>
                        </a:cubicBezTo>
                        <a:cubicBezTo>
                          <a:pt x="2204" y="398564"/>
                          <a:pt x="1622" y="404200"/>
                          <a:pt x="1136" y="404200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eform: Shape 269">
                    <a:extLst>
                      <a:ext uri="{FF2B5EF4-FFF2-40B4-BE49-F238E27FC236}">
                        <a16:creationId xmlns:a16="http://schemas.microsoft.com/office/drawing/2014/main" id="{33FE698B-8705-46F4-8833-90BBB5B438A0}"/>
                      </a:ext>
                    </a:extLst>
                  </p:cNvPr>
                  <p:cNvSpPr/>
                  <p:nvPr/>
                </p:nvSpPr>
                <p:spPr>
                  <a:xfrm>
                    <a:off x="4001573" y="4605431"/>
                    <a:ext cx="476393" cy="24223"/>
                  </a:xfrm>
                  <a:custGeom>
                    <a:avLst/>
                    <a:gdLst>
                      <a:gd name="connsiteX0" fmla="*/ 476393 w 476393"/>
                      <a:gd name="connsiteY0" fmla="*/ 13366 h 24223"/>
                      <a:gd name="connsiteX1" fmla="*/ 457640 w 476393"/>
                      <a:gd name="connsiteY1" fmla="*/ 12589 h 24223"/>
                      <a:gd name="connsiteX2" fmla="*/ 406630 w 476393"/>
                      <a:gd name="connsiteY2" fmla="*/ 9285 h 24223"/>
                      <a:gd name="connsiteX3" fmla="*/ 238051 w 476393"/>
                      <a:gd name="connsiteY3" fmla="*/ 7342 h 24223"/>
                      <a:gd name="connsiteX4" fmla="*/ 69667 w 476393"/>
                      <a:gd name="connsiteY4" fmla="*/ 17253 h 24223"/>
                      <a:gd name="connsiteX5" fmla="*/ 18754 w 476393"/>
                      <a:gd name="connsiteY5" fmla="*/ 22597 h 24223"/>
                      <a:gd name="connsiteX6" fmla="*/ 1 w 476393"/>
                      <a:gd name="connsiteY6" fmla="*/ 24054 h 24223"/>
                      <a:gd name="connsiteX7" fmla="*/ 18365 w 476393"/>
                      <a:gd name="connsiteY7" fmla="*/ 19973 h 24223"/>
                      <a:gd name="connsiteX8" fmla="*/ 69084 w 476393"/>
                      <a:gd name="connsiteY8" fmla="*/ 12491 h 24223"/>
                      <a:gd name="connsiteX9" fmla="*/ 237857 w 476393"/>
                      <a:gd name="connsiteY9" fmla="*/ 541 h 24223"/>
                      <a:gd name="connsiteX10" fmla="*/ 406824 w 476393"/>
                      <a:gd name="connsiteY10" fmla="*/ 4524 h 24223"/>
                      <a:gd name="connsiteX11" fmla="*/ 457738 w 476393"/>
                      <a:gd name="connsiteY11" fmla="*/ 9965 h 24223"/>
                      <a:gd name="connsiteX12" fmla="*/ 476393 w 476393"/>
                      <a:gd name="connsiteY12" fmla="*/ 13366 h 24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76393" h="24223">
                        <a:moveTo>
                          <a:pt x="476393" y="13366"/>
                        </a:moveTo>
                        <a:cubicBezTo>
                          <a:pt x="476296" y="13852"/>
                          <a:pt x="469592" y="13463"/>
                          <a:pt x="457640" y="12589"/>
                        </a:cubicBezTo>
                        <a:cubicBezTo>
                          <a:pt x="445592" y="11714"/>
                          <a:pt x="428200" y="10354"/>
                          <a:pt x="406630" y="9285"/>
                        </a:cubicBezTo>
                        <a:cubicBezTo>
                          <a:pt x="363586" y="6953"/>
                          <a:pt x="303928" y="5787"/>
                          <a:pt x="238051" y="7342"/>
                        </a:cubicBezTo>
                        <a:cubicBezTo>
                          <a:pt x="172175" y="8994"/>
                          <a:pt x="112613" y="13074"/>
                          <a:pt x="69667" y="17253"/>
                        </a:cubicBezTo>
                        <a:cubicBezTo>
                          <a:pt x="48194" y="19196"/>
                          <a:pt x="30802" y="21236"/>
                          <a:pt x="18754" y="22597"/>
                        </a:cubicBezTo>
                        <a:cubicBezTo>
                          <a:pt x="6705" y="23957"/>
                          <a:pt x="98" y="24540"/>
                          <a:pt x="1" y="24054"/>
                        </a:cubicBezTo>
                        <a:cubicBezTo>
                          <a:pt x="-96" y="23568"/>
                          <a:pt x="6511" y="22208"/>
                          <a:pt x="18365" y="19973"/>
                        </a:cubicBezTo>
                        <a:cubicBezTo>
                          <a:pt x="30316" y="17836"/>
                          <a:pt x="47611" y="15115"/>
                          <a:pt x="69084" y="12491"/>
                        </a:cubicBezTo>
                        <a:cubicBezTo>
                          <a:pt x="112030" y="7050"/>
                          <a:pt x="171786" y="2192"/>
                          <a:pt x="237857" y="541"/>
                        </a:cubicBezTo>
                        <a:cubicBezTo>
                          <a:pt x="303928" y="-1014"/>
                          <a:pt x="363684" y="929"/>
                          <a:pt x="406824" y="4524"/>
                        </a:cubicBezTo>
                        <a:cubicBezTo>
                          <a:pt x="428394" y="6176"/>
                          <a:pt x="445787" y="8216"/>
                          <a:pt x="457738" y="9965"/>
                        </a:cubicBezTo>
                        <a:cubicBezTo>
                          <a:pt x="469883" y="11714"/>
                          <a:pt x="476490" y="12880"/>
                          <a:pt x="476393" y="13366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eform: Shape 270">
                    <a:extLst>
                      <a:ext uri="{FF2B5EF4-FFF2-40B4-BE49-F238E27FC236}">
                        <a16:creationId xmlns:a16="http://schemas.microsoft.com/office/drawing/2014/main" id="{A0BB0B05-A69C-4434-AF60-EED86488BF86}"/>
                      </a:ext>
                    </a:extLst>
                  </p:cNvPr>
                  <p:cNvSpPr/>
                  <p:nvPr/>
                </p:nvSpPr>
                <p:spPr>
                  <a:xfrm>
                    <a:off x="3579925" y="4481797"/>
                    <a:ext cx="136337" cy="628358"/>
                  </a:xfrm>
                  <a:custGeom>
                    <a:avLst/>
                    <a:gdLst>
                      <a:gd name="connsiteX0" fmla="*/ 136281 w 136337"/>
                      <a:gd name="connsiteY0" fmla="*/ 628355 h 628358"/>
                      <a:gd name="connsiteX1" fmla="*/ 134046 w 136337"/>
                      <a:gd name="connsiteY1" fmla="*/ 622234 h 628358"/>
                      <a:gd name="connsiteX2" fmla="*/ 128896 w 136337"/>
                      <a:gd name="connsiteY2" fmla="*/ 604259 h 628358"/>
                      <a:gd name="connsiteX3" fmla="*/ 111892 w 136337"/>
                      <a:gd name="connsiteY3" fmla="*/ 537410 h 628358"/>
                      <a:gd name="connsiteX4" fmla="*/ 64963 w 136337"/>
                      <a:gd name="connsiteY4" fmla="*/ 314906 h 628358"/>
                      <a:gd name="connsiteX5" fmla="*/ 19976 w 136337"/>
                      <a:gd name="connsiteY5" fmla="*/ 92111 h 628358"/>
                      <a:gd name="connsiteX6" fmla="*/ 5013 w 136337"/>
                      <a:gd name="connsiteY6" fmla="*/ 24874 h 628358"/>
                      <a:gd name="connsiteX7" fmla="*/ 1029 w 136337"/>
                      <a:gd name="connsiteY7" fmla="*/ 6510 h 628358"/>
                      <a:gd name="connsiteX8" fmla="*/ 58 w 136337"/>
                      <a:gd name="connsiteY8" fmla="*/ 0 h 628358"/>
                      <a:gd name="connsiteX9" fmla="*/ 2292 w 136337"/>
                      <a:gd name="connsiteY9" fmla="*/ 6121 h 628358"/>
                      <a:gd name="connsiteX10" fmla="*/ 7442 w 136337"/>
                      <a:gd name="connsiteY10" fmla="*/ 24096 h 628358"/>
                      <a:gd name="connsiteX11" fmla="*/ 24445 w 136337"/>
                      <a:gd name="connsiteY11" fmla="*/ 90945 h 628358"/>
                      <a:gd name="connsiteX12" fmla="*/ 71375 w 136337"/>
                      <a:gd name="connsiteY12" fmla="*/ 313546 h 628358"/>
                      <a:gd name="connsiteX13" fmla="*/ 116265 w 136337"/>
                      <a:gd name="connsiteY13" fmla="*/ 536341 h 628358"/>
                      <a:gd name="connsiteX14" fmla="*/ 131228 w 136337"/>
                      <a:gd name="connsiteY14" fmla="*/ 603579 h 628358"/>
                      <a:gd name="connsiteX15" fmla="*/ 135212 w 136337"/>
                      <a:gd name="connsiteY15" fmla="*/ 621942 h 628358"/>
                      <a:gd name="connsiteX16" fmla="*/ 136281 w 136337"/>
                      <a:gd name="connsiteY16" fmla="*/ 628355 h 628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36337" h="628358">
                        <a:moveTo>
                          <a:pt x="136281" y="628355"/>
                        </a:moveTo>
                        <a:cubicBezTo>
                          <a:pt x="136086" y="628452"/>
                          <a:pt x="135309" y="626315"/>
                          <a:pt x="134046" y="622234"/>
                        </a:cubicBezTo>
                        <a:cubicBezTo>
                          <a:pt x="132686" y="617376"/>
                          <a:pt x="130937" y="611449"/>
                          <a:pt x="128896" y="604259"/>
                        </a:cubicBezTo>
                        <a:cubicBezTo>
                          <a:pt x="124524" y="588615"/>
                          <a:pt x="118694" y="565782"/>
                          <a:pt x="111892" y="537410"/>
                        </a:cubicBezTo>
                        <a:cubicBezTo>
                          <a:pt x="98290" y="480764"/>
                          <a:pt x="81869" y="402062"/>
                          <a:pt x="64963" y="314906"/>
                        </a:cubicBezTo>
                        <a:cubicBezTo>
                          <a:pt x="48056" y="227654"/>
                          <a:pt x="32413" y="148854"/>
                          <a:pt x="19976" y="92111"/>
                        </a:cubicBezTo>
                        <a:cubicBezTo>
                          <a:pt x="13855" y="64516"/>
                          <a:pt x="8802" y="41780"/>
                          <a:pt x="5013" y="24874"/>
                        </a:cubicBezTo>
                        <a:cubicBezTo>
                          <a:pt x="3458" y="17587"/>
                          <a:pt x="2098" y="11465"/>
                          <a:pt x="1029" y="6510"/>
                        </a:cubicBezTo>
                        <a:cubicBezTo>
                          <a:pt x="155" y="2332"/>
                          <a:pt x="-137" y="97"/>
                          <a:pt x="58" y="0"/>
                        </a:cubicBezTo>
                        <a:cubicBezTo>
                          <a:pt x="252" y="0"/>
                          <a:pt x="1029" y="2040"/>
                          <a:pt x="2292" y="6121"/>
                        </a:cubicBezTo>
                        <a:cubicBezTo>
                          <a:pt x="3653" y="10979"/>
                          <a:pt x="5401" y="16906"/>
                          <a:pt x="7442" y="24096"/>
                        </a:cubicBezTo>
                        <a:cubicBezTo>
                          <a:pt x="11814" y="39740"/>
                          <a:pt x="17644" y="62573"/>
                          <a:pt x="24445" y="90945"/>
                        </a:cubicBezTo>
                        <a:cubicBezTo>
                          <a:pt x="38049" y="147591"/>
                          <a:pt x="54469" y="226293"/>
                          <a:pt x="71375" y="313546"/>
                        </a:cubicBezTo>
                        <a:cubicBezTo>
                          <a:pt x="88282" y="400702"/>
                          <a:pt x="103925" y="479501"/>
                          <a:pt x="116265" y="536341"/>
                        </a:cubicBezTo>
                        <a:cubicBezTo>
                          <a:pt x="122386" y="563936"/>
                          <a:pt x="127439" y="586672"/>
                          <a:pt x="131228" y="603579"/>
                        </a:cubicBezTo>
                        <a:cubicBezTo>
                          <a:pt x="132783" y="610866"/>
                          <a:pt x="134143" y="616987"/>
                          <a:pt x="135212" y="621942"/>
                        </a:cubicBezTo>
                        <a:cubicBezTo>
                          <a:pt x="136183" y="626120"/>
                          <a:pt x="136475" y="628355"/>
                          <a:pt x="136281" y="628355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eform: Shape 271">
                    <a:extLst>
                      <a:ext uri="{FF2B5EF4-FFF2-40B4-BE49-F238E27FC236}">
                        <a16:creationId xmlns:a16="http://schemas.microsoft.com/office/drawing/2014/main" id="{C282DBEF-B4A3-40BB-84E5-94EE082CCEA8}"/>
                      </a:ext>
                    </a:extLst>
                  </p:cNvPr>
                  <p:cNvSpPr/>
                  <p:nvPr/>
                </p:nvSpPr>
                <p:spPr>
                  <a:xfrm>
                    <a:off x="3716108" y="5012625"/>
                    <a:ext cx="646719" cy="97822"/>
                  </a:xfrm>
                  <a:custGeom>
                    <a:avLst/>
                    <a:gdLst>
                      <a:gd name="connsiteX0" fmla="*/ 646719 w 646719"/>
                      <a:gd name="connsiteY0" fmla="*/ 170 h 97822"/>
                      <a:gd name="connsiteX1" fmla="*/ 640209 w 646719"/>
                      <a:gd name="connsiteY1" fmla="*/ 1724 h 97822"/>
                      <a:gd name="connsiteX2" fmla="*/ 621360 w 646719"/>
                      <a:gd name="connsiteY2" fmla="*/ 4736 h 97822"/>
                      <a:gd name="connsiteX3" fmla="*/ 552082 w 646719"/>
                      <a:gd name="connsiteY3" fmla="*/ 15327 h 97822"/>
                      <a:gd name="connsiteX4" fmla="*/ 323846 w 646719"/>
                      <a:gd name="connsiteY4" fmla="*/ 52249 h 97822"/>
                      <a:gd name="connsiteX5" fmla="*/ 95220 w 646719"/>
                      <a:gd name="connsiteY5" fmla="*/ 87228 h 97822"/>
                      <a:gd name="connsiteX6" fmla="*/ 25651 w 646719"/>
                      <a:gd name="connsiteY6" fmla="*/ 95681 h 97822"/>
                      <a:gd name="connsiteX7" fmla="*/ 6704 w 646719"/>
                      <a:gd name="connsiteY7" fmla="*/ 97527 h 97822"/>
                      <a:gd name="connsiteX8" fmla="*/ 0 w 646719"/>
                      <a:gd name="connsiteY8" fmla="*/ 97721 h 97822"/>
                      <a:gd name="connsiteX9" fmla="*/ 6510 w 646719"/>
                      <a:gd name="connsiteY9" fmla="*/ 96167 h 97822"/>
                      <a:gd name="connsiteX10" fmla="*/ 25360 w 646719"/>
                      <a:gd name="connsiteY10" fmla="*/ 93155 h 97822"/>
                      <a:gd name="connsiteX11" fmla="*/ 94637 w 646719"/>
                      <a:gd name="connsiteY11" fmla="*/ 82564 h 97822"/>
                      <a:gd name="connsiteX12" fmla="*/ 322874 w 646719"/>
                      <a:gd name="connsiteY12" fmla="*/ 45642 h 97822"/>
                      <a:gd name="connsiteX13" fmla="*/ 551499 w 646719"/>
                      <a:gd name="connsiteY13" fmla="*/ 10663 h 97822"/>
                      <a:gd name="connsiteX14" fmla="*/ 621068 w 646719"/>
                      <a:gd name="connsiteY14" fmla="*/ 2210 h 97822"/>
                      <a:gd name="connsiteX15" fmla="*/ 640015 w 646719"/>
                      <a:gd name="connsiteY15" fmla="*/ 364 h 97822"/>
                      <a:gd name="connsiteX16" fmla="*/ 646719 w 646719"/>
                      <a:gd name="connsiteY16" fmla="*/ 170 h 978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646719" h="97822">
                        <a:moveTo>
                          <a:pt x="646719" y="170"/>
                        </a:moveTo>
                        <a:cubicBezTo>
                          <a:pt x="646719" y="364"/>
                          <a:pt x="644485" y="947"/>
                          <a:pt x="640209" y="1724"/>
                        </a:cubicBezTo>
                        <a:cubicBezTo>
                          <a:pt x="635157" y="2501"/>
                          <a:pt x="628938" y="3570"/>
                          <a:pt x="621360" y="4736"/>
                        </a:cubicBezTo>
                        <a:cubicBezTo>
                          <a:pt x="603967" y="7360"/>
                          <a:pt x="580551" y="10955"/>
                          <a:pt x="552082" y="15327"/>
                        </a:cubicBezTo>
                        <a:cubicBezTo>
                          <a:pt x="493590" y="24266"/>
                          <a:pt x="412944" y="37480"/>
                          <a:pt x="323846" y="52249"/>
                        </a:cubicBezTo>
                        <a:cubicBezTo>
                          <a:pt x="234747" y="67018"/>
                          <a:pt x="153907" y="79552"/>
                          <a:pt x="95220" y="87228"/>
                        </a:cubicBezTo>
                        <a:cubicBezTo>
                          <a:pt x="65877" y="91114"/>
                          <a:pt x="42072" y="93932"/>
                          <a:pt x="25651" y="95681"/>
                        </a:cubicBezTo>
                        <a:cubicBezTo>
                          <a:pt x="18073" y="96361"/>
                          <a:pt x="11757" y="96944"/>
                          <a:pt x="6704" y="97527"/>
                        </a:cubicBezTo>
                        <a:cubicBezTo>
                          <a:pt x="2332" y="97819"/>
                          <a:pt x="97" y="97916"/>
                          <a:pt x="0" y="97721"/>
                        </a:cubicBezTo>
                        <a:cubicBezTo>
                          <a:pt x="0" y="97527"/>
                          <a:pt x="2235" y="96944"/>
                          <a:pt x="6510" y="96167"/>
                        </a:cubicBezTo>
                        <a:cubicBezTo>
                          <a:pt x="11562" y="95389"/>
                          <a:pt x="17781" y="94321"/>
                          <a:pt x="25360" y="93155"/>
                        </a:cubicBezTo>
                        <a:cubicBezTo>
                          <a:pt x="42752" y="90531"/>
                          <a:pt x="66071" y="86936"/>
                          <a:pt x="94637" y="82564"/>
                        </a:cubicBezTo>
                        <a:cubicBezTo>
                          <a:pt x="153130" y="73625"/>
                          <a:pt x="233775" y="60411"/>
                          <a:pt x="322874" y="45642"/>
                        </a:cubicBezTo>
                        <a:cubicBezTo>
                          <a:pt x="411973" y="30873"/>
                          <a:pt x="492812" y="18339"/>
                          <a:pt x="551499" y="10663"/>
                        </a:cubicBezTo>
                        <a:cubicBezTo>
                          <a:pt x="580843" y="6777"/>
                          <a:pt x="604648" y="3959"/>
                          <a:pt x="621068" y="2210"/>
                        </a:cubicBezTo>
                        <a:cubicBezTo>
                          <a:pt x="628647" y="1530"/>
                          <a:pt x="634963" y="850"/>
                          <a:pt x="640015" y="364"/>
                        </a:cubicBezTo>
                        <a:cubicBezTo>
                          <a:pt x="644387" y="-25"/>
                          <a:pt x="646622" y="-122"/>
                          <a:pt x="646719" y="170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73" name="Graphic 13">
                  <a:extLst>
                    <a:ext uri="{FF2B5EF4-FFF2-40B4-BE49-F238E27FC236}">
                      <a16:creationId xmlns:a16="http://schemas.microsoft.com/office/drawing/2014/main" id="{CF4EBEEC-2024-4678-B059-6D8D35D1E390}"/>
                    </a:ext>
                  </a:extLst>
                </p:cNvPr>
                <p:cNvGrpSpPr/>
                <p:nvPr/>
              </p:nvGrpSpPr>
              <p:grpSpPr>
                <a:xfrm>
                  <a:off x="1641698" y="2725645"/>
                  <a:ext cx="459908" cy="525092"/>
                  <a:chOff x="1641698" y="2725645"/>
                  <a:chExt cx="459908" cy="525092"/>
                </a:xfrm>
              </p:grpSpPr>
              <p:sp>
                <p:nvSpPr>
                  <p:cNvPr id="274" name="Freeform: Shape 273">
                    <a:extLst>
                      <a:ext uri="{FF2B5EF4-FFF2-40B4-BE49-F238E27FC236}">
                        <a16:creationId xmlns:a16="http://schemas.microsoft.com/office/drawing/2014/main" id="{8691E55C-952F-4B87-915E-3C64C09DEDBF}"/>
                      </a:ext>
                    </a:extLst>
                  </p:cNvPr>
                  <p:cNvSpPr/>
                  <p:nvPr/>
                </p:nvSpPr>
                <p:spPr>
                  <a:xfrm>
                    <a:off x="1957808" y="2850940"/>
                    <a:ext cx="143798" cy="208580"/>
                  </a:xfrm>
                  <a:custGeom>
                    <a:avLst/>
                    <a:gdLst>
                      <a:gd name="connsiteX0" fmla="*/ 38703 w 143798"/>
                      <a:gd name="connsiteY0" fmla="*/ 208580 h 208580"/>
                      <a:gd name="connsiteX1" fmla="*/ 1490 w 143798"/>
                      <a:gd name="connsiteY1" fmla="*/ 106559 h 208580"/>
                      <a:gd name="connsiteX2" fmla="*/ 63286 w 143798"/>
                      <a:gd name="connsiteY2" fmla="*/ 14351 h 208580"/>
                      <a:gd name="connsiteX3" fmla="*/ 112645 w 143798"/>
                      <a:gd name="connsiteY3" fmla="*/ 1525 h 208580"/>
                      <a:gd name="connsiteX4" fmla="*/ 142571 w 143798"/>
                      <a:gd name="connsiteY4" fmla="*/ 37573 h 208580"/>
                      <a:gd name="connsiteX5" fmla="*/ 136936 w 143798"/>
                      <a:gd name="connsiteY5" fmla="*/ 85960 h 208580"/>
                      <a:gd name="connsiteX6" fmla="*/ 38703 w 143798"/>
                      <a:gd name="connsiteY6" fmla="*/ 208580 h 2085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3798" h="208580">
                        <a:moveTo>
                          <a:pt x="38703" y="208580"/>
                        </a:moveTo>
                        <a:cubicBezTo>
                          <a:pt x="8680" y="185261"/>
                          <a:pt x="-4729" y="144064"/>
                          <a:pt x="1490" y="106559"/>
                        </a:cubicBezTo>
                        <a:cubicBezTo>
                          <a:pt x="7805" y="69054"/>
                          <a:pt x="31999" y="35921"/>
                          <a:pt x="63286" y="14351"/>
                        </a:cubicBezTo>
                        <a:cubicBezTo>
                          <a:pt x="77763" y="4440"/>
                          <a:pt x="95738" y="-3430"/>
                          <a:pt x="112645" y="1525"/>
                        </a:cubicBezTo>
                        <a:cubicBezTo>
                          <a:pt x="128385" y="6189"/>
                          <a:pt x="139365" y="21444"/>
                          <a:pt x="142571" y="37573"/>
                        </a:cubicBezTo>
                        <a:cubicBezTo>
                          <a:pt x="145777" y="53702"/>
                          <a:pt x="142279" y="70414"/>
                          <a:pt x="136936" y="85960"/>
                        </a:cubicBezTo>
                        <a:cubicBezTo>
                          <a:pt x="118474" y="139205"/>
                          <a:pt x="90880" y="187399"/>
                          <a:pt x="38703" y="208580"/>
                        </a:cubicBezTo>
                      </a:path>
                    </a:pathLst>
                  </a:custGeom>
                  <a:solidFill>
                    <a:srgbClr val="0D616C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5" name="Freeform: Shape 274">
                    <a:extLst>
                      <a:ext uri="{FF2B5EF4-FFF2-40B4-BE49-F238E27FC236}">
                        <a16:creationId xmlns:a16="http://schemas.microsoft.com/office/drawing/2014/main" id="{6ACEB2B8-DC74-43F7-9AD2-A8C01327011C}"/>
                      </a:ext>
                    </a:extLst>
                  </p:cNvPr>
                  <p:cNvSpPr/>
                  <p:nvPr/>
                </p:nvSpPr>
                <p:spPr>
                  <a:xfrm>
                    <a:off x="1677714" y="3085837"/>
                    <a:ext cx="271868" cy="116203"/>
                  </a:xfrm>
                  <a:custGeom>
                    <a:avLst/>
                    <a:gdLst>
                      <a:gd name="connsiteX0" fmla="*/ 269536 w 271868"/>
                      <a:gd name="connsiteY0" fmla="*/ 64628 h 116203"/>
                      <a:gd name="connsiteX1" fmla="*/ 45963 w 271868"/>
                      <a:gd name="connsiteY1" fmla="*/ 6136 h 116203"/>
                      <a:gd name="connsiteX2" fmla="*/ 394 w 271868"/>
                      <a:gd name="connsiteY2" fmla="*/ 41406 h 116203"/>
                      <a:gd name="connsiteX3" fmla="*/ 32846 w 271868"/>
                      <a:gd name="connsiteY3" fmla="*/ 88919 h 116203"/>
                      <a:gd name="connsiteX4" fmla="*/ 271868 w 271868"/>
                      <a:gd name="connsiteY4" fmla="*/ 69681 h 116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1868" h="116203">
                        <a:moveTo>
                          <a:pt x="269536" y="64628"/>
                        </a:moveTo>
                        <a:cubicBezTo>
                          <a:pt x="210364" y="10605"/>
                          <a:pt x="123985" y="-11936"/>
                          <a:pt x="45963" y="6136"/>
                        </a:cubicBezTo>
                        <a:cubicBezTo>
                          <a:pt x="26045" y="10703"/>
                          <a:pt x="3697" y="21196"/>
                          <a:pt x="394" y="41406"/>
                        </a:cubicBezTo>
                        <a:cubicBezTo>
                          <a:pt x="-2910" y="61616"/>
                          <a:pt x="15162" y="78717"/>
                          <a:pt x="32846" y="88919"/>
                        </a:cubicBezTo>
                        <a:cubicBezTo>
                          <a:pt x="106399" y="131574"/>
                          <a:pt x="206088" y="123509"/>
                          <a:pt x="271868" y="69681"/>
                        </a:cubicBezTo>
                      </a:path>
                    </a:pathLst>
                  </a:custGeom>
                  <a:solidFill>
                    <a:srgbClr val="0D616C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6" name="Freeform: Shape 275">
                    <a:extLst>
                      <a:ext uri="{FF2B5EF4-FFF2-40B4-BE49-F238E27FC236}">
                        <a16:creationId xmlns:a16="http://schemas.microsoft.com/office/drawing/2014/main" id="{164D84DF-63C8-4E07-A62A-9F544401EE97}"/>
                      </a:ext>
                    </a:extLst>
                  </p:cNvPr>
                  <p:cNvSpPr/>
                  <p:nvPr/>
                </p:nvSpPr>
                <p:spPr>
                  <a:xfrm>
                    <a:off x="1641698" y="2725645"/>
                    <a:ext cx="237246" cy="289762"/>
                  </a:xfrm>
                  <a:custGeom>
                    <a:avLst/>
                    <a:gdLst>
                      <a:gd name="connsiteX0" fmla="*/ 20280 w 237246"/>
                      <a:gd name="connsiteY0" fmla="*/ 3714 h 289762"/>
                      <a:gd name="connsiteX1" fmla="*/ 118124 w 237246"/>
                      <a:gd name="connsiteY1" fmla="*/ 20523 h 289762"/>
                      <a:gd name="connsiteX2" fmla="*/ 188081 w 237246"/>
                      <a:gd name="connsiteY2" fmla="*/ 93590 h 289762"/>
                      <a:gd name="connsiteX3" fmla="*/ 237246 w 237246"/>
                      <a:gd name="connsiteY3" fmla="*/ 289763 h 289762"/>
                      <a:gd name="connsiteX4" fmla="*/ 71971 w 237246"/>
                      <a:gd name="connsiteY4" fmla="*/ 198235 h 289762"/>
                      <a:gd name="connsiteX5" fmla="*/ 20280 w 237246"/>
                      <a:gd name="connsiteY5" fmla="*/ 3714 h 289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37246" h="289762">
                        <a:moveTo>
                          <a:pt x="20280" y="3714"/>
                        </a:moveTo>
                        <a:cubicBezTo>
                          <a:pt x="53122" y="-5322"/>
                          <a:pt x="89072" y="2839"/>
                          <a:pt x="118124" y="20523"/>
                        </a:cubicBezTo>
                        <a:cubicBezTo>
                          <a:pt x="147176" y="38207"/>
                          <a:pt x="169912" y="64830"/>
                          <a:pt x="188081" y="93590"/>
                        </a:cubicBezTo>
                        <a:cubicBezTo>
                          <a:pt x="223255" y="149167"/>
                          <a:pt x="235691" y="223983"/>
                          <a:pt x="237246" y="289763"/>
                        </a:cubicBezTo>
                        <a:cubicBezTo>
                          <a:pt x="164179" y="286848"/>
                          <a:pt x="101800" y="229424"/>
                          <a:pt x="71971" y="198235"/>
                        </a:cubicBezTo>
                        <a:cubicBezTo>
                          <a:pt x="24750" y="149167"/>
                          <a:pt x="-30633" y="31697"/>
                          <a:pt x="20280" y="3714"/>
                        </a:cubicBezTo>
                      </a:path>
                    </a:pathLst>
                  </a:custGeom>
                  <a:solidFill>
                    <a:srgbClr val="0D616C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9" name="Freeform: Shape 278">
                    <a:extLst>
                      <a:ext uri="{FF2B5EF4-FFF2-40B4-BE49-F238E27FC236}">
                        <a16:creationId xmlns:a16="http://schemas.microsoft.com/office/drawing/2014/main" id="{A76885B9-60B4-4804-A362-6A406599D411}"/>
                      </a:ext>
                    </a:extLst>
                  </p:cNvPr>
                  <p:cNvSpPr/>
                  <p:nvPr/>
                </p:nvSpPr>
                <p:spPr>
                  <a:xfrm>
                    <a:off x="1994075" y="2937281"/>
                    <a:ext cx="63649" cy="312582"/>
                  </a:xfrm>
                  <a:custGeom>
                    <a:avLst/>
                    <a:gdLst>
                      <a:gd name="connsiteX0" fmla="*/ 63649 w 63649"/>
                      <a:gd name="connsiteY0" fmla="*/ 312582 h 312582"/>
                      <a:gd name="connsiteX1" fmla="*/ 45383 w 63649"/>
                      <a:gd name="connsiteY1" fmla="*/ 285085 h 312582"/>
                      <a:gd name="connsiteX2" fmla="*/ 4283 w 63649"/>
                      <a:gd name="connsiteY2" fmla="*/ 167809 h 312582"/>
                      <a:gd name="connsiteX3" fmla="*/ 13416 w 63649"/>
                      <a:gd name="connsiteY3" fmla="*/ 44120 h 312582"/>
                      <a:gd name="connsiteX4" fmla="*/ 31100 w 63649"/>
                      <a:gd name="connsiteY4" fmla="*/ 10598 h 312582"/>
                      <a:gd name="connsiteX5" fmla="*/ 40136 w 63649"/>
                      <a:gd name="connsiteY5" fmla="*/ 8 h 312582"/>
                      <a:gd name="connsiteX6" fmla="*/ 18371 w 63649"/>
                      <a:gd name="connsiteY6" fmla="*/ 45869 h 312582"/>
                      <a:gd name="connsiteX7" fmla="*/ 11570 w 63649"/>
                      <a:gd name="connsiteY7" fmla="*/ 166546 h 312582"/>
                      <a:gd name="connsiteX8" fmla="*/ 50241 w 63649"/>
                      <a:gd name="connsiteY8" fmla="*/ 282947 h 312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3649" h="312582">
                        <a:moveTo>
                          <a:pt x="63649" y="312582"/>
                        </a:moveTo>
                        <a:cubicBezTo>
                          <a:pt x="59374" y="304809"/>
                          <a:pt x="52378" y="299368"/>
                          <a:pt x="45383" y="285085"/>
                        </a:cubicBezTo>
                        <a:cubicBezTo>
                          <a:pt x="31683" y="256616"/>
                          <a:pt x="13222" y="216002"/>
                          <a:pt x="4283" y="167809"/>
                        </a:cubicBezTo>
                        <a:cubicBezTo>
                          <a:pt x="-4657" y="119518"/>
                          <a:pt x="1368" y="73852"/>
                          <a:pt x="13416" y="44120"/>
                        </a:cubicBezTo>
                        <a:cubicBezTo>
                          <a:pt x="19246" y="29157"/>
                          <a:pt x="25853" y="17788"/>
                          <a:pt x="31100" y="10598"/>
                        </a:cubicBezTo>
                        <a:cubicBezTo>
                          <a:pt x="36346" y="3311"/>
                          <a:pt x="39747" y="-187"/>
                          <a:pt x="40136" y="8"/>
                        </a:cubicBezTo>
                        <a:cubicBezTo>
                          <a:pt x="41399" y="785"/>
                          <a:pt x="28476" y="16137"/>
                          <a:pt x="18371" y="45869"/>
                        </a:cubicBezTo>
                        <a:cubicBezTo>
                          <a:pt x="7975" y="75309"/>
                          <a:pt x="2922" y="119421"/>
                          <a:pt x="11570" y="166546"/>
                        </a:cubicBezTo>
                        <a:cubicBezTo>
                          <a:pt x="20314" y="213670"/>
                          <a:pt x="37707" y="253993"/>
                          <a:pt x="50241" y="282947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0" name="Freeform: Shape 279">
                    <a:extLst>
                      <a:ext uri="{FF2B5EF4-FFF2-40B4-BE49-F238E27FC236}">
                        <a16:creationId xmlns:a16="http://schemas.microsoft.com/office/drawing/2014/main" id="{B3E43DE1-2301-4D36-B372-EB4E9AAB136C}"/>
                      </a:ext>
                    </a:extLst>
                  </p:cNvPr>
                  <p:cNvSpPr/>
                  <p:nvPr/>
                </p:nvSpPr>
                <p:spPr>
                  <a:xfrm>
                    <a:off x="1711908" y="2815241"/>
                    <a:ext cx="348537" cy="435496"/>
                  </a:xfrm>
                  <a:custGeom>
                    <a:avLst/>
                    <a:gdLst>
                      <a:gd name="connsiteX0" fmla="*/ 346497 w 348537"/>
                      <a:gd name="connsiteY0" fmla="*/ 435497 h 435496"/>
                      <a:gd name="connsiteX1" fmla="*/ 308409 w 348537"/>
                      <a:gd name="connsiteY1" fmla="*/ 386429 h 435496"/>
                      <a:gd name="connsiteX2" fmla="*/ 182194 w 348537"/>
                      <a:gd name="connsiteY2" fmla="*/ 225138 h 435496"/>
                      <a:gd name="connsiteX3" fmla="*/ 53161 w 348537"/>
                      <a:gd name="connsiteY3" fmla="*/ 66179 h 435496"/>
                      <a:gd name="connsiteX4" fmla="*/ 13810 w 348537"/>
                      <a:gd name="connsiteY4" fmla="*/ 18180 h 435496"/>
                      <a:gd name="connsiteX5" fmla="*/ 12 w 348537"/>
                      <a:gd name="connsiteY5" fmla="*/ 10 h 435496"/>
                      <a:gd name="connsiteX6" fmla="*/ 15947 w 348537"/>
                      <a:gd name="connsiteY6" fmla="*/ 16334 h 435496"/>
                      <a:gd name="connsiteX7" fmla="*/ 57047 w 348537"/>
                      <a:gd name="connsiteY7" fmla="*/ 62875 h 435496"/>
                      <a:gd name="connsiteX8" fmla="*/ 187829 w 348537"/>
                      <a:gd name="connsiteY8" fmla="*/ 220668 h 435496"/>
                      <a:gd name="connsiteX9" fmla="*/ 312393 w 348537"/>
                      <a:gd name="connsiteY9" fmla="*/ 383417 h 435496"/>
                      <a:gd name="connsiteX10" fmla="*/ 348537 w 348537"/>
                      <a:gd name="connsiteY10" fmla="*/ 433942 h 4354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48537" h="435496">
                        <a:moveTo>
                          <a:pt x="346497" y="435497"/>
                        </a:moveTo>
                        <a:cubicBezTo>
                          <a:pt x="336683" y="422865"/>
                          <a:pt x="323955" y="406348"/>
                          <a:pt x="308409" y="386429"/>
                        </a:cubicBezTo>
                        <a:cubicBezTo>
                          <a:pt x="276442" y="344940"/>
                          <a:pt x="232039" y="287711"/>
                          <a:pt x="182194" y="225138"/>
                        </a:cubicBezTo>
                        <a:cubicBezTo>
                          <a:pt x="132349" y="162662"/>
                          <a:pt x="86488" y="106599"/>
                          <a:pt x="53161" y="66179"/>
                        </a:cubicBezTo>
                        <a:cubicBezTo>
                          <a:pt x="37226" y="46649"/>
                          <a:pt x="23915" y="30520"/>
                          <a:pt x="13810" y="18180"/>
                        </a:cubicBezTo>
                        <a:cubicBezTo>
                          <a:pt x="4579" y="6812"/>
                          <a:pt x="-279" y="302"/>
                          <a:pt x="12" y="10"/>
                        </a:cubicBezTo>
                        <a:cubicBezTo>
                          <a:pt x="401" y="-281"/>
                          <a:pt x="6037" y="5549"/>
                          <a:pt x="15947" y="16334"/>
                        </a:cubicBezTo>
                        <a:cubicBezTo>
                          <a:pt x="25858" y="27119"/>
                          <a:pt x="39947" y="43054"/>
                          <a:pt x="57047" y="62875"/>
                        </a:cubicBezTo>
                        <a:cubicBezTo>
                          <a:pt x="91443" y="102518"/>
                          <a:pt x="137984" y="158095"/>
                          <a:pt x="187829" y="220668"/>
                        </a:cubicBezTo>
                        <a:cubicBezTo>
                          <a:pt x="237674" y="283242"/>
                          <a:pt x="281495" y="341054"/>
                          <a:pt x="312393" y="383417"/>
                        </a:cubicBezTo>
                        <a:cubicBezTo>
                          <a:pt x="327842" y="404599"/>
                          <a:pt x="340278" y="421797"/>
                          <a:pt x="348537" y="433942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1" name="Freeform: Shape 280">
                    <a:extLst>
                      <a:ext uri="{FF2B5EF4-FFF2-40B4-BE49-F238E27FC236}">
                        <a16:creationId xmlns:a16="http://schemas.microsoft.com/office/drawing/2014/main" id="{3341396A-2881-4A72-993F-FFBAB2D3212F}"/>
                      </a:ext>
                    </a:extLst>
                  </p:cNvPr>
                  <p:cNvSpPr/>
                  <p:nvPr/>
                </p:nvSpPr>
                <p:spPr>
                  <a:xfrm>
                    <a:off x="1769245" y="3125602"/>
                    <a:ext cx="291766" cy="123423"/>
                  </a:xfrm>
                  <a:custGeom>
                    <a:avLst/>
                    <a:gdLst>
                      <a:gd name="connsiteX0" fmla="*/ 2 w 291766"/>
                      <a:gd name="connsiteY0" fmla="*/ 9609 h 123423"/>
                      <a:gd name="connsiteX1" fmla="*/ 12633 w 291766"/>
                      <a:gd name="connsiteY1" fmla="*/ 5722 h 123423"/>
                      <a:gd name="connsiteX2" fmla="*/ 27887 w 291766"/>
                      <a:gd name="connsiteY2" fmla="*/ 2807 h 123423"/>
                      <a:gd name="connsiteX3" fmla="*/ 48389 w 291766"/>
                      <a:gd name="connsiteY3" fmla="*/ 573 h 123423"/>
                      <a:gd name="connsiteX4" fmla="*/ 102023 w 291766"/>
                      <a:gd name="connsiteY4" fmla="*/ 2613 h 123423"/>
                      <a:gd name="connsiteX5" fmla="*/ 165762 w 291766"/>
                      <a:gd name="connsiteY5" fmla="*/ 19228 h 123423"/>
                      <a:gd name="connsiteX6" fmla="*/ 223963 w 291766"/>
                      <a:gd name="connsiteY6" fmla="*/ 50029 h 123423"/>
                      <a:gd name="connsiteX7" fmla="*/ 264869 w 291766"/>
                      <a:gd name="connsiteY7" fmla="*/ 84813 h 123423"/>
                      <a:gd name="connsiteX8" fmla="*/ 278472 w 291766"/>
                      <a:gd name="connsiteY8" fmla="*/ 100262 h 123423"/>
                      <a:gd name="connsiteX9" fmla="*/ 287799 w 291766"/>
                      <a:gd name="connsiteY9" fmla="*/ 112699 h 123423"/>
                      <a:gd name="connsiteX10" fmla="*/ 291492 w 291766"/>
                      <a:gd name="connsiteY10" fmla="*/ 123387 h 123423"/>
                      <a:gd name="connsiteX11" fmla="*/ 261274 w 291766"/>
                      <a:gd name="connsiteY11" fmla="*/ 88408 h 123423"/>
                      <a:gd name="connsiteX12" fmla="*/ 220174 w 291766"/>
                      <a:gd name="connsiteY12" fmla="*/ 55567 h 123423"/>
                      <a:gd name="connsiteX13" fmla="*/ 163139 w 291766"/>
                      <a:gd name="connsiteY13" fmla="*/ 26029 h 123423"/>
                      <a:gd name="connsiteX14" fmla="*/ 101148 w 291766"/>
                      <a:gd name="connsiteY14" fmla="*/ 9317 h 123423"/>
                      <a:gd name="connsiteX15" fmla="*/ 48680 w 291766"/>
                      <a:gd name="connsiteY15" fmla="*/ 5722 h 123423"/>
                      <a:gd name="connsiteX16" fmla="*/ 2 w 291766"/>
                      <a:gd name="connsiteY16" fmla="*/ 9609 h 1234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91766" h="123423">
                        <a:moveTo>
                          <a:pt x="2" y="9609"/>
                        </a:moveTo>
                        <a:cubicBezTo>
                          <a:pt x="-96" y="9123"/>
                          <a:pt x="4374" y="7763"/>
                          <a:pt x="12633" y="5722"/>
                        </a:cubicBezTo>
                        <a:cubicBezTo>
                          <a:pt x="16811" y="4654"/>
                          <a:pt x="21863" y="3488"/>
                          <a:pt x="27887" y="2807"/>
                        </a:cubicBezTo>
                        <a:cubicBezTo>
                          <a:pt x="33911" y="2030"/>
                          <a:pt x="40713" y="767"/>
                          <a:pt x="48389" y="573"/>
                        </a:cubicBezTo>
                        <a:cubicBezTo>
                          <a:pt x="63643" y="-593"/>
                          <a:pt x="81910" y="-10"/>
                          <a:pt x="102023" y="2613"/>
                        </a:cubicBezTo>
                        <a:cubicBezTo>
                          <a:pt x="122039" y="5625"/>
                          <a:pt x="143803" y="10872"/>
                          <a:pt x="165762" y="19228"/>
                        </a:cubicBezTo>
                        <a:cubicBezTo>
                          <a:pt x="187527" y="27876"/>
                          <a:pt x="207154" y="38758"/>
                          <a:pt x="223963" y="50029"/>
                        </a:cubicBezTo>
                        <a:cubicBezTo>
                          <a:pt x="240578" y="61688"/>
                          <a:pt x="254472" y="73639"/>
                          <a:pt x="264869" y="84813"/>
                        </a:cubicBezTo>
                        <a:cubicBezTo>
                          <a:pt x="270407" y="90060"/>
                          <a:pt x="274585" y="95696"/>
                          <a:pt x="278472" y="100262"/>
                        </a:cubicBezTo>
                        <a:cubicBezTo>
                          <a:pt x="282455" y="104829"/>
                          <a:pt x="285467" y="109104"/>
                          <a:pt x="287799" y="112699"/>
                        </a:cubicBezTo>
                        <a:cubicBezTo>
                          <a:pt x="292560" y="119792"/>
                          <a:pt x="291880" y="123096"/>
                          <a:pt x="291492" y="123387"/>
                        </a:cubicBezTo>
                        <a:cubicBezTo>
                          <a:pt x="290326" y="124262"/>
                          <a:pt x="282844" y="109298"/>
                          <a:pt x="261274" y="88408"/>
                        </a:cubicBezTo>
                        <a:cubicBezTo>
                          <a:pt x="250586" y="77915"/>
                          <a:pt x="236594" y="66644"/>
                          <a:pt x="220174" y="55567"/>
                        </a:cubicBezTo>
                        <a:cubicBezTo>
                          <a:pt x="203559" y="44879"/>
                          <a:pt x="184320" y="34386"/>
                          <a:pt x="163139" y="26029"/>
                        </a:cubicBezTo>
                        <a:cubicBezTo>
                          <a:pt x="141763" y="17868"/>
                          <a:pt x="120581" y="12621"/>
                          <a:pt x="101148" y="9317"/>
                        </a:cubicBezTo>
                        <a:cubicBezTo>
                          <a:pt x="81619" y="6402"/>
                          <a:pt x="63741" y="5237"/>
                          <a:pt x="48680" y="5722"/>
                        </a:cubicBezTo>
                        <a:cubicBezTo>
                          <a:pt x="18560" y="6500"/>
                          <a:pt x="293" y="10969"/>
                          <a:pt x="2" y="9609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83" name="Graphic 13">
                <a:extLst>
                  <a:ext uri="{FF2B5EF4-FFF2-40B4-BE49-F238E27FC236}">
                    <a16:creationId xmlns:a16="http://schemas.microsoft.com/office/drawing/2014/main" id="{A487CB43-4800-42DE-8182-20C18B7528EE}"/>
                  </a:ext>
                </a:extLst>
              </p:cNvPr>
              <p:cNvGrpSpPr/>
              <p:nvPr/>
            </p:nvGrpSpPr>
            <p:grpSpPr>
              <a:xfrm>
                <a:off x="2033626" y="1753349"/>
                <a:ext cx="1944536" cy="3861083"/>
                <a:chOff x="2033626" y="1753349"/>
                <a:chExt cx="1944536" cy="3861083"/>
              </a:xfrm>
            </p:grpSpPr>
            <p:grpSp>
              <p:nvGrpSpPr>
                <p:cNvPr id="284" name="Graphic 13">
                  <a:extLst>
                    <a:ext uri="{FF2B5EF4-FFF2-40B4-BE49-F238E27FC236}">
                      <a16:creationId xmlns:a16="http://schemas.microsoft.com/office/drawing/2014/main" id="{7D2DB801-8932-4DD9-B51A-789224B35C20}"/>
                    </a:ext>
                  </a:extLst>
                </p:cNvPr>
                <p:cNvGrpSpPr/>
                <p:nvPr/>
              </p:nvGrpSpPr>
              <p:grpSpPr>
                <a:xfrm>
                  <a:off x="2033626" y="2306890"/>
                  <a:ext cx="1623021" cy="3307542"/>
                  <a:chOff x="2033626" y="2306890"/>
                  <a:chExt cx="1623021" cy="3307542"/>
                </a:xfrm>
              </p:grpSpPr>
              <p:grpSp>
                <p:nvGrpSpPr>
                  <p:cNvPr id="718" name="Graphic 13">
                    <a:extLst>
                      <a:ext uri="{FF2B5EF4-FFF2-40B4-BE49-F238E27FC236}">
                        <a16:creationId xmlns:a16="http://schemas.microsoft.com/office/drawing/2014/main" id="{81F35E7A-0C88-4ADD-9B6F-5BF0DDFEDF19}"/>
                      </a:ext>
                    </a:extLst>
                  </p:cNvPr>
                  <p:cNvGrpSpPr/>
                  <p:nvPr/>
                </p:nvGrpSpPr>
                <p:grpSpPr>
                  <a:xfrm>
                    <a:off x="2033626" y="2306890"/>
                    <a:ext cx="1623021" cy="3307542"/>
                    <a:chOff x="2033626" y="2306890"/>
                    <a:chExt cx="1623021" cy="3307542"/>
                  </a:xfrm>
                </p:grpSpPr>
                <p:sp>
                  <p:nvSpPr>
                    <p:cNvPr id="719" name="Freeform: Shape 718">
                      <a:extLst>
                        <a:ext uri="{FF2B5EF4-FFF2-40B4-BE49-F238E27FC236}">
                          <a16:creationId xmlns:a16="http://schemas.microsoft.com/office/drawing/2014/main" id="{D46B4998-11DE-4339-877A-F72C93B4C0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33626" y="2306890"/>
                      <a:ext cx="1623021" cy="3307542"/>
                    </a:xfrm>
                    <a:custGeom>
                      <a:avLst/>
                      <a:gdLst>
                        <a:gd name="connsiteX0" fmla="*/ 1365536 w 1623021"/>
                        <a:gd name="connsiteY0" fmla="*/ 3307540 h 3307542"/>
                        <a:gd name="connsiteX1" fmla="*/ 243299 w 1623021"/>
                        <a:gd name="connsiteY1" fmla="*/ 3302391 h 3307542"/>
                        <a:gd name="connsiteX2" fmla="*/ 2 w 1623021"/>
                        <a:gd name="connsiteY2" fmla="*/ 3056859 h 3307542"/>
                        <a:gd name="connsiteX3" fmla="*/ 11856 w 1623021"/>
                        <a:gd name="connsiteY3" fmla="*/ 243397 h 3307542"/>
                        <a:gd name="connsiteX4" fmla="*/ 257485 w 1623021"/>
                        <a:gd name="connsiteY4" fmla="*/ 3 h 3307542"/>
                        <a:gd name="connsiteX5" fmla="*/ 1379722 w 1623021"/>
                        <a:gd name="connsiteY5" fmla="*/ 5153 h 3307542"/>
                        <a:gd name="connsiteX6" fmla="*/ 1623019 w 1623021"/>
                        <a:gd name="connsiteY6" fmla="*/ 250685 h 3307542"/>
                        <a:gd name="connsiteX7" fmla="*/ 1611165 w 1623021"/>
                        <a:gd name="connsiteY7" fmla="*/ 3064146 h 3307542"/>
                        <a:gd name="connsiteX8" fmla="*/ 1365536 w 1623021"/>
                        <a:gd name="connsiteY8" fmla="*/ 3307540 h 33075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3021" h="3307542">
                          <a:moveTo>
                            <a:pt x="1365536" y="3307540"/>
                          </a:moveTo>
                          <a:lnTo>
                            <a:pt x="243299" y="3302391"/>
                          </a:lnTo>
                          <a:cubicBezTo>
                            <a:pt x="108340" y="3301808"/>
                            <a:pt x="-581" y="3191916"/>
                            <a:pt x="2" y="3056859"/>
                          </a:cubicBezTo>
                          <a:lnTo>
                            <a:pt x="11856" y="243397"/>
                          </a:lnTo>
                          <a:cubicBezTo>
                            <a:pt x="12439" y="108340"/>
                            <a:pt x="122428" y="-677"/>
                            <a:pt x="257485" y="3"/>
                          </a:cubicBezTo>
                          <a:lnTo>
                            <a:pt x="1379722" y="5153"/>
                          </a:lnTo>
                          <a:cubicBezTo>
                            <a:pt x="1514682" y="5736"/>
                            <a:pt x="1623602" y="115628"/>
                            <a:pt x="1623019" y="250685"/>
                          </a:cubicBezTo>
                          <a:lnTo>
                            <a:pt x="1611165" y="3064146"/>
                          </a:lnTo>
                          <a:cubicBezTo>
                            <a:pt x="1610582" y="3199106"/>
                            <a:pt x="1500593" y="3308123"/>
                            <a:pt x="1365536" y="3307540"/>
                          </a:cubicBez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0" name="Freeform: Shape 719">
                      <a:extLst>
                        <a:ext uri="{FF2B5EF4-FFF2-40B4-BE49-F238E27FC236}">
                          <a16:creationId xmlns:a16="http://schemas.microsoft.com/office/drawing/2014/main" id="{3A19859A-E730-403D-B7CF-647AC6399E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08345" y="2403958"/>
                      <a:ext cx="1473970" cy="3093781"/>
                    </a:xfrm>
                    <a:custGeom>
                      <a:avLst/>
                      <a:gdLst>
                        <a:gd name="connsiteX0" fmla="*/ 1303448 w 1473970"/>
                        <a:gd name="connsiteY0" fmla="*/ 5151 h 3093781"/>
                        <a:gd name="connsiteX1" fmla="*/ 1085899 w 1473970"/>
                        <a:gd name="connsiteY1" fmla="*/ 4180 h 3093781"/>
                        <a:gd name="connsiteX2" fmla="*/ 1032848 w 1473970"/>
                        <a:gd name="connsiteY2" fmla="*/ 59174 h 3093781"/>
                        <a:gd name="connsiteX3" fmla="*/ 1032654 w 1473970"/>
                        <a:gd name="connsiteY3" fmla="*/ 98622 h 3093781"/>
                        <a:gd name="connsiteX4" fmla="*/ 979602 w 1473970"/>
                        <a:gd name="connsiteY4" fmla="*/ 153617 h 3093781"/>
                        <a:gd name="connsiteX5" fmla="*/ 555484 w 1473970"/>
                        <a:gd name="connsiteY5" fmla="*/ 151673 h 3093781"/>
                        <a:gd name="connsiteX6" fmla="*/ 502919 w 1473970"/>
                        <a:gd name="connsiteY6" fmla="*/ 96193 h 3093781"/>
                        <a:gd name="connsiteX7" fmla="*/ 503113 w 1473970"/>
                        <a:gd name="connsiteY7" fmla="*/ 56745 h 3093781"/>
                        <a:gd name="connsiteX8" fmla="*/ 450548 w 1473970"/>
                        <a:gd name="connsiteY8" fmla="*/ 1265 h 3093781"/>
                        <a:gd name="connsiteX9" fmla="*/ 373983 w 1473970"/>
                        <a:gd name="connsiteY9" fmla="*/ 876 h 3093781"/>
                        <a:gd name="connsiteX10" fmla="*/ 183543 w 1473970"/>
                        <a:gd name="connsiteY10" fmla="*/ 1 h 3093781"/>
                        <a:gd name="connsiteX11" fmla="*/ 11564 w 1473970"/>
                        <a:gd name="connsiteY11" fmla="*/ 170523 h 3093781"/>
                        <a:gd name="connsiteX12" fmla="*/ 1 w 1473970"/>
                        <a:gd name="connsiteY12" fmla="*/ 2916651 h 3093781"/>
                        <a:gd name="connsiteX13" fmla="*/ 170426 w 1473970"/>
                        <a:gd name="connsiteY13" fmla="*/ 3088630 h 3093781"/>
                        <a:gd name="connsiteX14" fmla="*/ 1290428 w 1473970"/>
                        <a:gd name="connsiteY14" fmla="*/ 3093780 h 3093781"/>
                        <a:gd name="connsiteX15" fmla="*/ 1462407 w 1473970"/>
                        <a:gd name="connsiteY15" fmla="*/ 2923258 h 3093781"/>
                        <a:gd name="connsiteX16" fmla="*/ 1473969 w 1473970"/>
                        <a:gd name="connsiteY16" fmla="*/ 177130 h 3093781"/>
                        <a:gd name="connsiteX17" fmla="*/ 1303448 w 1473970"/>
                        <a:gd name="connsiteY17" fmla="*/ 5151 h 30937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473970" h="3093781">
                          <a:moveTo>
                            <a:pt x="1303448" y="5151"/>
                          </a:moveTo>
                          <a:lnTo>
                            <a:pt x="1085899" y="4180"/>
                          </a:lnTo>
                          <a:cubicBezTo>
                            <a:pt x="1056750" y="4082"/>
                            <a:pt x="1032945" y="28665"/>
                            <a:pt x="1032848" y="59174"/>
                          </a:cubicBezTo>
                          <a:lnTo>
                            <a:pt x="1032654" y="98622"/>
                          </a:lnTo>
                          <a:cubicBezTo>
                            <a:pt x="1032556" y="129132"/>
                            <a:pt x="1008751" y="153714"/>
                            <a:pt x="979602" y="153617"/>
                          </a:cubicBezTo>
                          <a:lnTo>
                            <a:pt x="555484" y="151673"/>
                          </a:lnTo>
                          <a:cubicBezTo>
                            <a:pt x="526335" y="151576"/>
                            <a:pt x="502725" y="126702"/>
                            <a:pt x="502919" y="96193"/>
                          </a:cubicBezTo>
                          <a:lnTo>
                            <a:pt x="503113" y="56745"/>
                          </a:lnTo>
                          <a:cubicBezTo>
                            <a:pt x="503210" y="26236"/>
                            <a:pt x="479697" y="1362"/>
                            <a:pt x="450548" y="1265"/>
                          </a:cubicBezTo>
                          <a:lnTo>
                            <a:pt x="373983" y="876"/>
                          </a:lnTo>
                          <a:lnTo>
                            <a:pt x="183543" y="1"/>
                          </a:lnTo>
                          <a:cubicBezTo>
                            <a:pt x="89003" y="-387"/>
                            <a:pt x="11953" y="75886"/>
                            <a:pt x="11564" y="170523"/>
                          </a:cubicBezTo>
                          <a:lnTo>
                            <a:pt x="1" y="2916651"/>
                          </a:lnTo>
                          <a:cubicBezTo>
                            <a:pt x="-387" y="3011191"/>
                            <a:pt x="75886" y="3088144"/>
                            <a:pt x="170426" y="3088630"/>
                          </a:cubicBezTo>
                          <a:lnTo>
                            <a:pt x="1290428" y="3093780"/>
                          </a:lnTo>
                          <a:cubicBezTo>
                            <a:pt x="1384968" y="3094265"/>
                            <a:pt x="1462018" y="3017895"/>
                            <a:pt x="1462407" y="2923258"/>
                          </a:cubicBezTo>
                          <a:lnTo>
                            <a:pt x="1473969" y="177130"/>
                          </a:lnTo>
                          <a:cubicBezTo>
                            <a:pt x="1474261" y="82493"/>
                            <a:pt x="1397891" y="5540"/>
                            <a:pt x="1303448" y="5151"/>
                          </a:cubicBezTo>
                          <a:close/>
                        </a:path>
                      </a:pathLst>
                    </a:custGeom>
                    <a:solidFill>
                      <a:srgbClr val="FAFAFA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721" name="Freeform: Shape 720">
                    <a:extLst>
                      <a:ext uri="{FF2B5EF4-FFF2-40B4-BE49-F238E27FC236}">
                        <a16:creationId xmlns:a16="http://schemas.microsoft.com/office/drawing/2014/main" id="{8009AD8E-0FBA-49A1-96AF-12E66E2B0C32}"/>
                      </a:ext>
                    </a:extLst>
                  </p:cNvPr>
                  <p:cNvSpPr/>
                  <p:nvPr/>
                </p:nvSpPr>
                <p:spPr>
                  <a:xfrm>
                    <a:off x="2731649" y="5214796"/>
                    <a:ext cx="46249" cy="39644"/>
                  </a:xfrm>
                  <a:custGeom>
                    <a:avLst/>
                    <a:gdLst>
                      <a:gd name="connsiteX0" fmla="*/ 46250 w 46249"/>
                      <a:gd name="connsiteY0" fmla="*/ 19919 h 39644"/>
                      <a:gd name="connsiteX1" fmla="*/ 23028 w 46249"/>
                      <a:gd name="connsiteY1" fmla="*/ 39644 h 39644"/>
                      <a:gd name="connsiteX2" fmla="*/ 0 w 46249"/>
                      <a:gd name="connsiteY2" fmla="*/ 19725 h 39644"/>
                      <a:gd name="connsiteX3" fmla="*/ 23222 w 46249"/>
                      <a:gd name="connsiteY3" fmla="*/ 1 h 39644"/>
                      <a:gd name="connsiteX4" fmla="*/ 46250 w 46249"/>
                      <a:gd name="connsiteY4" fmla="*/ 19919 h 396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49" h="39644">
                        <a:moveTo>
                          <a:pt x="46250" y="19919"/>
                        </a:moveTo>
                        <a:cubicBezTo>
                          <a:pt x="46153" y="30899"/>
                          <a:pt x="35853" y="39741"/>
                          <a:pt x="23028" y="39644"/>
                        </a:cubicBezTo>
                        <a:cubicBezTo>
                          <a:pt x="10299" y="39546"/>
                          <a:pt x="0" y="30607"/>
                          <a:pt x="0" y="19725"/>
                        </a:cubicBezTo>
                        <a:cubicBezTo>
                          <a:pt x="97" y="8746"/>
                          <a:pt x="10397" y="-96"/>
                          <a:pt x="23222" y="1"/>
                        </a:cubicBezTo>
                        <a:cubicBezTo>
                          <a:pt x="35951" y="1"/>
                          <a:pt x="46250" y="8940"/>
                          <a:pt x="46250" y="19919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2" name="Freeform: Shape 721">
                    <a:extLst>
                      <a:ext uri="{FF2B5EF4-FFF2-40B4-BE49-F238E27FC236}">
                        <a16:creationId xmlns:a16="http://schemas.microsoft.com/office/drawing/2014/main" id="{1DB59967-205D-483F-9784-F1D11DCF1109}"/>
                      </a:ext>
                    </a:extLst>
                  </p:cNvPr>
                  <p:cNvSpPr/>
                  <p:nvPr/>
                </p:nvSpPr>
                <p:spPr>
                  <a:xfrm>
                    <a:off x="2803259" y="5215185"/>
                    <a:ext cx="46249" cy="39644"/>
                  </a:xfrm>
                  <a:custGeom>
                    <a:avLst/>
                    <a:gdLst>
                      <a:gd name="connsiteX0" fmla="*/ 46250 w 46249"/>
                      <a:gd name="connsiteY0" fmla="*/ 19919 h 39644"/>
                      <a:gd name="connsiteX1" fmla="*/ 23028 w 46249"/>
                      <a:gd name="connsiteY1" fmla="*/ 39644 h 39644"/>
                      <a:gd name="connsiteX2" fmla="*/ 0 w 46249"/>
                      <a:gd name="connsiteY2" fmla="*/ 19725 h 39644"/>
                      <a:gd name="connsiteX3" fmla="*/ 23222 w 46249"/>
                      <a:gd name="connsiteY3" fmla="*/ 1 h 39644"/>
                      <a:gd name="connsiteX4" fmla="*/ 46250 w 46249"/>
                      <a:gd name="connsiteY4" fmla="*/ 19919 h 396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49" h="39644">
                        <a:moveTo>
                          <a:pt x="46250" y="19919"/>
                        </a:moveTo>
                        <a:cubicBezTo>
                          <a:pt x="46250" y="30899"/>
                          <a:pt x="35853" y="39741"/>
                          <a:pt x="23028" y="39644"/>
                        </a:cubicBezTo>
                        <a:cubicBezTo>
                          <a:pt x="10299" y="39546"/>
                          <a:pt x="0" y="30607"/>
                          <a:pt x="0" y="19725"/>
                        </a:cubicBezTo>
                        <a:cubicBezTo>
                          <a:pt x="0" y="8745"/>
                          <a:pt x="10396" y="-96"/>
                          <a:pt x="23222" y="1"/>
                        </a:cubicBezTo>
                        <a:cubicBezTo>
                          <a:pt x="36048" y="98"/>
                          <a:pt x="46250" y="8940"/>
                          <a:pt x="46250" y="19919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3" name="Freeform: Shape 722">
                    <a:extLst>
                      <a:ext uri="{FF2B5EF4-FFF2-40B4-BE49-F238E27FC236}">
                        <a16:creationId xmlns:a16="http://schemas.microsoft.com/office/drawing/2014/main" id="{D31E7A22-5D62-487E-939C-28C02359019B}"/>
                      </a:ext>
                    </a:extLst>
                  </p:cNvPr>
                  <p:cNvSpPr/>
                  <p:nvPr/>
                </p:nvSpPr>
                <p:spPr>
                  <a:xfrm>
                    <a:off x="2874868" y="5215477"/>
                    <a:ext cx="46249" cy="39644"/>
                  </a:xfrm>
                  <a:custGeom>
                    <a:avLst/>
                    <a:gdLst>
                      <a:gd name="connsiteX0" fmla="*/ 46250 w 46249"/>
                      <a:gd name="connsiteY0" fmla="*/ 19919 h 39644"/>
                      <a:gd name="connsiteX1" fmla="*/ 23028 w 46249"/>
                      <a:gd name="connsiteY1" fmla="*/ 39644 h 39644"/>
                      <a:gd name="connsiteX2" fmla="*/ 0 w 46249"/>
                      <a:gd name="connsiteY2" fmla="*/ 19725 h 39644"/>
                      <a:gd name="connsiteX3" fmla="*/ 23222 w 46249"/>
                      <a:gd name="connsiteY3" fmla="*/ 1 h 39644"/>
                      <a:gd name="connsiteX4" fmla="*/ 46250 w 46249"/>
                      <a:gd name="connsiteY4" fmla="*/ 19919 h 396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49" h="39644">
                        <a:moveTo>
                          <a:pt x="46250" y="19919"/>
                        </a:moveTo>
                        <a:cubicBezTo>
                          <a:pt x="46250" y="30899"/>
                          <a:pt x="35853" y="39741"/>
                          <a:pt x="23028" y="39644"/>
                        </a:cubicBezTo>
                        <a:cubicBezTo>
                          <a:pt x="10299" y="39546"/>
                          <a:pt x="0" y="30607"/>
                          <a:pt x="0" y="19725"/>
                        </a:cubicBezTo>
                        <a:cubicBezTo>
                          <a:pt x="0" y="8745"/>
                          <a:pt x="10397" y="-96"/>
                          <a:pt x="23222" y="1"/>
                        </a:cubicBezTo>
                        <a:cubicBezTo>
                          <a:pt x="35950" y="1"/>
                          <a:pt x="46250" y="8940"/>
                          <a:pt x="46250" y="19919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724" name="Freeform: Shape 723">
                  <a:extLst>
                    <a:ext uri="{FF2B5EF4-FFF2-40B4-BE49-F238E27FC236}">
                      <a16:creationId xmlns:a16="http://schemas.microsoft.com/office/drawing/2014/main" id="{BBA330CA-2EF7-4D31-9F1E-2F8DBC83E5CD}"/>
                    </a:ext>
                  </a:extLst>
                </p:cNvPr>
                <p:cNvSpPr/>
                <p:nvPr/>
              </p:nvSpPr>
              <p:spPr>
                <a:xfrm>
                  <a:off x="2454540" y="3732959"/>
                  <a:ext cx="1119127" cy="218520"/>
                </a:xfrm>
                <a:custGeom>
                  <a:avLst/>
                  <a:gdLst>
                    <a:gd name="connsiteX0" fmla="*/ 0 w 1119127"/>
                    <a:gd name="connsiteY0" fmla="*/ 0 h 218520"/>
                    <a:gd name="connsiteX1" fmla="*/ 1119127 w 1119127"/>
                    <a:gd name="connsiteY1" fmla="*/ 218520 h 218520"/>
                    <a:gd name="connsiteX2" fmla="*/ 1119127 w 1119127"/>
                    <a:gd name="connsiteY2" fmla="*/ 0 h 218520"/>
                    <a:gd name="connsiteX3" fmla="*/ 0 w 1119127"/>
                    <a:gd name="connsiteY3" fmla="*/ 0 h 218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19127" h="218520">
                      <a:moveTo>
                        <a:pt x="0" y="0"/>
                      </a:moveTo>
                      <a:cubicBezTo>
                        <a:pt x="18267" y="2623"/>
                        <a:pt x="1119127" y="218520"/>
                        <a:pt x="1119127" y="218520"/>
                      </a:cubicBezTo>
                      <a:lnTo>
                        <a:pt x="111912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BEBEB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5" name="Freeform: Shape 724">
                  <a:extLst>
                    <a:ext uri="{FF2B5EF4-FFF2-40B4-BE49-F238E27FC236}">
                      <a16:creationId xmlns:a16="http://schemas.microsoft.com/office/drawing/2014/main" id="{374848CC-EE77-4069-A3A8-F8B454012454}"/>
                    </a:ext>
                  </a:extLst>
                </p:cNvPr>
                <p:cNvSpPr/>
                <p:nvPr/>
              </p:nvSpPr>
              <p:spPr>
                <a:xfrm>
                  <a:off x="2108152" y="4956126"/>
                  <a:ext cx="1187210" cy="164325"/>
                </a:xfrm>
                <a:custGeom>
                  <a:avLst/>
                  <a:gdLst>
                    <a:gd name="connsiteX0" fmla="*/ 0 w 1187210"/>
                    <a:gd name="connsiteY0" fmla="*/ 164325 h 164325"/>
                    <a:gd name="connsiteX1" fmla="*/ 1187142 w 1187210"/>
                    <a:gd name="connsiteY1" fmla="*/ 119 h 164325"/>
                    <a:gd name="connsiteX2" fmla="*/ 0 w 1187210"/>
                    <a:gd name="connsiteY2" fmla="*/ 119 h 164325"/>
                    <a:gd name="connsiteX3" fmla="*/ 0 w 1187210"/>
                    <a:gd name="connsiteY3" fmla="*/ 164325 h 164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7210" h="164325">
                      <a:moveTo>
                        <a:pt x="0" y="164325"/>
                      </a:moveTo>
                      <a:cubicBezTo>
                        <a:pt x="0" y="164325"/>
                        <a:pt x="1197635" y="-5128"/>
                        <a:pt x="1187142" y="119"/>
                      </a:cubicBezTo>
                      <a:cubicBezTo>
                        <a:pt x="1176745" y="5366"/>
                        <a:pt x="0" y="119"/>
                        <a:pt x="0" y="119"/>
                      </a:cubicBezTo>
                      <a:lnTo>
                        <a:pt x="0" y="164325"/>
                      </a:lnTo>
                      <a:close/>
                    </a:path>
                  </a:pathLst>
                </a:custGeom>
                <a:solidFill>
                  <a:srgbClr val="EBEBEB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6" name="Freeform: Shape 725">
                  <a:extLst>
                    <a:ext uri="{FF2B5EF4-FFF2-40B4-BE49-F238E27FC236}">
                      <a16:creationId xmlns:a16="http://schemas.microsoft.com/office/drawing/2014/main" id="{0F87083E-1AE0-4535-A54F-4BFE5B71387F}"/>
                    </a:ext>
                  </a:extLst>
                </p:cNvPr>
                <p:cNvSpPr/>
                <p:nvPr/>
              </p:nvSpPr>
              <p:spPr>
                <a:xfrm>
                  <a:off x="3496422" y="1914159"/>
                  <a:ext cx="5052" cy="270502"/>
                </a:xfrm>
                <a:custGeom>
                  <a:avLst/>
                  <a:gdLst>
                    <a:gd name="connsiteX0" fmla="*/ 2526 w 5052"/>
                    <a:gd name="connsiteY0" fmla="*/ 0 h 270502"/>
                    <a:gd name="connsiteX1" fmla="*/ 5052 w 5052"/>
                    <a:gd name="connsiteY1" fmla="*/ 135251 h 270502"/>
                    <a:gd name="connsiteX2" fmla="*/ 2526 w 5052"/>
                    <a:gd name="connsiteY2" fmla="*/ 270503 h 270502"/>
                    <a:gd name="connsiteX3" fmla="*/ 0 w 5052"/>
                    <a:gd name="connsiteY3" fmla="*/ 135251 h 270502"/>
                    <a:gd name="connsiteX4" fmla="*/ 2526 w 5052"/>
                    <a:gd name="connsiteY4" fmla="*/ 0 h 270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2" h="270502">
                      <a:moveTo>
                        <a:pt x="2526" y="0"/>
                      </a:moveTo>
                      <a:cubicBezTo>
                        <a:pt x="3886" y="0"/>
                        <a:pt x="5052" y="60533"/>
                        <a:pt x="5052" y="135251"/>
                      </a:cubicBezTo>
                      <a:cubicBezTo>
                        <a:pt x="5052" y="209970"/>
                        <a:pt x="3886" y="270503"/>
                        <a:pt x="2526" y="270503"/>
                      </a:cubicBezTo>
                      <a:cubicBezTo>
                        <a:pt x="1166" y="270503"/>
                        <a:pt x="0" y="209970"/>
                        <a:pt x="0" y="135251"/>
                      </a:cubicBezTo>
                      <a:cubicBezTo>
                        <a:pt x="0" y="60533"/>
                        <a:pt x="1069" y="0"/>
                        <a:pt x="2526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7" name="Freeform: Shape 726">
                  <a:extLst>
                    <a:ext uri="{FF2B5EF4-FFF2-40B4-BE49-F238E27FC236}">
                      <a16:creationId xmlns:a16="http://schemas.microsoft.com/office/drawing/2014/main" id="{271C9C5D-003E-4406-9FEB-A4EB3008E411}"/>
                    </a:ext>
                  </a:extLst>
                </p:cNvPr>
                <p:cNvSpPr/>
                <p:nvPr/>
              </p:nvSpPr>
              <p:spPr>
                <a:xfrm>
                  <a:off x="3730678" y="2225317"/>
                  <a:ext cx="247484" cy="109316"/>
                </a:xfrm>
                <a:custGeom>
                  <a:avLst/>
                  <a:gdLst>
                    <a:gd name="connsiteX0" fmla="*/ 247480 w 247484"/>
                    <a:gd name="connsiteY0" fmla="*/ 56 h 109316"/>
                    <a:gd name="connsiteX1" fmla="*/ 124763 w 247484"/>
                    <a:gd name="connsiteY1" fmla="*/ 56994 h 109316"/>
                    <a:gd name="connsiteX2" fmla="*/ 5 w 247484"/>
                    <a:gd name="connsiteY2" fmla="*/ 109268 h 109316"/>
                    <a:gd name="connsiteX3" fmla="*/ 122722 w 247484"/>
                    <a:gd name="connsiteY3" fmla="*/ 52330 h 109316"/>
                    <a:gd name="connsiteX4" fmla="*/ 247480 w 247484"/>
                    <a:gd name="connsiteY4" fmla="*/ 56 h 109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7484" h="109316">
                      <a:moveTo>
                        <a:pt x="247480" y="56"/>
                      </a:moveTo>
                      <a:cubicBezTo>
                        <a:pt x="248063" y="1319"/>
                        <a:pt x="193068" y="26776"/>
                        <a:pt x="124763" y="56994"/>
                      </a:cubicBezTo>
                      <a:cubicBezTo>
                        <a:pt x="56457" y="87115"/>
                        <a:pt x="588" y="110531"/>
                        <a:pt x="5" y="109268"/>
                      </a:cubicBezTo>
                      <a:cubicBezTo>
                        <a:pt x="-578" y="108005"/>
                        <a:pt x="54319" y="82548"/>
                        <a:pt x="122722" y="52330"/>
                      </a:cubicBezTo>
                      <a:cubicBezTo>
                        <a:pt x="191028" y="22112"/>
                        <a:pt x="246897" y="-1304"/>
                        <a:pt x="247480" y="5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8" name="Freeform: Shape 727">
                  <a:extLst>
                    <a:ext uri="{FF2B5EF4-FFF2-40B4-BE49-F238E27FC236}">
                      <a16:creationId xmlns:a16="http://schemas.microsoft.com/office/drawing/2014/main" id="{299C7BEB-F6F4-4C0B-9527-86294A859B13}"/>
                    </a:ext>
                  </a:extLst>
                </p:cNvPr>
                <p:cNvSpPr/>
                <p:nvPr/>
              </p:nvSpPr>
              <p:spPr>
                <a:xfrm>
                  <a:off x="3655065" y="1753349"/>
                  <a:ext cx="310971" cy="475428"/>
                </a:xfrm>
                <a:custGeom>
                  <a:avLst/>
                  <a:gdLst>
                    <a:gd name="connsiteX0" fmla="*/ 310947 w 310971"/>
                    <a:gd name="connsiteY0" fmla="*/ 4 h 475428"/>
                    <a:gd name="connsiteX1" fmla="*/ 308324 w 310971"/>
                    <a:gd name="connsiteY1" fmla="*/ 5154 h 475428"/>
                    <a:gd name="connsiteX2" fmla="*/ 299968 w 310971"/>
                    <a:gd name="connsiteY2" fmla="*/ 19437 h 475428"/>
                    <a:gd name="connsiteX3" fmla="*/ 268293 w 310971"/>
                    <a:gd name="connsiteY3" fmla="*/ 71419 h 475428"/>
                    <a:gd name="connsiteX4" fmla="*/ 157623 w 310971"/>
                    <a:gd name="connsiteY4" fmla="*/ 239123 h 475428"/>
                    <a:gd name="connsiteX5" fmla="*/ 45691 w 310971"/>
                    <a:gd name="connsiteY5" fmla="*/ 405855 h 475428"/>
                    <a:gd name="connsiteX6" fmla="*/ 12656 w 310971"/>
                    <a:gd name="connsiteY6" fmla="*/ 456963 h 475428"/>
                    <a:gd name="connsiteX7" fmla="*/ 3522 w 310971"/>
                    <a:gd name="connsiteY7" fmla="*/ 470760 h 475428"/>
                    <a:gd name="connsiteX8" fmla="*/ 24 w 310971"/>
                    <a:gd name="connsiteY8" fmla="*/ 475424 h 475428"/>
                    <a:gd name="connsiteX9" fmla="*/ 2648 w 310971"/>
                    <a:gd name="connsiteY9" fmla="*/ 470275 h 475428"/>
                    <a:gd name="connsiteX10" fmla="*/ 10907 w 310971"/>
                    <a:gd name="connsiteY10" fmla="*/ 455992 h 475428"/>
                    <a:gd name="connsiteX11" fmla="*/ 42582 w 310971"/>
                    <a:gd name="connsiteY11" fmla="*/ 404009 h 475428"/>
                    <a:gd name="connsiteX12" fmla="*/ 153348 w 310971"/>
                    <a:gd name="connsiteY12" fmla="*/ 236305 h 475428"/>
                    <a:gd name="connsiteX13" fmla="*/ 265183 w 310971"/>
                    <a:gd name="connsiteY13" fmla="*/ 69573 h 475428"/>
                    <a:gd name="connsiteX14" fmla="*/ 298219 w 310971"/>
                    <a:gd name="connsiteY14" fmla="*/ 18465 h 475428"/>
                    <a:gd name="connsiteX15" fmla="*/ 307352 w 310971"/>
                    <a:gd name="connsiteY15" fmla="*/ 4668 h 475428"/>
                    <a:gd name="connsiteX16" fmla="*/ 310947 w 310971"/>
                    <a:gd name="connsiteY16" fmla="*/ 4 h 475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10971" h="475428">
                      <a:moveTo>
                        <a:pt x="310947" y="4"/>
                      </a:moveTo>
                      <a:cubicBezTo>
                        <a:pt x="311142" y="101"/>
                        <a:pt x="310170" y="1850"/>
                        <a:pt x="308324" y="5154"/>
                      </a:cubicBezTo>
                      <a:cubicBezTo>
                        <a:pt x="306186" y="8943"/>
                        <a:pt x="303368" y="13607"/>
                        <a:pt x="299968" y="19437"/>
                      </a:cubicBezTo>
                      <a:cubicBezTo>
                        <a:pt x="292681" y="31874"/>
                        <a:pt x="281895" y="49655"/>
                        <a:pt x="268293" y="71419"/>
                      </a:cubicBezTo>
                      <a:cubicBezTo>
                        <a:pt x="241087" y="115045"/>
                        <a:pt x="201930" y="174412"/>
                        <a:pt x="157623" y="239123"/>
                      </a:cubicBezTo>
                      <a:cubicBezTo>
                        <a:pt x="113220" y="303834"/>
                        <a:pt x="73674" y="362812"/>
                        <a:pt x="45691" y="405855"/>
                      </a:cubicBezTo>
                      <a:cubicBezTo>
                        <a:pt x="31991" y="427037"/>
                        <a:pt x="20818" y="444332"/>
                        <a:pt x="12656" y="456963"/>
                      </a:cubicBezTo>
                      <a:cubicBezTo>
                        <a:pt x="8964" y="462599"/>
                        <a:pt x="5952" y="467165"/>
                        <a:pt x="3522" y="470760"/>
                      </a:cubicBezTo>
                      <a:cubicBezTo>
                        <a:pt x="1385" y="473870"/>
                        <a:pt x="219" y="475521"/>
                        <a:pt x="24" y="475424"/>
                      </a:cubicBezTo>
                      <a:cubicBezTo>
                        <a:pt x="-170" y="475327"/>
                        <a:pt x="802" y="473578"/>
                        <a:pt x="2648" y="470275"/>
                      </a:cubicBezTo>
                      <a:cubicBezTo>
                        <a:pt x="4786" y="466485"/>
                        <a:pt x="7603" y="461821"/>
                        <a:pt x="10907" y="455992"/>
                      </a:cubicBezTo>
                      <a:cubicBezTo>
                        <a:pt x="18194" y="443555"/>
                        <a:pt x="28979" y="425871"/>
                        <a:pt x="42582" y="404009"/>
                      </a:cubicBezTo>
                      <a:cubicBezTo>
                        <a:pt x="69788" y="360383"/>
                        <a:pt x="108945" y="301016"/>
                        <a:pt x="153348" y="236305"/>
                      </a:cubicBezTo>
                      <a:cubicBezTo>
                        <a:pt x="197655" y="171595"/>
                        <a:pt x="237297" y="112714"/>
                        <a:pt x="265183" y="69573"/>
                      </a:cubicBezTo>
                      <a:cubicBezTo>
                        <a:pt x="278883" y="48391"/>
                        <a:pt x="290057" y="31096"/>
                        <a:pt x="298219" y="18465"/>
                      </a:cubicBezTo>
                      <a:cubicBezTo>
                        <a:pt x="301911" y="12830"/>
                        <a:pt x="304923" y="8263"/>
                        <a:pt x="307352" y="4668"/>
                      </a:cubicBezTo>
                      <a:cubicBezTo>
                        <a:pt x="309684" y="1559"/>
                        <a:pt x="310850" y="-93"/>
                        <a:pt x="310947" y="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29" name="Graphic 13">
                <a:extLst>
                  <a:ext uri="{FF2B5EF4-FFF2-40B4-BE49-F238E27FC236}">
                    <a16:creationId xmlns:a16="http://schemas.microsoft.com/office/drawing/2014/main" id="{2D908F98-8CA5-411A-9C59-2033D680601E}"/>
                  </a:ext>
                </a:extLst>
              </p:cNvPr>
              <p:cNvGrpSpPr/>
              <p:nvPr/>
            </p:nvGrpSpPr>
            <p:grpSpPr>
              <a:xfrm>
                <a:off x="1379719" y="2897257"/>
                <a:ext cx="3343876" cy="2219113"/>
                <a:chOff x="1379719" y="2897257"/>
                <a:chExt cx="3343876" cy="2219113"/>
              </a:xfrm>
            </p:grpSpPr>
            <p:grpSp>
              <p:nvGrpSpPr>
                <p:cNvPr id="730" name="Graphic 13">
                  <a:extLst>
                    <a:ext uri="{FF2B5EF4-FFF2-40B4-BE49-F238E27FC236}">
                      <a16:creationId xmlns:a16="http://schemas.microsoft.com/office/drawing/2014/main" id="{051DD087-50D9-40C5-B24C-B7E0A743702A}"/>
                    </a:ext>
                  </a:extLst>
                </p:cNvPr>
                <p:cNvGrpSpPr/>
                <p:nvPr/>
              </p:nvGrpSpPr>
              <p:grpSpPr>
                <a:xfrm>
                  <a:off x="2361651" y="2897257"/>
                  <a:ext cx="2361943" cy="1011373"/>
                  <a:chOff x="2361651" y="2897257"/>
                  <a:chExt cx="2361943" cy="1011373"/>
                </a:xfrm>
              </p:grpSpPr>
              <p:sp>
                <p:nvSpPr>
                  <p:cNvPr id="731" name="Freeform: Shape 730">
                    <a:extLst>
                      <a:ext uri="{FF2B5EF4-FFF2-40B4-BE49-F238E27FC236}">
                        <a16:creationId xmlns:a16="http://schemas.microsoft.com/office/drawing/2014/main" id="{DCDBB4DC-4203-4CA2-873A-9679A146634B}"/>
                      </a:ext>
                    </a:extLst>
                  </p:cNvPr>
                  <p:cNvSpPr/>
                  <p:nvPr/>
                </p:nvSpPr>
                <p:spPr>
                  <a:xfrm>
                    <a:off x="2361651" y="2897257"/>
                    <a:ext cx="2361943" cy="1011373"/>
                  </a:xfrm>
                  <a:custGeom>
                    <a:avLst/>
                    <a:gdLst>
                      <a:gd name="connsiteX0" fmla="*/ 2276246 w 2361943"/>
                      <a:gd name="connsiteY0" fmla="*/ 0 h 1011373"/>
                      <a:gd name="connsiteX1" fmla="*/ 85698 w 2361943"/>
                      <a:gd name="connsiteY1" fmla="*/ 0 h 1011373"/>
                      <a:gd name="connsiteX2" fmla="*/ 0 w 2361943"/>
                      <a:gd name="connsiteY2" fmla="*/ 85698 h 1011373"/>
                      <a:gd name="connsiteX3" fmla="*/ 0 w 2361943"/>
                      <a:gd name="connsiteY3" fmla="*/ 765161 h 1011373"/>
                      <a:gd name="connsiteX4" fmla="*/ 85698 w 2361943"/>
                      <a:gd name="connsiteY4" fmla="*/ 850859 h 1011373"/>
                      <a:gd name="connsiteX5" fmla="*/ 248932 w 2361943"/>
                      <a:gd name="connsiteY5" fmla="*/ 850859 h 1011373"/>
                      <a:gd name="connsiteX6" fmla="*/ 277498 w 2361943"/>
                      <a:gd name="connsiteY6" fmla="*/ 1011373 h 1011373"/>
                      <a:gd name="connsiteX7" fmla="*/ 425187 w 2361943"/>
                      <a:gd name="connsiteY7" fmla="*/ 850859 h 1011373"/>
                      <a:gd name="connsiteX8" fmla="*/ 2276246 w 2361943"/>
                      <a:gd name="connsiteY8" fmla="*/ 850859 h 1011373"/>
                      <a:gd name="connsiteX9" fmla="*/ 2361944 w 2361943"/>
                      <a:gd name="connsiteY9" fmla="*/ 765161 h 1011373"/>
                      <a:gd name="connsiteX10" fmla="*/ 2361944 w 2361943"/>
                      <a:gd name="connsiteY10" fmla="*/ 85698 h 1011373"/>
                      <a:gd name="connsiteX11" fmla="*/ 2276246 w 2361943"/>
                      <a:gd name="connsiteY11" fmla="*/ 0 h 1011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61943" h="1011373">
                        <a:moveTo>
                          <a:pt x="2276246" y="0"/>
                        </a:moveTo>
                        <a:lnTo>
                          <a:pt x="85698" y="0"/>
                        </a:lnTo>
                        <a:cubicBezTo>
                          <a:pt x="38379" y="0"/>
                          <a:pt x="0" y="38379"/>
                          <a:pt x="0" y="85698"/>
                        </a:cubicBezTo>
                        <a:lnTo>
                          <a:pt x="0" y="765161"/>
                        </a:lnTo>
                        <a:cubicBezTo>
                          <a:pt x="0" y="812480"/>
                          <a:pt x="38379" y="850859"/>
                          <a:pt x="85698" y="850859"/>
                        </a:cubicBezTo>
                        <a:lnTo>
                          <a:pt x="248932" y="850859"/>
                        </a:lnTo>
                        <a:cubicBezTo>
                          <a:pt x="262049" y="921789"/>
                          <a:pt x="277498" y="1011373"/>
                          <a:pt x="277498" y="1011373"/>
                        </a:cubicBezTo>
                        <a:lnTo>
                          <a:pt x="425187" y="850859"/>
                        </a:lnTo>
                        <a:lnTo>
                          <a:pt x="2276246" y="850859"/>
                        </a:lnTo>
                        <a:cubicBezTo>
                          <a:pt x="2323564" y="850859"/>
                          <a:pt x="2361944" y="812480"/>
                          <a:pt x="2361944" y="765161"/>
                        </a:cubicBezTo>
                        <a:lnTo>
                          <a:pt x="2361944" y="85698"/>
                        </a:lnTo>
                        <a:cubicBezTo>
                          <a:pt x="2361847" y="38379"/>
                          <a:pt x="2323564" y="0"/>
                          <a:pt x="2276246" y="0"/>
                        </a:cubicBezTo>
                        <a:close/>
                      </a:path>
                    </a:pathLst>
                  </a:custGeom>
                  <a:solidFill>
                    <a:srgbClr val="95B7A9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732" name="Graphic 13">
                    <a:extLst>
                      <a:ext uri="{FF2B5EF4-FFF2-40B4-BE49-F238E27FC236}">
                        <a16:creationId xmlns:a16="http://schemas.microsoft.com/office/drawing/2014/main" id="{E402ABC2-858C-45FA-9CC2-AF429EC38285}"/>
                      </a:ext>
                    </a:extLst>
                  </p:cNvPr>
                  <p:cNvGrpSpPr/>
                  <p:nvPr/>
                </p:nvGrpSpPr>
                <p:grpSpPr>
                  <a:xfrm>
                    <a:off x="2569581" y="3158918"/>
                    <a:ext cx="1164502" cy="319764"/>
                    <a:chOff x="2569581" y="3158918"/>
                    <a:chExt cx="1164502" cy="319764"/>
                  </a:xfrm>
                  <a:solidFill>
                    <a:srgbClr val="F5F5F5"/>
                  </a:solidFill>
                </p:grpSpPr>
                <p:sp>
                  <p:nvSpPr>
                    <p:cNvPr id="733" name="Freeform: Shape 732">
                      <a:extLst>
                        <a:ext uri="{FF2B5EF4-FFF2-40B4-BE49-F238E27FC236}">
                          <a16:creationId xmlns:a16="http://schemas.microsoft.com/office/drawing/2014/main" id="{89FBD260-D751-46FA-A2E5-580807485A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69581" y="3263272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3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7"/>
                            <a:pt x="903813" y="5053"/>
                            <a:pt x="582300" y="5053"/>
                          </a:cubicBezTo>
                          <a:cubicBezTo>
                            <a:pt x="260689" y="5053"/>
                            <a:pt x="0" y="3887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166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4" name="Freeform: Shape 733">
                      <a:extLst>
                        <a:ext uri="{FF2B5EF4-FFF2-40B4-BE49-F238E27FC236}">
                          <a16:creationId xmlns:a16="http://schemas.microsoft.com/office/drawing/2014/main" id="{B35D248B-09A7-44A2-8C80-28A926D93F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69581" y="3158918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2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6"/>
                            <a:pt x="903813" y="5052"/>
                            <a:pt x="582300" y="5052"/>
                          </a:cubicBezTo>
                          <a:cubicBezTo>
                            <a:pt x="260689" y="5052"/>
                            <a:pt x="0" y="3886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069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5" name="Freeform: Shape 734">
                      <a:extLst>
                        <a:ext uri="{FF2B5EF4-FFF2-40B4-BE49-F238E27FC236}">
                          <a16:creationId xmlns:a16="http://schemas.microsoft.com/office/drawing/2014/main" id="{0E658EFC-1EED-42B9-8569-2861B9E602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69581" y="3366653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3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7"/>
                            <a:pt x="903813" y="5053"/>
                            <a:pt x="582300" y="5053"/>
                          </a:cubicBezTo>
                          <a:cubicBezTo>
                            <a:pt x="260689" y="5053"/>
                            <a:pt x="0" y="3887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069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6" name="Freeform: Shape 735">
                      <a:extLst>
                        <a:ext uri="{FF2B5EF4-FFF2-40B4-BE49-F238E27FC236}">
                          <a16:creationId xmlns:a16="http://schemas.microsoft.com/office/drawing/2014/main" id="{C15C9C38-4C7D-466B-9639-AAA6D578EE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69581" y="3473630"/>
                      <a:ext cx="762732" cy="5052"/>
                    </a:xfrm>
                    <a:custGeom>
                      <a:avLst/>
                      <a:gdLst>
                        <a:gd name="connsiteX0" fmla="*/ 762732 w 762732"/>
                        <a:gd name="connsiteY0" fmla="*/ 2526 h 5052"/>
                        <a:gd name="connsiteX1" fmla="*/ 381366 w 762732"/>
                        <a:gd name="connsiteY1" fmla="*/ 5052 h 5052"/>
                        <a:gd name="connsiteX2" fmla="*/ 0 w 762732"/>
                        <a:gd name="connsiteY2" fmla="*/ 2526 h 5052"/>
                        <a:gd name="connsiteX3" fmla="*/ 381366 w 762732"/>
                        <a:gd name="connsiteY3" fmla="*/ 0 h 5052"/>
                        <a:gd name="connsiteX4" fmla="*/ 762732 w 76273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62732" h="5052">
                          <a:moveTo>
                            <a:pt x="762732" y="2526"/>
                          </a:moveTo>
                          <a:cubicBezTo>
                            <a:pt x="762732" y="3886"/>
                            <a:pt x="591919" y="5052"/>
                            <a:pt x="381366" y="5052"/>
                          </a:cubicBezTo>
                          <a:cubicBezTo>
                            <a:pt x="170716" y="5052"/>
                            <a:pt x="0" y="3886"/>
                            <a:pt x="0" y="2526"/>
                          </a:cubicBezTo>
                          <a:cubicBezTo>
                            <a:pt x="0" y="1166"/>
                            <a:pt x="170716" y="0"/>
                            <a:pt x="381366" y="0"/>
                          </a:cubicBezTo>
                          <a:cubicBezTo>
                            <a:pt x="592016" y="0"/>
                            <a:pt x="762732" y="1069"/>
                            <a:pt x="762732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737" name="Graphic 13">
                  <a:extLst>
                    <a:ext uri="{FF2B5EF4-FFF2-40B4-BE49-F238E27FC236}">
                      <a16:creationId xmlns:a16="http://schemas.microsoft.com/office/drawing/2014/main" id="{75C53BA8-E74B-42AC-AD01-0B47F7806FCB}"/>
                    </a:ext>
                  </a:extLst>
                </p:cNvPr>
                <p:cNvGrpSpPr/>
                <p:nvPr/>
              </p:nvGrpSpPr>
              <p:grpSpPr>
                <a:xfrm>
                  <a:off x="1379719" y="4118892"/>
                  <a:ext cx="2328325" cy="997478"/>
                  <a:chOff x="1379719" y="4118892"/>
                  <a:chExt cx="2328325" cy="997478"/>
                </a:xfrm>
              </p:grpSpPr>
              <p:sp>
                <p:nvSpPr>
                  <p:cNvPr id="738" name="Freeform: Shape 737">
                    <a:extLst>
                      <a:ext uri="{FF2B5EF4-FFF2-40B4-BE49-F238E27FC236}">
                        <a16:creationId xmlns:a16="http://schemas.microsoft.com/office/drawing/2014/main" id="{BC2EA0BC-D57D-4F9B-B65D-FB95C20CE14A}"/>
                      </a:ext>
                    </a:extLst>
                  </p:cNvPr>
                  <p:cNvSpPr/>
                  <p:nvPr/>
                </p:nvSpPr>
                <p:spPr>
                  <a:xfrm>
                    <a:off x="1379719" y="4118892"/>
                    <a:ext cx="2328325" cy="997478"/>
                  </a:xfrm>
                  <a:custGeom>
                    <a:avLst/>
                    <a:gdLst>
                      <a:gd name="connsiteX0" fmla="*/ 2268375 w 2328325"/>
                      <a:gd name="connsiteY0" fmla="*/ 0 h 997478"/>
                      <a:gd name="connsiteX1" fmla="*/ 59950 w 2328325"/>
                      <a:gd name="connsiteY1" fmla="*/ 0 h 997478"/>
                      <a:gd name="connsiteX2" fmla="*/ 0 w 2328325"/>
                      <a:gd name="connsiteY2" fmla="*/ 59950 h 997478"/>
                      <a:gd name="connsiteX3" fmla="*/ 0 w 2328325"/>
                      <a:gd name="connsiteY3" fmla="*/ 778861 h 997478"/>
                      <a:gd name="connsiteX4" fmla="*/ 59950 w 2328325"/>
                      <a:gd name="connsiteY4" fmla="*/ 838811 h 997478"/>
                      <a:gd name="connsiteX5" fmla="*/ 1663922 w 2328325"/>
                      <a:gd name="connsiteY5" fmla="*/ 838811 h 997478"/>
                      <a:gd name="connsiteX6" fmla="*/ 1809959 w 2328325"/>
                      <a:gd name="connsiteY6" fmla="*/ 997479 h 997478"/>
                      <a:gd name="connsiteX7" fmla="*/ 1838136 w 2328325"/>
                      <a:gd name="connsiteY7" fmla="*/ 838811 h 997478"/>
                      <a:gd name="connsiteX8" fmla="*/ 2268375 w 2328325"/>
                      <a:gd name="connsiteY8" fmla="*/ 838811 h 997478"/>
                      <a:gd name="connsiteX9" fmla="*/ 2328325 w 2328325"/>
                      <a:gd name="connsiteY9" fmla="*/ 778861 h 997478"/>
                      <a:gd name="connsiteX10" fmla="*/ 2328325 w 2328325"/>
                      <a:gd name="connsiteY10" fmla="*/ 59950 h 997478"/>
                      <a:gd name="connsiteX11" fmla="*/ 2268375 w 2328325"/>
                      <a:gd name="connsiteY11" fmla="*/ 0 h 9974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8325" h="997478">
                        <a:moveTo>
                          <a:pt x="2268375" y="0"/>
                        </a:moveTo>
                        <a:lnTo>
                          <a:pt x="59950" y="0"/>
                        </a:lnTo>
                        <a:cubicBezTo>
                          <a:pt x="26817" y="0"/>
                          <a:pt x="0" y="26817"/>
                          <a:pt x="0" y="59950"/>
                        </a:cubicBezTo>
                        <a:lnTo>
                          <a:pt x="0" y="778861"/>
                        </a:lnTo>
                        <a:cubicBezTo>
                          <a:pt x="0" y="811994"/>
                          <a:pt x="26817" y="838811"/>
                          <a:pt x="59950" y="838811"/>
                        </a:cubicBezTo>
                        <a:lnTo>
                          <a:pt x="1663922" y="838811"/>
                        </a:lnTo>
                        <a:lnTo>
                          <a:pt x="1809959" y="997479"/>
                        </a:lnTo>
                        <a:cubicBezTo>
                          <a:pt x="1809959" y="997479"/>
                          <a:pt x="1825311" y="908283"/>
                          <a:pt x="1838136" y="838811"/>
                        </a:cubicBezTo>
                        <a:lnTo>
                          <a:pt x="2268375" y="838811"/>
                        </a:lnTo>
                        <a:cubicBezTo>
                          <a:pt x="2301508" y="838811"/>
                          <a:pt x="2328325" y="811994"/>
                          <a:pt x="2328325" y="778861"/>
                        </a:cubicBezTo>
                        <a:lnTo>
                          <a:pt x="2328325" y="59950"/>
                        </a:lnTo>
                        <a:cubicBezTo>
                          <a:pt x="2328325" y="26817"/>
                          <a:pt x="2301508" y="0"/>
                          <a:pt x="2268375" y="0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739" name="Graphic 13">
                    <a:extLst>
                      <a:ext uri="{FF2B5EF4-FFF2-40B4-BE49-F238E27FC236}">
                        <a16:creationId xmlns:a16="http://schemas.microsoft.com/office/drawing/2014/main" id="{C10ABADB-5AF6-4815-8748-FE1289814167}"/>
                      </a:ext>
                    </a:extLst>
                  </p:cNvPr>
                  <p:cNvGrpSpPr/>
                  <p:nvPr/>
                </p:nvGrpSpPr>
                <p:grpSpPr>
                  <a:xfrm>
                    <a:off x="2397019" y="4382593"/>
                    <a:ext cx="1164502" cy="319764"/>
                    <a:chOff x="2397019" y="4382593"/>
                    <a:chExt cx="1164502" cy="319764"/>
                  </a:xfrm>
                  <a:solidFill>
                    <a:srgbClr val="F5F5F5"/>
                  </a:solidFill>
                </p:grpSpPr>
                <p:sp>
                  <p:nvSpPr>
                    <p:cNvPr id="740" name="Freeform: Shape 739">
                      <a:extLst>
                        <a:ext uri="{FF2B5EF4-FFF2-40B4-BE49-F238E27FC236}">
                          <a16:creationId xmlns:a16="http://schemas.microsoft.com/office/drawing/2014/main" id="{0FD6CC60-1F2E-41A1-A3E1-03B824A1B2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97019" y="4487044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3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6"/>
                            <a:pt x="903813" y="5053"/>
                            <a:pt x="582300" y="5053"/>
                          </a:cubicBezTo>
                          <a:cubicBezTo>
                            <a:pt x="260689" y="5053"/>
                            <a:pt x="0" y="3886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069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1" name="Freeform: Shape 740">
                      <a:extLst>
                        <a:ext uri="{FF2B5EF4-FFF2-40B4-BE49-F238E27FC236}">
                          <a16:creationId xmlns:a16="http://schemas.microsoft.com/office/drawing/2014/main" id="{97441AB0-C221-4B90-9213-D312332E91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97019" y="4382593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3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6"/>
                            <a:pt x="903813" y="5053"/>
                            <a:pt x="582300" y="5053"/>
                          </a:cubicBezTo>
                          <a:cubicBezTo>
                            <a:pt x="260689" y="5053"/>
                            <a:pt x="0" y="3886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069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2" name="Freeform: Shape 741">
                      <a:extLst>
                        <a:ext uri="{FF2B5EF4-FFF2-40B4-BE49-F238E27FC236}">
                          <a16:creationId xmlns:a16="http://schemas.microsoft.com/office/drawing/2014/main" id="{360C9C85-0F2B-4BB5-9B86-C8F961FC73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97019" y="4590329"/>
                      <a:ext cx="1164502" cy="5052"/>
                    </a:xfrm>
                    <a:custGeom>
                      <a:avLst/>
                      <a:gdLst>
                        <a:gd name="connsiteX0" fmla="*/ 1164503 w 1164502"/>
                        <a:gd name="connsiteY0" fmla="*/ 2526 h 5052"/>
                        <a:gd name="connsiteX1" fmla="*/ 582300 w 1164502"/>
                        <a:gd name="connsiteY1" fmla="*/ 5052 h 5052"/>
                        <a:gd name="connsiteX2" fmla="*/ 0 w 1164502"/>
                        <a:gd name="connsiteY2" fmla="*/ 2526 h 5052"/>
                        <a:gd name="connsiteX3" fmla="*/ 582300 w 1164502"/>
                        <a:gd name="connsiteY3" fmla="*/ 0 h 5052"/>
                        <a:gd name="connsiteX4" fmla="*/ 1164503 w 116450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164502" h="5052">
                          <a:moveTo>
                            <a:pt x="1164503" y="2526"/>
                          </a:moveTo>
                          <a:cubicBezTo>
                            <a:pt x="1164503" y="3886"/>
                            <a:pt x="903813" y="5052"/>
                            <a:pt x="582300" y="5052"/>
                          </a:cubicBezTo>
                          <a:cubicBezTo>
                            <a:pt x="260689" y="5052"/>
                            <a:pt x="0" y="3886"/>
                            <a:pt x="0" y="2526"/>
                          </a:cubicBezTo>
                          <a:cubicBezTo>
                            <a:pt x="0" y="1166"/>
                            <a:pt x="260689" y="0"/>
                            <a:pt x="582300" y="0"/>
                          </a:cubicBezTo>
                          <a:cubicBezTo>
                            <a:pt x="903813" y="0"/>
                            <a:pt x="1164503" y="1166"/>
                            <a:pt x="1164503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3" name="Freeform: Shape 742">
                      <a:extLst>
                        <a:ext uri="{FF2B5EF4-FFF2-40B4-BE49-F238E27FC236}">
                          <a16:creationId xmlns:a16="http://schemas.microsoft.com/office/drawing/2014/main" id="{7C51F1C1-2DA7-446F-931C-EC77D0D3FB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97019" y="4697306"/>
                      <a:ext cx="762732" cy="5052"/>
                    </a:xfrm>
                    <a:custGeom>
                      <a:avLst/>
                      <a:gdLst>
                        <a:gd name="connsiteX0" fmla="*/ 762732 w 762732"/>
                        <a:gd name="connsiteY0" fmla="*/ 2526 h 5052"/>
                        <a:gd name="connsiteX1" fmla="*/ 381366 w 762732"/>
                        <a:gd name="connsiteY1" fmla="*/ 5052 h 5052"/>
                        <a:gd name="connsiteX2" fmla="*/ 0 w 762732"/>
                        <a:gd name="connsiteY2" fmla="*/ 2526 h 5052"/>
                        <a:gd name="connsiteX3" fmla="*/ 381366 w 762732"/>
                        <a:gd name="connsiteY3" fmla="*/ 0 h 5052"/>
                        <a:gd name="connsiteX4" fmla="*/ 762732 w 762732"/>
                        <a:gd name="connsiteY4" fmla="*/ 2526 h 50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62732" h="5052">
                          <a:moveTo>
                            <a:pt x="762732" y="2526"/>
                          </a:moveTo>
                          <a:cubicBezTo>
                            <a:pt x="762732" y="3886"/>
                            <a:pt x="591919" y="5052"/>
                            <a:pt x="381366" y="5052"/>
                          </a:cubicBezTo>
                          <a:cubicBezTo>
                            <a:pt x="170716" y="5052"/>
                            <a:pt x="0" y="3886"/>
                            <a:pt x="0" y="2526"/>
                          </a:cubicBezTo>
                          <a:cubicBezTo>
                            <a:pt x="0" y="1166"/>
                            <a:pt x="170716" y="0"/>
                            <a:pt x="381366" y="0"/>
                          </a:cubicBezTo>
                          <a:cubicBezTo>
                            <a:pt x="592016" y="0"/>
                            <a:pt x="762732" y="1166"/>
                            <a:pt x="762732" y="2526"/>
                          </a:cubicBezTo>
                          <a:close/>
                        </a:path>
                      </a:pathLst>
                    </a:custGeom>
                    <a:solidFill>
                      <a:srgbClr val="F5F5F5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744" name="Graphic 13">
                <a:extLst>
                  <a:ext uri="{FF2B5EF4-FFF2-40B4-BE49-F238E27FC236}">
                    <a16:creationId xmlns:a16="http://schemas.microsoft.com/office/drawing/2014/main" id="{FFBDAA51-484B-4499-8833-53013C93558C}"/>
                  </a:ext>
                </a:extLst>
              </p:cNvPr>
              <p:cNvGrpSpPr/>
              <p:nvPr/>
            </p:nvGrpSpPr>
            <p:grpSpPr>
              <a:xfrm>
                <a:off x="3772599" y="2306736"/>
                <a:ext cx="1054280" cy="1425207"/>
                <a:chOff x="3772599" y="2306736"/>
                <a:chExt cx="1054280" cy="1425207"/>
              </a:xfrm>
            </p:grpSpPr>
            <p:grpSp>
              <p:nvGrpSpPr>
                <p:cNvPr id="745" name="Graphic 13">
                  <a:extLst>
                    <a:ext uri="{FF2B5EF4-FFF2-40B4-BE49-F238E27FC236}">
                      <a16:creationId xmlns:a16="http://schemas.microsoft.com/office/drawing/2014/main" id="{61929B95-7495-4A4C-8AF9-CFD6AFC3399C}"/>
                    </a:ext>
                  </a:extLst>
                </p:cNvPr>
                <p:cNvGrpSpPr/>
                <p:nvPr/>
              </p:nvGrpSpPr>
              <p:grpSpPr>
                <a:xfrm>
                  <a:off x="3772599" y="2306736"/>
                  <a:ext cx="1054280" cy="1425207"/>
                  <a:chOff x="3772599" y="2306736"/>
                  <a:chExt cx="1054280" cy="1425207"/>
                </a:xfrm>
              </p:grpSpPr>
              <p:sp>
                <p:nvSpPr>
                  <p:cNvPr id="746" name="Freeform: Shape 745">
                    <a:extLst>
                      <a:ext uri="{FF2B5EF4-FFF2-40B4-BE49-F238E27FC236}">
                        <a16:creationId xmlns:a16="http://schemas.microsoft.com/office/drawing/2014/main" id="{93DB48A7-2ACA-4CF7-B498-3140F8E62783}"/>
                      </a:ext>
                    </a:extLst>
                  </p:cNvPr>
                  <p:cNvSpPr/>
                  <p:nvPr/>
                </p:nvSpPr>
                <p:spPr>
                  <a:xfrm>
                    <a:off x="4038826" y="2306736"/>
                    <a:ext cx="451201" cy="302334"/>
                  </a:xfrm>
                  <a:custGeom>
                    <a:avLst/>
                    <a:gdLst>
                      <a:gd name="connsiteX0" fmla="*/ 48349 w 451201"/>
                      <a:gd name="connsiteY0" fmla="*/ 302335 h 302334"/>
                      <a:gd name="connsiteX1" fmla="*/ 19006 w 451201"/>
                      <a:gd name="connsiteY1" fmla="*/ 245688 h 302334"/>
                      <a:gd name="connsiteX2" fmla="*/ 2780 w 451201"/>
                      <a:gd name="connsiteY2" fmla="*/ 183795 h 302334"/>
                      <a:gd name="connsiteX3" fmla="*/ 28237 w 451201"/>
                      <a:gd name="connsiteY3" fmla="*/ 150371 h 302334"/>
                      <a:gd name="connsiteX4" fmla="*/ 31443 w 451201"/>
                      <a:gd name="connsiteY4" fmla="*/ 119376 h 302334"/>
                      <a:gd name="connsiteX5" fmla="*/ 108397 w 451201"/>
                      <a:gd name="connsiteY5" fmla="*/ 64576 h 302334"/>
                      <a:gd name="connsiteX6" fmla="*/ 185058 w 451201"/>
                      <a:gd name="connsiteY6" fmla="*/ 448 h 302334"/>
                      <a:gd name="connsiteX7" fmla="*/ 273283 w 451201"/>
                      <a:gd name="connsiteY7" fmla="*/ 47475 h 302334"/>
                      <a:gd name="connsiteX8" fmla="*/ 338382 w 451201"/>
                      <a:gd name="connsiteY8" fmla="*/ 48447 h 302334"/>
                      <a:gd name="connsiteX9" fmla="*/ 373458 w 451201"/>
                      <a:gd name="connsiteY9" fmla="*/ 103344 h 302334"/>
                      <a:gd name="connsiteX10" fmla="*/ 438557 w 451201"/>
                      <a:gd name="connsiteY10" fmla="*/ 113158 h 302334"/>
                      <a:gd name="connsiteX11" fmla="*/ 443221 w 451201"/>
                      <a:gd name="connsiteY11" fmla="*/ 181075 h 302334"/>
                      <a:gd name="connsiteX12" fmla="*/ 384826 w 451201"/>
                      <a:gd name="connsiteY12" fmla="*/ 219551 h 302334"/>
                      <a:gd name="connsiteX13" fmla="*/ 314674 w 451201"/>
                      <a:gd name="connsiteY13" fmla="*/ 206823 h 302334"/>
                      <a:gd name="connsiteX14" fmla="*/ 257154 w 451201"/>
                      <a:gd name="connsiteY14" fmla="*/ 163391 h 3023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51201" h="302334">
                        <a:moveTo>
                          <a:pt x="48349" y="302335"/>
                        </a:moveTo>
                        <a:cubicBezTo>
                          <a:pt x="49613" y="284456"/>
                          <a:pt x="33678" y="259874"/>
                          <a:pt x="19006" y="245688"/>
                        </a:cubicBezTo>
                        <a:cubicBezTo>
                          <a:pt x="4237" y="231502"/>
                          <a:pt x="-4896" y="212361"/>
                          <a:pt x="2780" y="183795"/>
                        </a:cubicBezTo>
                        <a:cubicBezTo>
                          <a:pt x="8707" y="161739"/>
                          <a:pt x="22698" y="163391"/>
                          <a:pt x="28237" y="150371"/>
                        </a:cubicBezTo>
                        <a:cubicBezTo>
                          <a:pt x="32317" y="140752"/>
                          <a:pt x="30569" y="129772"/>
                          <a:pt x="31443" y="119376"/>
                        </a:cubicBezTo>
                        <a:cubicBezTo>
                          <a:pt x="34358" y="83620"/>
                          <a:pt x="73612" y="55637"/>
                          <a:pt x="108397" y="64576"/>
                        </a:cubicBezTo>
                        <a:cubicBezTo>
                          <a:pt x="118210" y="30569"/>
                          <a:pt x="149885" y="4043"/>
                          <a:pt x="185058" y="448"/>
                        </a:cubicBezTo>
                        <a:cubicBezTo>
                          <a:pt x="220231" y="-3244"/>
                          <a:pt x="256668" y="16189"/>
                          <a:pt x="273283" y="47475"/>
                        </a:cubicBezTo>
                        <a:cubicBezTo>
                          <a:pt x="293395" y="37079"/>
                          <a:pt x="318658" y="37370"/>
                          <a:pt x="338382" y="48447"/>
                        </a:cubicBezTo>
                        <a:cubicBezTo>
                          <a:pt x="358106" y="59426"/>
                          <a:pt x="371806" y="80705"/>
                          <a:pt x="373458" y="103344"/>
                        </a:cubicBezTo>
                        <a:cubicBezTo>
                          <a:pt x="392988" y="89255"/>
                          <a:pt x="423011" y="94696"/>
                          <a:pt x="438557" y="113158"/>
                        </a:cubicBezTo>
                        <a:cubicBezTo>
                          <a:pt x="454006" y="131716"/>
                          <a:pt x="454978" y="159990"/>
                          <a:pt x="443221" y="181075"/>
                        </a:cubicBezTo>
                        <a:cubicBezTo>
                          <a:pt x="431465" y="202159"/>
                          <a:pt x="408728" y="215859"/>
                          <a:pt x="384826" y="219551"/>
                        </a:cubicBezTo>
                        <a:cubicBezTo>
                          <a:pt x="360924" y="223244"/>
                          <a:pt x="336342" y="217608"/>
                          <a:pt x="314674" y="206823"/>
                        </a:cubicBezTo>
                        <a:cubicBezTo>
                          <a:pt x="293104" y="196038"/>
                          <a:pt x="274254" y="180395"/>
                          <a:pt x="257154" y="163391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47" name="Freeform: Shape 746">
                    <a:extLst>
                      <a:ext uri="{FF2B5EF4-FFF2-40B4-BE49-F238E27FC236}">
                        <a16:creationId xmlns:a16="http://schemas.microsoft.com/office/drawing/2014/main" id="{D0FF416C-73E0-461E-9ACC-5B6838CCD79A}"/>
                      </a:ext>
                    </a:extLst>
                  </p:cNvPr>
                  <p:cNvSpPr/>
                  <p:nvPr/>
                </p:nvSpPr>
                <p:spPr>
                  <a:xfrm>
                    <a:off x="3825417" y="2904059"/>
                    <a:ext cx="841240" cy="821613"/>
                  </a:xfrm>
                  <a:custGeom>
                    <a:avLst/>
                    <a:gdLst>
                      <a:gd name="connsiteX0" fmla="*/ 841240 w 841240"/>
                      <a:gd name="connsiteY0" fmla="*/ 410807 h 821613"/>
                      <a:gd name="connsiteX1" fmla="*/ 420620 w 841240"/>
                      <a:gd name="connsiteY1" fmla="*/ 821613 h 821613"/>
                      <a:gd name="connsiteX2" fmla="*/ 0 w 841240"/>
                      <a:gd name="connsiteY2" fmla="*/ 410807 h 821613"/>
                      <a:gd name="connsiteX3" fmla="*/ 420620 w 841240"/>
                      <a:gd name="connsiteY3" fmla="*/ 0 h 821613"/>
                      <a:gd name="connsiteX4" fmla="*/ 841240 w 841240"/>
                      <a:gd name="connsiteY4" fmla="*/ 410807 h 8216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1240" h="821613">
                        <a:moveTo>
                          <a:pt x="841240" y="410807"/>
                        </a:moveTo>
                        <a:cubicBezTo>
                          <a:pt x="841240" y="637689"/>
                          <a:pt x="652922" y="821613"/>
                          <a:pt x="420620" y="821613"/>
                        </a:cubicBezTo>
                        <a:cubicBezTo>
                          <a:pt x="188318" y="821613"/>
                          <a:pt x="0" y="637689"/>
                          <a:pt x="0" y="410807"/>
                        </a:cubicBezTo>
                        <a:cubicBezTo>
                          <a:pt x="0" y="183924"/>
                          <a:pt x="188318" y="0"/>
                          <a:pt x="420620" y="0"/>
                        </a:cubicBezTo>
                        <a:cubicBezTo>
                          <a:pt x="652922" y="0"/>
                          <a:pt x="841240" y="183924"/>
                          <a:pt x="841240" y="410807"/>
                        </a:cubicBezTo>
                        <a:close/>
                      </a:path>
                    </a:pathLst>
                  </a:custGeom>
                  <a:solidFill>
                    <a:srgbClr val="E0E0E0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748" name="Graphic 13">
                    <a:extLst>
                      <a:ext uri="{FF2B5EF4-FFF2-40B4-BE49-F238E27FC236}">
                        <a16:creationId xmlns:a16="http://schemas.microsoft.com/office/drawing/2014/main" id="{E7E9275C-3F29-4B85-A0D0-102E34F8F609}"/>
                      </a:ext>
                    </a:extLst>
                  </p:cNvPr>
                  <p:cNvGrpSpPr/>
                  <p:nvPr/>
                </p:nvGrpSpPr>
                <p:grpSpPr>
                  <a:xfrm>
                    <a:off x="3772599" y="2406971"/>
                    <a:ext cx="1054280" cy="1324972"/>
                    <a:chOff x="3772599" y="2406971"/>
                    <a:chExt cx="1054280" cy="1324972"/>
                  </a:xfrm>
                </p:grpSpPr>
                <p:grpSp>
                  <p:nvGrpSpPr>
                    <p:cNvPr id="749" name="Graphic 13">
                      <a:extLst>
                        <a:ext uri="{FF2B5EF4-FFF2-40B4-BE49-F238E27FC236}">
                          <a16:creationId xmlns:a16="http://schemas.microsoft.com/office/drawing/2014/main" id="{D9026293-7ECF-477D-B733-C04C85A32A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837077" y="2406971"/>
                      <a:ext cx="876218" cy="1320634"/>
                      <a:chOff x="3837077" y="2406971"/>
                      <a:chExt cx="876218" cy="1320634"/>
                    </a:xfrm>
                  </p:grpSpPr>
                  <p:sp>
                    <p:nvSpPr>
                      <p:cNvPr id="750" name="Freeform: Shape 749">
                        <a:extLst>
                          <a:ext uri="{FF2B5EF4-FFF2-40B4-BE49-F238E27FC236}">
                            <a16:creationId xmlns:a16="http://schemas.microsoft.com/office/drawing/2014/main" id="{507B471A-25BB-44F1-AB80-4FB4FD567E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55036" y="3195743"/>
                        <a:ext cx="213370" cy="334144"/>
                      </a:xfrm>
                      <a:custGeom>
                        <a:avLst/>
                        <a:gdLst>
                          <a:gd name="connsiteX0" fmla="*/ 213371 w 213370"/>
                          <a:gd name="connsiteY0" fmla="*/ 119414 h 334144"/>
                          <a:gd name="connsiteX1" fmla="*/ 166829 w 213370"/>
                          <a:gd name="connsiteY1" fmla="*/ 0 h 334144"/>
                          <a:gd name="connsiteX2" fmla="*/ 0 w 213370"/>
                          <a:gd name="connsiteY2" fmla="*/ 104839 h 334144"/>
                          <a:gd name="connsiteX3" fmla="*/ 148660 w 213370"/>
                          <a:gd name="connsiteY3" fmla="*/ 334145 h 334144"/>
                          <a:gd name="connsiteX4" fmla="*/ 213371 w 213370"/>
                          <a:gd name="connsiteY4" fmla="*/ 119414 h 33414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13370" h="334144">
                            <a:moveTo>
                              <a:pt x="213371" y="119414"/>
                            </a:moveTo>
                            <a:lnTo>
                              <a:pt x="166829" y="0"/>
                            </a:lnTo>
                            <a:lnTo>
                              <a:pt x="0" y="104839"/>
                            </a:lnTo>
                            <a:lnTo>
                              <a:pt x="148660" y="334145"/>
                            </a:lnTo>
                            <a:cubicBezTo>
                              <a:pt x="148660" y="334145"/>
                              <a:pt x="209095" y="255637"/>
                              <a:pt x="213371" y="119414"/>
                            </a:cubicBezTo>
                            <a:close/>
                          </a:path>
                        </a:pathLst>
                      </a:custGeom>
                      <a:solidFill>
                        <a:srgbClr val="EB996E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751" name="Graphic 13">
                        <a:extLst>
                          <a:ext uri="{FF2B5EF4-FFF2-40B4-BE49-F238E27FC236}">
                            <a16:creationId xmlns:a16="http://schemas.microsoft.com/office/drawing/2014/main" id="{05DFF71B-4A4A-42DC-A4A0-937219C75DA6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042500" y="2406971"/>
                        <a:ext cx="408454" cy="649731"/>
                        <a:chOff x="4042500" y="2406971"/>
                        <a:chExt cx="408454" cy="649731"/>
                      </a:xfrm>
                    </p:grpSpPr>
                    <p:grpSp>
                      <p:nvGrpSpPr>
                        <p:cNvPr id="752" name="Graphic 13">
                          <a:extLst>
                            <a:ext uri="{FF2B5EF4-FFF2-40B4-BE49-F238E27FC236}">
                              <a16:creationId xmlns:a16="http://schemas.microsoft.com/office/drawing/2014/main" id="{BE6FB62A-758D-4CB9-8A3B-44781A43F7B7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042500" y="2423794"/>
                          <a:ext cx="392131" cy="632908"/>
                          <a:chOff x="4042500" y="2423794"/>
                          <a:chExt cx="392131" cy="632908"/>
                        </a:xfrm>
                      </p:grpSpPr>
                      <p:grpSp>
                        <p:nvGrpSpPr>
                          <p:cNvPr id="753" name="Graphic 13">
                            <a:extLst>
                              <a:ext uri="{FF2B5EF4-FFF2-40B4-BE49-F238E27FC236}">
                                <a16:creationId xmlns:a16="http://schemas.microsoft.com/office/drawing/2014/main" id="{B0A38767-AC53-4657-B759-4556F396C9A8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4042500" y="2423794"/>
                            <a:ext cx="392131" cy="632908"/>
                            <a:chOff x="4042500" y="2423794"/>
                            <a:chExt cx="392131" cy="632908"/>
                          </a:xfrm>
                        </p:grpSpPr>
                        <p:grpSp>
                          <p:nvGrpSpPr>
                            <p:cNvPr id="754" name="Graphic 13">
                              <a:extLst>
                                <a:ext uri="{FF2B5EF4-FFF2-40B4-BE49-F238E27FC236}">
                                  <a16:creationId xmlns:a16="http://schemas.microsoft.com/office/drawing/2014/main" id="{DA0A5F71-55BE-41E0-8AA8-0D244385A7A7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4095524" y="2423794"/>
                              <a:ext cx="339106" cy="632908"/>
                              <a:chOff x="4095524" y="2423794"/>
                              <a:chExt cx="339106" cy="632908"/>
                            </a:xfrm>
                          </p:grpSpPr>
                          <p:sp>
                            <p:nvSpPr>
                              <p:cNvPr id="755" name="Freeform: Shape 754">
                                <a:extLst>
                                  <a:ext uri="{FF2B5EF4-FFF2-40B4-BE49-F238E27FC236}">
                                    <a16:creationId xmlns:a16="http://schemas.microsoft.com/office/drawing/2014/main" id="{9086077A-4FF8-4E40-A3FE-5D5E409E23B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095524" y="2423794"/>
                                <a:ext cx="339106" cy="632908"/>
                              </a:xfrm>
                              <a:custGeom>
                                <a:avLst/>
                                <a:gdLst>
                                  <a:gd name="connsiteX0" fmla="*/ 112230 w 339106"/>
                                  <a:gd name="connsiteY0" fmla="*/ 632908 h 632908"/>
                                  <a:gd name="connsiteX1" fmla="*/ 112230 w 339106"/>
                                  <a:gd name="connsiteY1" fmla="*/ 632908 h 632908"/>
                                  <a:gd name="connsiteX2" fmla="*/ 224648 w 339106"/>
                                  <a:gd name="connsiteY2" fmla="*/ 527097 h 632908"/>
                                  <a:gd name="connsiteX3" fmla="*/ 229215 w 339106"/>
                                  <a:gd name="connsiteY3" fmla="*/ 430031 h 632908"/>
                                  <a:gd name="connsiteX4" fmla="*/ 329488 w 339106"/>
                                  <a:gd name="connsiteY4" fmla="*/ 333645 h 632908"/>
                                  <a:gd name="connsiteX5" fmla="*/ 339107 w 339106"/>
                                  <a:gd name="connsiteY5" fmla="*/ 36422 h 632908"/>
                                  <a:gd name="connsiteX6" fmla="*/ 339107 w 339106"/>
                                  <a:gd name="connsiteY6" fmla="*/ 36422 h 632908"/>
                                  <a:gd name="connsiteX7" fmla="*/ 19342 w 339106"/>
                                  <a:gd name="connsiteY7" fmla="*/ 50317 h 632908"/>
                                  <a:gd name="connsiteX8" fmla="*/ 10598 w 339106"/>
                                  <a:gd name="connsiteY8" fmla="*/ 55952 h 632908"/>
                                  <a:gd name="connsiteX9" fmla="*/ 7 w 339106"/>
                                  <a:gd name="connsiteY9" fmla="*/ 520296 h 632908"/>
                                  <a:gd name="connsiteX10" fmla="*/ 112230 w 339106"/>
                                  <a:gd name="connsiteY10" fmla="*/ 632908 h 632908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</a:cxnLst>
                                <a:rect l="l" t="t" r="r" b="b"/>
                                <a:pathLst>
                                  <a:path w="339106" h="632908">
                                    <a:moveTo>
                                      <a:pt x="112230" y="632908"/>
                                    </a:moveTo>
                                    <a:lnTo>
                                      <a:pt x="112230" y="632908"/>
                                    </a:lnTo>
                                    <a:cubicBezTo>
                                      <a:pt x="172180" y="633005"/>
                                      <a:pt x="221636" y="586464"/>
                                      <a:pt x="224648" y="527097"/>
                                    </a:cubicBezTo>
                                    <a:cubicBezTo>
                                      <a:pt x="227077" y="477641"/>
                                      <a:pt x="229215" y="430031"/>
                                      <a:pt x="229215" y="430031"/>
                                    </a:cubicBezTo>
                                    <a:cubicBezTo>
                                      <a:pt x="229215" y="430031"/>
                                      <a:pt x="321035" y="423424"/>
                                      <a:pt x="329488" y="333645"/>
                                    </a:cubicBezTo>
                                    <a:cubicBezTo>
                                      <a:pt x="337941" y="243866"/>
                                      <a:pt x="339107" y="36422"/>
                                      <a:pt x="339107" y="36422"/>
                                    </a:cubicBezTo>
                                    <a:lnTo>
                                      <a:pt x="339107" y="36422"/>
                                    </a:lnTo>
                                    <a:cubicBezTo>
                                      <a:pt x="237863" y="-16726"/>
                                      <a:pt x="115534" y="-11382"/>
                                      <a:pt x="19342" y="50317"/>
                                    </a:cubicBezTo>
                                    <a:lnTo>
                                      <a:pt x="10598" y="55952"/>
                                    </a:lnTo>
                                    <a:lnTo>
                                      <a:pt x="7" y="520296"/>
                                    </a:lnTo>
                                    <a:cubicBezTo>
                                      <a:pt x="-673" y="582189"/>
                                      <a:pt x="49754" y="632811"/>
                                      <a:pt x="112230" y="632908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FFBE9D"/>
                              </a:solidFill>
                              <a:ln w="9716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756" name="Graphic 13">
                                <a:extLst>
                                  <a:ext uri="{FF2B5EF4-FFF2-40B4-BE49-F238E27FC236}">
                                    <a16:creationId xmlns:a16="http://schemas.microsoft.com/office/drawing/2014/main" id="{7FC8CF72-54DB-4A41-8027-00640B5E91B5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239670" y="2588776"/>
                                <a:ext cx="46131" cy="34985"/>
                                <a:chOff x="4239670" y="2588776"/>
                                <a:chExt cx="46131" cy="34985"/>
                              </a:xfrm>
                              <a:solidFill>
                                <a:srgbClr val="263238"/>
                              </a:solidFill>
                            </p:grpSpPr>
                            <p:sp>
                              <p:nvSpPr>
                                <p:cNvPr id="757" name="Freeform: Shape 756">
                                  <a:extLst>
                                    <a:ext uri="{FF2B5EF4-FFF2-40B4-BE49-F238E27FC236}">
                                      <a16:creationId xmlns:a16="http://schemas.microsoft.com/office/drawing/2014/main" id="{7BA2AABF-B822-4D66-B369-F1B7D91C1C2C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243017" y="2597587"/>
                                  <a:ext cx="26445" cy="26174"/>
                                </a:xfrm>
                                <a:custGeom>
                                  <a:avLst/>
                                  <a:gdLst>
                                    <a:gd name="connsiteX0" fmla="*/ 17401 w 26445"/>
                                    <a:gd name="connsiteY0" fmla="*/ 699 h 26174"/>
                                    <a:gd name="connsiteX1" fmla="*/ 25757 w 26445"/>
                                    <a:gd name="connsiteY1" fmla="*/ 17217 h 26174"/>
                                    <a:gd name="connsiteX2" fmla="*/ 9045 w 26445"/>
                                    <a:gd name="connsiteY2" fmla="*/ 25476 h 26174"/>
                                    <a:gd name="connsiteX3" fmla="*/ 689 w 26445"/>
                                    <a:gd name="connsiteY3" fmla="*/ 8958 h 26174"/>
                                    <a:gd name="connsiteX4" fmla="*/ 17401 w 26445"/>
                                    <a:gd name="connsiteY4" fmla="*/ 699 h 26174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</a:cxnLst>
                                  <a:rect l="l" t="t" r="r" b="b"/>
                                  <a:pathLst>
                                    <a:path w="26445" h="26174">
                                      <a:moveTo>
                                        <a:pt x="17401" y="699"/>
                                      </a:moveTo>
                                      <a:cubicBezTo>
                                        <a:pt x="24299" y="2934"/>
                                        <a:pt x="28089" y="10415"/>
                                        <a:pt x="25757" y="17217"/>
                                      </a:cubicBezTo>
                                      <a:cubicBezTo>
                                        <a:pt x="23425" y="24115"/>
                                        <a:pt x="15943" y="27808"/>
                                        <a:pt x="9045" y="25476"/>
                                      </a:cubicBezTo>
                                      <a:cubicBezTo>
                                        <a:pt x="2146" y="23241"/>
                                        <a:pt x="-1643" y="15759"/>
                                        <a:pt x="689" y="8958"/>
                                      </a:cubicBezTo>
                                      <a:cubicBezTo>
                                        <a:pt x="3020" y="2059"/>
                                        <a:pt x="10502" y="-1633"/>
                                        <a:pt x="17401" y="699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263238"/>
                                </a:solidFill>
                                <a:ln w="9716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US"/>
                                </a:p>
                              </p:txBody>
                            </p:sp>
                            <p:sp>
                              <p:nvSpPr>
                                <p:cNvPr id="758" name="Freeform: Shape 757">
                                  <a:extLst>
                                    <a:ext uri="{FF2B5EF4-FFF2-40B4-BE49-F238E27FC236}">
                                      <a16:creationId xmlns:a16="http://schemas.microsoft.com/office/drawing/2014/main" id="{0B9BCC92-0268-4B57-9ACA-2908780D3278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239670" y="2588776"/>
                                  <a:ext cx="46131" cy="14365"/>
                                </a:xfrm>
                                <a:custGeom>
                                  <a:avLst/>
                                  <a:gdLst>
                                    <a:gd name="connsiteX0" fmla="*/ 45912 w 46131"/>
                                    <a:gd name="connsiteY0" fmla="*/ 14173 h 14365"/>
                                    <a:gd name="connsiteX1" fmla="*/ 23370 w 46131"/>
                                    <a:gd name="connsiteY1" fmla="*/ 7566 h 14365"/>
                                    <a:gd name="connsiteX2" fmla="*/ 149 w 46131"/>
                                    <a:gd name="connsiteY2" fmla="*/ 10967 h 14365"/>
                                    <a:gd name="connsiteX3" fmla="*/ 5201 w 46131"/>
                                    <a:gd name="connsiteY3" fmla="*/ 4748 h 14365"/>
                                    <a:gd name="connsiteX4" fmla="*/ 23856 w 46131"/>
                                    <a:gd name="connsiteY4" fmla="*/ 85 h 14365"/>
                                    <a:gd name="connsiteX5" fmla="*/ 41637 w 46131"/>
                                    <a:gd name="connsiteY5" fmla="*/ 7372 h 14365"/>
                                    <a:gd name="connsiteX6" fmla="*/ 45912 w 46131"/>
                                    <a:gd name="connsiteY6" fmla="*/ 14173 h 14365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</a:cxnLst>
                                  <a:rect l="l" t="t" r="r" b="b"/>
                                  <a:pathLst>
                                    <a:path w="46131" h="14365">
                                      <a:moveTo>
                                        <a:pt x="45912" y="14173"/>
                                      </a:moveTo>
                                      <a:cubicBezTo>
                                        <a:pt x="44358" y="15631"/>
                                        <a:pt x="35905" y="8343"/>
                                        <a:pt x="23370" y="7566"/>
                                      </a:cubicBezTo>
                                      <a:cubicBezTo>
                                        <a:pt x="10836" y="6594"/>
                                        <a:pt x="1412" y="12619"/>
                                        <a:pt x="149" y="10967"/>
                                      </a:cubicBezTo>
                                      <a:cubicBezTo>
                                        <a:pt x="-532" y="10190"/>
                                        <a:pt x="1120" y="7469"/>
                                        <a:pt x="5201" y="4748"/>
                                      </a:cubicBezTo>
                                      <a:cubicBezTo>
                                        <a:pt x="9282" y="2028"/>
                                        <a:pt x="16083" y="-498"/>
                                        <a:pt x="23856" y="85"/>
                                      </a:cubicBezTo>
                                      <a:cubicBezTo>
                                        <a:pt x="31629" y="668"/>
                                        <a:pt x="38042" y="4068"/>
                                        <a:pt x="41637" y="7372"/>
                                      </a:cubicBezTo>
                                      <a:cubicBezTo>
                                        <a:pt x="45427" y="10578"/>
                                        <a:pt x="46690" y="13493"/>
                                        <a:pt x="45912" y="14173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263238"/>
                                </a:solidFill>
                                <a:ln w="9716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US"/>
                                </a:p>
                              </p:txBody>
                            </p:sp>
                          </p:grpSp>
                          <p:grpSp>
                            <p:nvGrpSpPr>
                              <p:cNvPr id="759" name="Graphic 13">
                                <a:extLst>
                                  <a:ext uri="{FF2B5EF4-FFF2-40B4-BE49-F238E27FC236}">
                                    <a16:creationId xmlns:a16="http://schemas.microsoft.com/office/drawing/2014/main" id="{66369176-1DE3-49C2-AFDF-92599C6A8B3F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378322" y="2588993"/>
                                <a:ext cx="46139" cy="34768"/>
                                <a:chOff x="4378322" y="2588993"/>
                                <a:chExt cx="46139" cy="34768"/>
                              </a:xfrm>
                              <a:solidFill>
                                <a:srgbClr val="263238"/>
                              </a:solidFill>
                            </p:grpSpPr>
                            <p:sp>
                              <p:nvSpPr>
                                <p:cNvPr id="760" name="Freeform: Shape 759">
                                  <a:extLst>
                                    <a:ext uri="{FF2B5EF4-FFF2-40B4-BE49-F238E27FC236}">
                                      <a16:creationId xmlns:a16="http://schemas.microsoft.com/office/drawing/2014/main" id="{E675242A-1B36-434A-B44F-AEF6E0403A57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380017" y="2597587"/>
                                  <a:ext cx="26445" cy="26174"/>
                                </a:xfrm>
                                <a:custGeom>
                                  <a:avLst/>
                                  <a:gdLst>
                                    <a:gd name="connsiteX0" fmla="*/ 17401 w 26445"/>
                                    <a:gd name="connsiteY0" fmla="*/ 699 h 26174"/>
                                    <a:gd name="connsiteX1" fmla="*/ 25757 w 26445"/>
                                    <a:gd name="connsiteY1" fmla="*/ 17217 h 26174"/>
                                    <a:gd name="connsiteX2" fmla="*/ 9045 w 26445"/>
                                    <a:gd name="connsiteY2" fmla="*/ 25476 h 26174"/>
                                    <a:gd name="connsiteX3" fmla="*/ 689 w 26445"/>
                                    <a:gd name="connsiteY3" fmla="*/ 8958 h 26174"/>
                                    <a:gd name="connsiteX4" fmla="*/ 17401 w 26445"/>
                                    <a:gd name="connsiteY4" fmla="*/ 699 h 26174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</a:cxnLst>
                                  <a:rect l="l" t="t" r="r" b="b"/>
                                  <a:pathLst>
                                    <a:path w="26445" h="26174">
                                      <a:moveTo>
                                        <a:pt x="17401" y="699"/>
                                      </a:moveTo>
                                      <a:cubicBezTo>
                                        <a:pt x="24299" y="2934"/>
                                        <a:pt x="28089" y="10415"/>
                                        <a:pt x="25757" y="17217"/>
                                      </a:cubicBezTo>
                                      <a:cubicBezTo>
                                        <a:pt x="23425" y="24115"/>
                                        <a:pt x="15943" y="27808"/>
                                        <a:pt x="9045" y="25476"/>
                                      </a:cubicBezTo>
                                      <a:cubicBezTo>
                                        <a:pt x="2146" y="23241"/>
                                        <a:pt x="-1643" y="15759"/>
                                        <a:pt x="689" y="8958"/>
                                      </a:cubicBezTo>
                                      <a:cubicBezTo>
                                        <a:pt x="3021" y="2059"/>
                                        <a:pt x="10502" y="-1633"/>
                                        <a:pt x="17401" y="699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263238"/>
                                </a:solidFill>
                                <a:ln w="9716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US"/>
                                </a:p>
                              </p:txBody>
                            </p:sp>
                            <p:sp>
                              <p:nvSpPr>
                                <p:cNvPr id="761" name="Freeform: Shape 760">
                                  <a:extLst>
                                    <a:ext uri="{FF2B5EF4-FFF2-40B4-BE49-F238E27FC236}">
                                      <a16:creationId xmlns:a16="http://schemas.microsoft.com/office/drawing/2014/main" id="{CF3F8820-4D0D-4EB8-8948-5CCE50816C2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378322" y="2588993"/>
                                  <a:ext cx="46139" cy="14343"/>
                                </a:xfrm>
                                <a:custGeom>
                                  <a:avLst/>
                                  <a:gdLst>
                                    <a:gd name="connsiteX0" fmla="*/ 45912 w 46139"/>
                                    <a:gd name="connsiteY0" fmla="*/ 14151 h 14343"/>
                                    <a:gd name="connsiteX1" fmla="*/ 23371 w 46139"/>
                                    <a:gd name="connsiteY1" fmla="*/ 7544 h 14343"/>
                                    <a:gd name="connsiteX2" fmla="*/ 149 w 46139"/>
                                    <a:gd name="connsiteY2" fmla="*/ 10945 h 14343"/>
                                    <a:gd name="connsiteX3" fmla="*/ 5201 w 46139"/>
                                    <a:gd name="connsiteY3" fmla="*/ 4726 h 14343"/>
                                    <a:gd name="connsiteX4" fmla="*/ 23856 w 46139"/>
                                    <a:gd name="connsiteY4" fmla="*/ 62 h 14343"/>
                                    <a:gd name="connsiteX5" fmla="*/ 41637 w 46139"/>
                                    <a:gd name="connsiteY5" fmla="*/ 7350 h 14343"/>
                                    <a:gd name="connsiteX6" fmla="*/ 45912 w 46139"/>
                                    <a:gd name="connsiteY6" fmla="*/ 14151 h 14343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</a:cxnLst>
                                  <a:rect l="l" t="t" r="r" b="b"/>
                                  <a:pathLst>
                                    <a:path w="46139" h="14343">
                                      <a:moveTo>
                                        <a:pt x="45912" y="14151"/>
                                      </a:moveTo>
                                      <a:cubicBezTo>
                                        <a:pt x="44358" y="15608"/>
                                        <a:pt x="35905" y="8321"/>
                                        <a:pt x="23371" y="7544"/>
                                      </a:cubicBezTo>
                                      <a:cubicBezTo>
                                        <a:pt x="10837" y="6572"/>
                                        <a:pt x="1412" y="12596"/>
                                        <a:pt x="149" y="10945"/>
                                      </a:cubicBezTo>
                                      <a:cubicBezTo>
                                        <a:pt x="-532" y="10167"/>
                                        <a:pt x="1120" y="7447"/>
                                        <a:pt x="5201" y="4726"/>
                                      </a:cubicBezTo>
                                      <a:cubicBezTo>
                                        <a:pt x="9282" y="2006"/>
                                        <a:pt x="16083" y="-424"/>
                                        <a:pt x="23856" y="62"/>
                                      </a:cubicBezTo>
                                      <a:cubicBezTo>
                                        <a:pt x="31629" y="645"/>
                                        <a:pt x="38042" y="4046"/>
                                        <a:pt x="41637" y="7350"/>
                                      </a:cubicBezTo>
                                      <a:cubicBezTo>
                                        <a:pt x="45524" y="10653"/>
                                        <a:pt x="46690" y="13568"/>
                                        <a:pt x="45912" y="14151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263238"/>
                                </a:solidFill>
                                <a:ln w="9716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US"/>
                                </a:p>
                              </p:txBody>
                            </p:sp>
                          </p:grpSp>
                          <p:sp>
                            <p:nvSpPr>
                              <p:cNvPr id="762" name="Freeform: Shape 761">
                                <a:extLst>
                                  <a:ext uri="{FF2B5EF4-FFF2-40B4-BE49-F238E27FC236}">
                                    <a16:creationId xmlns:a16="http://schemas.microsoft.com/office/drawing/2014/main" id="{740E3F12-3FF1-4430-919C-F603F503EF4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329986" y="2592059"/>
                                <a:ext cx="33323" cy="110618"/>
                              </a:xfrm>
                              <a:custGeom>
                                <a:avLst/>
                                <a:gdLst>
                                  <a:gd name="connsiteX0" fmla="*/ 0 w 33323"/>
                                  <a:gd name="connsiteY0" fmla="*/ 108151 h 110618"/>
                                  <a:gd name="connsiteX1" fmla="*/ 20501 w 33323"/>
                                  <a:gd name="connsiteY1" fmla="*/ 105528 h 110618"/>
                                  <a:gd name="connsiteX2" fmla="*/ 26817 w 33323"/>
                                  <a:gd name="connsiteY2" fmla="*/ 103196 h 110618"/>
                                  <a:gd name="connsiteX3" fmla="*/ 25263 w 33323"/>
                                  <a:gd name="connsiteY3" fmla="*/ 93771 h 110618"/>
                                  <a:gd name="connsiteX4" fmla="*/ 17489 w 33323"/>
                                  <a:gd name="connsiteY4" fmla="*/ 67829 h 110618"/>
                                  <a:gd name="connsiteX5" fmla="*/ 1555 w 33323"/>
                                  <a:gd name="connsiteY5" fmla="*/ 8 h 110618"/>
                                  <a:gd name="connsiteX6" fmla="*/ 24388 w 33323"/>
                                  <a:gd name="connsiteY6" fmla="*/ 65885 h 110618"/>
                                  <a:gd name="connsiteX7" fmla="*/ 31675 w 33323"/>
                                  <a:gd name="connsiteY7" fmla="*/ 91925 h 110618"/>
                                  <a:gd name="connsiteX8" fmla="*/ 32355 w 33323"/>
                                  <a:gd name="connsiteY8" fmla="*/ 105528 h 110618"/>
                                  <a:gd name="connsiteX9" fmla="*/ 26331 w 33323"/>
                                  <a:gd name="connsiteY9" fmla="*/ 110289 h 110618"/>
                                  <a:gd name="connsiteX10" fmla="*/ 20696 w 33323"/>
                                  <a:gd name="connsiteY10" fmla="*/ 110580 h 110618"/>
                                  <a:gd name="connsiteX11" fmla="*/ 0 w 33323"/>
                                  <a:gd name="connsiteY11" fmla="*/ 108151 h 110618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</a:cxnLst>
                                <a:rect l="l" t="t" r="r" b="b"/>
                                <a:pathLst>
                                  <a:path w="33323" h="110618">
                                    <a:moveTo>
                                      <a:pt x="0" y="108151"/>
                                    </a:moveTo>
                                    <a:cubicBezTo>
                                      <a:pt x="0" y="107180"/>
                                      <a:pt x="7870" y="106208"/>
                                      <a:pt x="20501" y="105528"/>
                                    </a:cubicBezTo>
                                    <a:cubicBezTo>
                                      <a:pt x="23805" y="105431"/>
                                      <a:pt x="26428" y="104945"/>
                                      <a:pt x="26817" y="103196"/>
                                    </a:cubicBezTo>
                                    <a:cubicBezTo>
                                      <a:pt x="27594" y="101253"/>
                                      <a:pt x="26623" y="97755"/>
                                      <a:pt x="25263" y="93771"/>
                                    </a:cubicBezTo>
                                    <a:cubicBezTo>
                                      <a:pt x="22736" y="85318"/>
                                      <a:pt x="20113" y="76768"/>
                                      <a:pt x="17489" y="67829"/>
                                    </a:cubicBezTo>
                                    <a:cubicBezTo>
                                      <a:pt x="6801" y="30906"/>
                                      <a:pt x="-389" y="591"/>
                                      <a:pt x="1555" y="8"/>
                                    </a:cubicBezTo>
                                    <a:cubicBezTo>
                                      <a:pt x="3401" y="-574"/>
                                      <a:pt x="13700" y="28963"/>
                                      <a:pt x="24388" y="65885"/>
                                    </a:cubicBezTo>
                                    <a:cubicBezTo>
                                      <a:pt x="26914" y="74921"/>
                                      <a:pt x="29343" y="83472"/>
                                      <a:pt x="31675" y="91925"/>
                                    </a:cubicBezTo>
                                    <a:cubicBezTo>
                                      <a:pt x="32550" y="95811"/>
                                      <a:pt x="34493" y="100281"/>
                                      <a:pt x="32355" y="105528"/>
                                    </a:cubicBezTo>
                                    <a:cubicBezTo>
                                      <a:pt x="31189" y="108151"/>
                                      <a:pt x="28469" y="109900"/>
                                      <a:pt x="26331" y="110289"/>
                                    </a:cubicBezTo>
                                    <a:cubicBezTo>
                                      <a:pt x="24096" y="110775"/>
                                      <a:pt x="22250" y="110580"/>
                                      <a:pt x="20696" y="110580"/>
                                    </a:cubicBezTo>
                                    <a:cubicBezTo>
                                      <a:pt x="7870" y="109997"/>
                                      <a:pt x="0" y="109123"/>
                                      <a:pt x="0" y="108151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263238"/>
                              </a:solidFill>
                              <a:ln w="9716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  <p:sp>
                            <p:nvSpPr>
                              <p:cNvPr id="763" name="Freeform: Shape 762">
                                <a:extLst>
                                  <a:ext uri="{FF2B5EF4-FFF2-40B4-BE49-F238E27FC236}">
                                    <a16:creationId xmlns:a16="http://schemas.microsoft.com/office/drawing/2014/main" id="{2BDA4CC6-68F8-472D-BE11-0D331E2691E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209504" y="2809713"/>
                                <a:ext cx="115429" cy="66079"/>
                              </a:xfrm>
                              <a:custGeom>
                                <a:avLst/>
                                <a:gdLst>
                                  <a:gd name="connsiteX0" fmla="*/ 115430 w 115429"/>
                                  <a:gd name="connsiteY0" fmla="*/ 42849 h 66079"/>
                                  <a:gd name="connsiteX1" fmla="*/ 0 w 115429"/>
                                  <a:gd name="connsiteY1" fmla="*/ 0 h 66079"/>
                                  <a:gd name="connsiteX2" fmla="*/ 113778 w 115429"/>
                                  <a:gd name="connsiteY2" fmla="*/ 66071 h 66079"/>
                                  <a:gd name="connsiteX3" fmla="*/ 115430 w 115429"/>
                                  <a:gd name="connsiteY3" fmla="*/ 42849 h 66079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</a:cxnLst>
                                <a:rect l="l" t="t" r="r" b="b"/>
                                <a:pathLst>
                                  <a:path w="115429" h="66079">
                                    <a:moveTo>
                                      <a:pt x="115430" y="42849"/>
                                    </a:moveTo>
                                    <a:cubicBezTo>
                                      <a:pt x="115430" y="42849"/>
                                      <a:pt x="57812" y="42849"/>
                                      <a:pt x="0" y="0"/>
                                    </a:cubicBezTo>
                                    <a:cubicBezTo>
                                      <a:pt x="0" y="0"/>
                                      <a:pt x="22639" y="66946"/>
                                      <a:pt x="113778" y="66071"/>
                                    </a:cubicBezTo>
                                    <a:lnTo>
                                      <a:pt x="115430" y="42849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B996E"/>
                              </a:solidFill>
                              <a:ln w="9716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</p:grpSp>
                        <p:grpSp>
                          <p:nvGrpSpPr>
                            <p:cNvPr id="764" name="Graphic 13">
                              <a:extLst>
                                <a:ext uri="{FF2B5EF4-FFF2-40B4-BE49-F238E27FC236}">
                                  <a16:creationId xmlns:a16="http://schemas.microsoft.com/office/drawing/2014/main" id="{B94DB09E-E5C8-4E6A-A2A3-6EA16B5EDBF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4042500" y="2597545"/>
                              <a:ext cx="61388" cy="103434"/>
                              <a:chOff x="4042500" y="2597545"/>
                              <a:chExt cx="61388" cy="103434"/>
                            </a:xfrm>
                          </p:grpSpPr>
                          <p:sp>
                            <p:nvSpPr>
                              <p:cNvPr id="765" name="Freeform: Shape 764">
                                <a:extLst>
                                  <a:ext uri="{FF2B5EF4-FFF2-40B4-BE49-F238E27FC236}">
                                    <a16:creationId xmlns:a16="http://schemas.microsoft.com/office/drawing/2014/main" id="{2BA6EA88-9C6E-457C-A441-73F29A56045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042500" y="2597545"/>
                                <a:ext cx="61388" cy="103434"/>
                              </a:xfrm>
                              <a:custGeom>
                                <a:avLst/>
                                <a:gdLst>
                                  <a:gd name="connsiteX0" fmla="*/ 61387 w 61388"/>
                                  <a:gd name="connsiteY0" fmla="*/ 13955 h 103434"/>
                                  <a:gd name="connsiteX1" fmla="*/ 48562 w 61388"/>
                                  <a:gd name="connsiteY1" fmla="*/ 61 h 103434"/>
                                  <a:gd name="connsiteX2" fmla="*/ 272 w 61388"/>
                                  <a:gd name="connsiteY2" fmla="*/ 51654 h 103434"/>
                                  <a:gd name="connsiteX3" fmla="*/ 60027 w 61388"/>
                                  <a:gd name="connsiteY3" fmla="*/ 100625 h 103434"/>
                                  <a:gd name="connsiteX4" fmla="*/ 61387 w 61388"/>
                                  <a:gd name="connsiteY4" fmla="*/ 13955 h 103434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</a:cxnLst>
                                <a:rect l="l" t="t" r="r" b="b"/>
                                <a:pathLst>
                                  <a:path w="61388" h="103434">
                                    <a:moveTo>
                                      <a:pt x="61387" y="13955"/>
                                    </a:moveTo>
                                    <a:cubicBezTo>
                                      <a:pt x="61484" y="6668"/>
                                      <a:pt x="55849" y="449"/>
                                      <a:pt x="48562" y="61"/>
                                    </a:cubicBezTo>
                                    <a:cubicBezTo>
                                      <a:pt x="31655" y="-717"/>
                                      <a:pt x="3769" y="5405"/>
                                      <a:pt x="272" y="51654"/>
                                    </a:cubicBezTo>
                                    <a:cubicBezTo>
                                      <a:pt x="-4684" y="117726"/>
                                      <a:pt x="59832" y="102471"/>
                                      <a:pt x="60027" y="100625"/>
                                    </a:cubicBezTo>
                                    <a:cubicBezTo>
                                      <a:pt x="60318" y="99167"/>
                                      <a:pt x="61096" y="39703"/>
                                      <a:pt x="61387" y="13955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FFBE9D"/>
                              </a:solidFill>
                              <a:ln w="9716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  <p:sp>
                            <p:nvSpPr>
                              <p:cNvPr id="766" name="Freeform: Shape 765">
                                <a:extLst>
                                  <a:ext uri="{FF2B5EF4-FFF2-40B4-BE49-F238E27FC236}">
                                    <a16:creationId xmlns:a16="http://schemas.microsoft.com/office/drawing/2014/main" id="{D1CE7DC0-EA02-4806-A21E-987FB4B697C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060416" y="2618585"/>
                                <a:ext cx="28061" cy="58001"/>
                              </a:xfrm>
                              <a:custGeom>
                                <a:avLst/>
                                <a:gdLst>
                                  <a:gd name="connsiteX0" fmla="*/ 28023 w 28061"/>
                                  <a:gd name="connsiteY0" fmla="*/ 53254 h 58001"/>
                                  <a:gd name="connsiteX1" fmla="*/ 24816 w 28061"/>
                                  <a:gd name="connsiteY1" fmla="*/ 54711 h 58001"/>
                                  <a:gd name="connsiteX2" fmla="*/ 16169 w 28061"/>
                                  <a:gd name="connsiteY2" fmla="*/ 54225 h 58001"/>
                                  <a:gd name="connsiteX3" fmla="*/ 4801 w 28061"/>
                                  <a:gd name="connsiteY3" fmla="*/ 27700 h 58001"/>
                                  <a:gd name="connsiteX4" fmla="*/ 9270 w 28061"/>
                                  <a:gd name="connsiteY4" fmla="*/ 11473 h 58001"/>
                                  <a:gd name="connsiteX5" fmla="*/ 18695 w 28061"/>
                                  <a:gd name="connsiteY5" fmla="*/ 3312 h 58001"/>
                                  <a:gd name="connsiteX6" fmla="*/ 25302 w 28061"/>
                                  <a:gd name="connsiteY6" fmla="*/ 7004 h 58001"/>
                                  <a:gd name="connsiteX7" fmla="*/ 25885 w 28061"/>
                                  <a:gd name="connsiteY7" fmla="*/ 10307 h 58001"/>
                                  <a:gd name="connsiteX8" fmla="*/ 27051 w 28061"/>
                                  <a:gd name="connsiteY8" fmla="*/ 6518 h 58001"/>
                                  <a:gd name="connsiteX9" fmla="*/ 24719 w 28061"/>
                                  <a:gd name="connsiteY9" fmla="*/ 2146 h 58001"/>
                                  <a:gd name="connsiteX10" fmla="*/ 18403 w 28061"/>
                                  <a:gd name="connsiteY10" fmla="*/ 8 h 58001"/>
                                  <a:gd name="connsiteX11" fmla="*/ 5481 w 28061"/>
                                  <a:gd name="connsiteY11" fmla="*/ 9336 h 58001"/>
                                  <a:gd name="connsiteX12" fmla="*/ 39 w 28061"/>
                                  <a:gd name="connsiteY12" fmla="*/ 27408 h 58001"/>
                                  <a:gd name="connsiteX13" fmla="*/ 14808 w 28061"/>
                                  <a:gd name="connsiteY13" fmla="*/ 57237 h 58001"/>
                                  <a:gd name="connsiteX14" fmla="*/ 25593 w 28061"/>
                                  <a:gd name="connsiteY14" fmla="*/ 56266 h 58001"/>
                                  <a:gd name="connsiteX15" fmla="*/ 28023 w 28061"/>
                                  <a:gd name="connsiteY15" fmla="*/ 53254 h 58001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</a:cxnLst>
                                <a:rect l="l" t="t" r="r" b="b"/>
                                <a:pathLst>
                                  <a:path w="28061" h="58001">
                                    <a:moveTo>
                                      <a:pt x="28023" y="53254"/>
                                    </a:moveTo>
                                    <a:cubicBezTo>
                                      <a:pt x="27731" y="53059"/>
                                      <a:pt x="26759" y="53934"/>
                                      <a:pt x="24816" y="54711"/>
                                    </a:cubicBezTo>
                                    <a:cubicBezTo>
                                      <a:pt x="22873" y="55391"/>
                                      <a:pt x="19472" y="55780"/>
                                      <a:pt x="16169" y="54225"/>
                                    </a:cubicBezTo>
                                    <a:cubicBezTo>
                                      <a:pt x="9367" y="51116"/>
                                      <a:pt x="4218" y="39651"/>
                                      <a:pt x="4801" y="27700"/>
                                    </a:cubicBezTo>
                                    <a:cubicBezTo>
                                      <a:pt x="5092" y="21676"/>
                                      <a:pt x="6744" y="16040"/>
                                      <a:pt x="9270" y="11473"/>
                                    </a:cubicBezTo>
                                    <a:cubicBezTo>
                                      <a:pt x="11699" y="6810"/>
                                      <a:pt x="15100" y="3603"/>
                                      <a:pt x="18695" y="3312"/>
                                    </a:cubicBezTo>
                                    <a:cubicBezTo>
                                      <a:pt x="22290" y="2729"/>
                                      <a:pt x="24622" y="5061"/>
                                      <a:pt x="25302" y="7004"/>
                                    </a:cubicBezTo>
                                    <a:cubicBezTo>
                                      <a:pt x="26079" y="8947"/>
                                      <a:pt x="25496" y="10210"/>
                                      <a:pt x="25885" y="10307"/>
                                    </a:cubicBezTo>
                                    <a:cubicBezTo>
                                      <a:pt x="26079" y="10502"/>
                                      <a:pt x="27440" y="9336"/>
                                      <a:pt x="27051" y="6518"/>
                                    </a:cubicBezTo>
                                    <a:cubicBezTo>
                                      <a:pt x="26857" y="5158"/>
                                      <a:pt x="26176" y="3603"/>
                                      <a:pt x="24719" y="2146"/>
                                    </a:cubicBezTo>
                                    <a:cubicBezTo>
                                      <a:pt x="23262" y="688"/>
                                      <a:pt x="20930" y="-89"/>
                                      <a:pt x="18403" y="8"/>
                                    </a:cubicBezTo>
                                    <a:cubicBezTo>
                                      <a:pt x="13254" y="8"/>
                                      <a:pt x="8298" y="4283"/>
                                      <a:pt x="5481" y="9336"/>
                                    </a:cubicBezTo>
                                    <a:cubicBezTo>
                                      <a:pt x="2469" y="14388"/>
                                      <a:pt x="428" y="20704"/>
                                      <a:pt x="39" y="27408"/>
                                    </a:cubicBezTo>
                                    <a:cubicBezTo>
                                      <a:pt x="-544" y="40720"/>
                                      <a:pt x="5384" y="53739"/>
                                      <a:pt x="14808" y="57237"/>
                                    </a:cubicBezTo>
                                    <a:cubicBezTo>
                                      <a:pt x="19375" y="58792"/>
                                      <a:pt x="23456" y="57723"/>
                                      <a:pt x="25593" y="56266"/>
                                    </a:cubicBezTo>
                                    <a:cubicBezTo>
                                      <a:pt x="27731" y="54905"/>
                                      <a:pt x="28217" y="53448"/>
                                      <a:pt x="28023" y="53254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EB996E"/>
                              </a:solidFill>
                              <a:ln w="9716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767" name="Freeform: Shape 766">
                            <a:extLst>
                              <a:ext uri="{FF2B5EF4-FFF2-40B4-BE49-F238E27FC236}">
                                <a16:creationId xmlns:a16="http://schemas.microsoft.com/office/drawing/2014/main" id="{AB31FC9B-D06A-497C-8F55-6367ABD48A4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225780" y="2549732"/>
                            <a:ext cx="60030" cy="20597"/>
                          </a:xfrm>
                          <a:custGeom>
                            <a:avLst/>
                            <a:gdLst>
                              <a:gd name="connsiteX0" fmla="*/ 630 w 60030"/>
                              <a:gd name="connsiteY0" fmla="*/ 17947 h 20597"/>
                              <a:gd name="connsiteX1" fmla="*/ 30362 w 60030"/>
                              <a:gd name="connsiteY1" fmla="*/ 19599 h 20597"/>
                              <a:gd name="connsiteX2" fmla="*/ 59609 w 60030"/>
                              <a:gd name="connsiteY2" fmla="*/ 14352 h 20597"/>
                              <a:gd name="connsiteX3" fmla="*/ 29099 w 60030"/>
                              <a:gd name="connsiteY3" fmla="*/ 166 h 20597"/>
                              <a:gd name="connsiteX4" fmla="*/ 630 w 60030"/>
                              <a:gd name="connsiteY4" fmla="*/ 17947 h 205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60030" h="20597">
                                <a:moveTo>
                                  <a:pt x="630" y="17947"/>
                                </a:moveTo>
                                <a:cubicBezTo>
                                  <a:pt x="3934" y="22223"/>
                                  <a:pt x="15399" y="20182"/>
                                  <a:pt x="30362" y="19599"/>
                                </a:cubicBezTo>
                                <a:cubicBezTo>
                                  <a:pt x="45228" y="18433"/>
                                  <a:pt x="56888" y="19016"/>
                                  <a:pt x="59609" y="14352"/>
                                </a:cubicBezTo>
                                <a:cubicBezTo>
                                  <a:pt x="62718" y="9591"/>
                                  <a:pt x="48240" y="-1485"/>
                                  <a:pt x="29099" y="166"/>
                                </a:cubicBezTo>
                                <a:cubicBezTo>
                                  <a:pt x="9861" y="944"/>
                                  <a:pt x="-3062" y="13575"/>
                                  <a:pt x="630" y="1794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768" name="Freeform: Shape 767">
                            <a:extLst>
                              <a:ext uri="{FF2B5EF4-FFF2-40B4-BE49-F238E27FC236}">
                                <a16:creationId xmlns:a16="http://schemas.microsoft.com/office/drawing/2014/main" id="{A5D083C1-928A-4D32-903F-CF99FEAB6A7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371755" y="2549114"/>
                            <a:ext cx="49940" cy="21581"/>
                          </a:xfrm>
                          <a:custGeom>
                            <a:avLst/>
                            <a:gdLst>
                              <a:gd name="connsiteX0" fmla="*/ 205 w 49940"/>
                              <a:gd name="connsiteY0" fmla="*/ 14193 h 21581"/>
                              <a:gd name="connsiteX1" fmla="*/ 25080 w 49940"/>
                              <a:gd name="connsiteY1" fmla="*/ 21578 h 21581"/>
                              <a:gd name="connsiteX2" fmla="*/ 49759 w 49940"/>
                              <a:gd name="connsiteY2" fmla="*/ 13513 h 21581"/>
                              <a:gd name="connsiteX3" fmla="*/ 24788 w 49940"/>
                              <a:gd name="connsiteY3" fmla="*/ 8 h 21581"/>
                              <a:gd name="connsiteX4" fmla="*/ 205 w 49940"/>
                              <a:gd name="connsiteY4" fmla="*/ 14193 h 2158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49940" h="21581">
                                <a:moveTo>
                                  <a:pt x="205" y="14193"/>
                                </a:moveTo>
                                <a:cubicBezTo>
                                  <a:pt x="2052" y="19926"/>
                                  <a:pt x="12934" y="21675"/>
                                  <a:pt x="25080" y="21578"/>
                                </a:cubicBezTo>
                                <a:cubicBezTo>
                                  <a:pt x="37225" y="21286"/>
                                  <a:pt x="48107" y="19343"/>
                                  <a:pt x="49759" y="13513"/>
                                </a:cubicBezTo>
                                <a:cubicBezTo>
                                  <a:pt x="51508" y="7878"/>
                                  <a:pt x="40431" y="-284"/>
                                  <a:pt x="24788" y="8"/>
                                </a:cubicBezTo>
                                <a:cubicBezTo>
                                  <a:pt x="9145" y="202"/>
                                  <a:pt x="-1640" y="8558"/>
                                  <a:pt x="205" y="14193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</p:grpSp>
                    <p:sp>
                      <p:nvSpPr>
                        <p:cNvPr id="769" name="Freeform: Shape 768">
                          <a:extLst>
                            <a:ext uri="{FF2B5EF4-FFF2-40B4-BE49-F238E27FC236}">
                              <a16:creationId xmlns:a16="http://schemas.microsoft.com/office/drawing/2014/main" id="{D6D1614B-D1B1-49DC-9799-D0572E26227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094839" y="2406971"/>
                          <a:ext cx="356115" cy="206851"/>
                        </a:xfrm>
                        <a:custGeom>
                          <a:avLst/>
                          <a:gdLst>
                            <a:gd name="connsiteX0" fmla="*/ 352520 w 356115"/>
                            <a:gd name="connsiteY0" fmla="*/ 81617 h 206851"/>
                            <a:gd name="connsiteX1" fmla="*/ 227180 w 356115"/>
                            <a:gd name="connsiteY1" fmla="*/ 72581 h 206851"/>
                            <a:gd name="connsiteX2" fmla="*/ 114567 w 356115"/>
                            <a:gd name="connsiteY2" fmla="*/ 47416 h 206851"/>
                            <a:gd name="connsiteX3" fmla="*/ 54034 w 356115"/>
                            <a:gd name="connsiteY3" fmla="*/ 118636 h 206851"/>
                            <a:gd name="connsiteX4" fmla="*/ 20707 w 356115"/>
                            <a:gd name="connsiteY4" fmla="*/ 206764 h 206851"/>
                            <a:gd name="connsiteX5" fmla="*/ 7007 w 356115"/>
                            <a:gd name="connsiteY5" fmla="*/ 61893 h 206851"/>
                            <a:gd name="connsiteX6" fmla="*/ 96203 w 356115"/>
                            <a:gd name="connsiteY6" fmla="*/ 18364 h 206851"/>
                            <a:gd name="connsiteX7" fmla="*/ 193464 w 356115"/>
                            <a:gd name="connsiteY7" fmla="*/ 0 h 206851"/>
                            <a:gd name="connsiteX8" fmla="*/ 285186 w 356115"/>
                            <a:gd name="connsiteY8" fmla="*/ 12923 h 206851"/>
                            <a:gd name="connsiteX9" fmla="*/ 356115 w 356115"/>
                            <a:gd name="connsiteY9" fmla="*/ 32355 h 206851"/>
                            <a:gd name="connsiteX10" fmla="*/ 352520 w 356115"/>
                            <a:gd name="connsiteY10" fmla="*/ 81617 h 20685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356115" h="206851">
                              <a:moveTo>
                                <a:pt x="352520" y="81617"/>
                              </a:moveTo>
                              <a:cubicBezTo>
                                <a:pt x="352520" y="81617"/>
                                <a:pt x="298109" y="107948"/>
                                <a:pt x="227180" y="72581"/>
                              </a:cubicBezTo>
                              <a:cubicBezTo>
                                <a:pt x="180638" y="49359"/>
                                <a:pt x="126518" y="37991"/>
                                <a:pt x="114567" y="47416"/>
                              </a:cubicBezTo>
                              <a:cubicBezTo>
                                <a:pt x="102616" y="56743"/>
                                <a:pt x="100090" y="104645"/>
                                <a:pt x="54034" y="118636"/>
                              </a:cubicBezTo>
                              <a:cubicBezTo>
                                <a:pt x="54034" y="118636"/>
                                <a:pt x="57241" y="210067"/>
                                <a:pt x="20707" y="206764"/>
                              </a:cubicBezTo>
                              <a:cubicBezTo>
                                <a:pt x="-15729" y="203460"/>
                                <a:pt x="7007" y="61893"/>
                                <a:pt x="7007" y="61893"/>
                              </a:cubicBezTo>
                              <a:lnTo>
                                <a:pt x="96203" y="18364"/>
                              </a:lnTo>
                              <a:lnTo>
                                <a:pt x="193464" y="0"/>
                              </a:lnTo>
                              <a:lnTo>
                                <a:pt x="285186" y="12923"/>
                              </a:lnTo>
                              <a:lnTo>
                                <a:pt x="356115" y="32355"/>
                              </a:lnTo>
                              <a:lnTo>
                                <a:pt x="352520" y="8161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770" name="Graphic 13">
                        <a:extLst>
                          <a:ext uri="{FF2B5EF4-FFF2-40B4-BE49-F238E27FC236}">
                            <a16:creationId xmlns:a16="http://schemas.microsoft.com/office/drawing/2014/main" id="{2C6C546F-156A-4BCA-B5F2-317FB69108F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837077" y="2862279"/>
                        <a:ext cx="876218" cy="865326"/>
                        <a:chOff x="3837077" y="2862279"/>
                        <a:chExt cx="876218" cy="865326"/>
                      </a:xfrm>
                    </p:grpSpPr>
                    <p:grpSp>
                      <p:nvGrpSpPr>
                        <p:cNvPr id="771" name="Graphic 13">
                          <a:extLst>
                            <a:ext uri="{FF2B5EF4-FFF2-40B4-BE49-F238E27FC236}">
                              <a16:creationId xmlns:a16="http://schemas.microsoft.com/office/drawing/2014/main" id="{74EC62AA-C625-49E4-AE17-1365AB15D91B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3837077" y="2930039"/>
                          <a:ext cx="876218" cy="797565"/>
                          <a:chOff x="3837077" y="2930039"/>
                          <a:chExt cx="876218" cy="797565"/>
                        </a:xfrm>
                      </p:grpSpPr>
                      <p:sp>
                        <p:nvSpPr>
                          <p:cNvPr id="772" name="Freeform: Shape 771">
                            <a:extLst>
                              <a:ext uri="{FF2B5EF4-FFF2-40B4-BE49-F238E27FC236}">
                                <a16:creationId xmlns:a16="http://schemas.microsoft.com/office/drawing/2014/main" id="{39E2031A-D2F7-4C39-B1A2-FD3C6608EAF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837077" y="2930039"/>
                            <a:ext cx="876218" cy="797565"/>
                          </a:xfrm>
                          <a:custGeom>
                            <a:avLst/>
                            <a:gdLst>
                              <a:gd name="connsiteX0" fmla="*/ 0 w 876218"/>
                              <a:gd name="connsiteY0" fmla="*/ 87603 h 797565"/>
                              <a:gd name="connsiteX1" fmla="*/ 263021 w 876218"/>
                              <a:gd name="connsiteY1" fmla="*/ 351 h 797565"/>
                              <a:gd name="connsiteX2" fmla="*/ 402062 w 876218"/>
                              <a:gd name="connsiteY2" fmla="*/ 99846 h 797565"/>
                              <a:gd name="connsiteX3" fmla="*/ 480861 w 876218"/>
                              <a:gd name="connsiteY3" fmla="*/ 8027 h 797565"/>
                              <a:gd name="connsiteX4" fmla="*/ 641375 w 876218"/>
                              <a:gd name="connsiteY4" fmla="*/ 57677 h 797565"/>
                              <a:gd name="connsiteX5" fmla="*/ 646719 w 876218"/>
                              <a:gd name="connsiteY5" fmla="*/ 59329 h 797565"/>
                              <a:gd name="connsiteX6" fmla="*/ 646622 w 876218"/>
                              <a:gd name="connsiteY6" fmla="*/ 60398 h 797565"/>
                              <a:gd name="connsiteX7" fmla="*/ 876219 w 876218"/>
                              <a:gd name="connsiteY7" fmla="*/ 249963 h 797565"/>
                              <a:gd name="connsiteX8" fmla="*/ 777792 w 876218"/>
                              <a:gd name="connsiteY8" fmla="*/ 341297 h 797565"/>
                              <a:gd name="connsiteX9" fmla="*/ 668872 w 876218"/>
                              <a:gd name="connsiteY9" fmla="*/ 437974 h 797565"/>
                              <a:gd name="connsiteX10" fmla="*/ 669067 w 876218"/>
                              <a:gd name="connsiteY10" fmla="*/ 439918 h 797565"/>
                              <a:gd name="connsiteX11" fmla="*/ 700937 w 876218"/>
                              <a:gd name="connsiteY11" fmla="*/ 679911 h 797565"/>
                              <a:gd name="connsiteX12" fmla="*/ 334825 w 876218"/>
                              <a:gd name="connsiteY12" fmla="*/ 790483 h 797565"/>
                              <a:gd name="connsiteX13" fmla="*/ 227459 w 876218"/>
                              <a:gd name="connsiteY13" fmla="*/ 760945 h 797565"/>
                              <a:gd name="connsiteX14" fmla="*/ 116790 w 876218"/>
                              <a:gd name="connsiteY14" fmla="*/ 629192 h 797565"/>
                              <a:gd name="connsiteX15" fmla="*/ 116790 w 876218"/>
                              <a:gd name="connsiteY15" fmla="*/ 629192 h 797565"/>
                              <a:gd name="connsiteX16" fmla="*/ 103673 w 876218"/>
                              <a:gd name="connsiteY16" fmla="*/ 439529 h 79756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</a:cxnLst>
                            <a:rect l="l" t="t" r="r" b="b"/>
                            <a:pathLst>
                              <a:path w="876218" h="797565">
                                <a:moveTo>
                                  <a:pt x="0" y="87603"/>
                                </a:moveTo>
                                <a:cubicBezTo>
                                  <a:pt x="95317" y="-10434"/>
                                  <a:pt x="263021" y="351"/>
                                  <a:pt x="263021" y="351"/>
                                </a:cubicBezTo>
                                <a:lnTo>
                                  <a:pt x="402062" y="99846"/>
                                </a:lnTo>
                                <a:lnTo>
                                  <a:pt x="480861" y="8027"/>
                                </a:lnTo>
                                <a:cubicBezTo>
                                  <a:pt x="480861" y="8027"/>
                                  <a:pt x="563742" y="17160"/>
                                  <a:pt x="641375" y="57677"/>
                                </a:cubicBezTo>
                                <a:lnTo>
                                  <a:pt x="646719" y="59329"/>
                                </a:lnTo>
                                <a:lnTo>
                                  <a:pt x="646622" y="60398"/>
                                </a:lnTo>
                                <a:cubicBezTo>
                                  <a:pt x="707641" y="93530"/>
                                  <a:pt x="793922" y="172913"/>
                                  <a:pt x="876219" y="249963"/>
                                </a:cubicBezTo>
                                <a:lnTo>
                                  <a:pt x="777792" y="341297"/>
                                </a:lnTo>
                                <a:lnTo>
                                  <a:pt x="668872" y="437974"/>
                                </a:lnTo>
                                <a:cubicBezTo>
                                  <a:pt x="668872" y="437974"/>
                                  <a:pt x="669261" y="438655"/>
                                  <a:pt x="669067" y="439918"/>
                                </a:cubicBezTo>
                                <a:cubicBezTo>
                                  <a:pt x="667901" y="445747"/>
                                  <a:pt x="684224" y="578861"/>
                                  <a:pt x="700937" y="679911"/>
                                </a:cubicBezTo>
                                <a:cubicBezTo>
                                  <a:pt x="601733" y="774645"/>
                                  <a:pt x="475226" y="815163"/>
                                  <a:pt x="334825" y="790483"/>
                                </a:cubicBezTo>
                                <a:cubicBezTo>
                                  <a:pt x="290227" y="782710"/>
                                  <a:pt x="268657" y="771828"/>
                                  <a:pt x="227459" y="760945"/>
                                </a:cubicBezTo>
                                <a:cubicBezTo>
                                  <a:pt x="166441" y="744914"/>
                                  <a:pt x="122232" y="692057"/>
                                  <a:pt x="116790" y="629192"/>
                                </a:cubicBezTo>
                                <a:lnTo>
                                  <a:pt x="116790" y="629192"/>
                                </a:lnTo>
                                <a:cubicBezTo>
                                  <a:pt x="109406" y="544466"/>
                                  <a:pt x="103673" y="439529"/>
                                  <a:pt x="103673" y="439529"/>
                                </a:cubicBezTo>
                              </a:path>
                            </a:pathLst>
                          </a:custGeom>
                          <a:solidFill>
                            <a:srgbClr val="455A64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773" name="Freeform: Shape 772">
                            <a:extLst>
                              <a:ext uri="{FF2B5EF4-FFF2-40B4-BE49-F238E27FC236}">
                                <a16:creationId xmlns:a16="http://schemas.microsoft.com/office/drawing/2014/main" id="{590810F6-3A63-43E2-A461-682BCEC60686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405057" y="2955166"/>
                            <a:ext cx="99986" cy="412946"/>
                          </a:xfrm>
                          <a:custGeom>
                            <a:avLst/>
                            <a:gdLst>
                              <a:gd name="connsiteX0" fmla="*/ 36 w 99986"/>
                              <a:gd name="connsiteY0" fmla="*/ 1 h 412946"/>
                              <a:gd name="connsiteX1" fmla="*/ 6061 w 99986"/>
                              <a:gd name="connsiteY1" fmla="*/ 15645 h 412946"/>
                              <a:gd name="connsiteX2" fmla="*/ 20247 w 99986"/>
                              <a:gd name="connsiteY2" fmla="*/ 58979 h 412946"/>
                              <a:gd name="connsiteX3" fmla="*/ 60181 w 99986"/>
                              <a:gd name="connsiteY3" fmla="*/ 204044 h 412946"/>
                              <a:gd name="connsiteX4" fmla="*/ 90884 w 99986"/>
                              <a:gd name="connsiteY4" fmla="*/ 351344 h 412946"/>
                              <a:gd name="connsiteX5" fmla="*/ 98074 w 99986"/>
                              <a:gd name="connsiteY5" fmla="*/ 396330 h 412946"/>
                              <a:gd name="connsiteX6" fmla="*/ 99920 w 99986"/>
                              <a:gd name="connsiteY6" fmla="*/ 412945 h 412946"/>
                              <a:gd name="connsiteX7" fmla="*/ 96131 w 99986"/>
                              <a:gd name="connsiteY7" fmla="*/ 396622 h 412946"/>
                              <a:gd name="connsiteX8" fmla="*/ 87387 w 99986"/>
                              <a:gd name="connsiteY8" fmla="*/ 351927 h 412946"/>
                              <a:gd name="connsiteX9" fmla="*/ 55322 w 99986"/>
                              <a:gd name="connsiteY9" fmla="*/ 205113 h 412946"/>
                              <a:gd name="connsiteX10" fmla="*/ 16943 w 99986"/>
                              <a:gd name="connsiteY10" fmla="*/ 59854 h 412946"/>
                              <a:gd name="connsiteX11" fmla="*/ 4312 w 99986"/>
                              <a:gd name="connsiteY11" fmla="*/ 16033 h 412946"/>
                              <a:gd name="connsiteX12" fmla="*/ 36 w 99986"/>
                              <a:gd name="connsiteY12" fmla="*/ 1 h 41294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</a:cxnLst>
                            <a:rect l="l" t="t" r="r" b="b"/>
                            <a:pathLst>
                              <a:path w="99986" h="412946">
                                <a:moveTo>
                                  <a:pt x="36" y="1"/>
                                </a:moveTo>
                                <a:cubicBezTo>
                                  <a:pt x="328" y="-96"/>
                                  <a:pt x="2466" y="5442"/>
                                  <a:pt x="6061" y="15645"/>
                                </a:cubicBezTo>
                                <a:cubicBezTo>
                                  <a:pt x="9656" y="25847"/>
                                  <a:pt x="14514" y="40615"/>
                                  <a:pt x="20247" y="58979"/>
                                </a:cubicBezTo>
                                <a:cubicBezTo>
                                  <a:pt x="31712" y="95707"/>
                                  <a:pt x="46384" y="146912"/>
                                  <a:pt x="60181" y="204044"/>
                                </a:cubicBezTo>
                                <a:cubicBezTo>
                                  <a:pt x="73978" y="261176"/>
                                  <a:pt x="84277" y="313450"/>
                                  <a:pt x="90884" y="351344"/>
                                </a:cubicBezTo>
                                <a:cubicBezTo>
                                  <a:pt x="94188" y="370291"/>
                                  <a:pt x="96617" y="385740"/>
                                  <a:pt x="98074" y="396330"/>
                                </a:cubicBezTo>
                                <a:cubicBezTo>
                                  <a:pt x="99532" y="407019"/>
                                  <a:pt x="100212" y="412945"/>
                                  <a:pt x="99920" y="412945"/>
                                </a:cubicBezTo>
                                <a:cubicBezTo>
                                  <a:pt x="99532" y="413043"/>
                                  <a:pt x="98269" y="407213"/>
                                  <a:pt x="96131" y="396622"/>
                                </a:cubicBezTo>
                                <a:cubicBezTo>
                                  <a:pt x="93896" y="385254"/>
                                  <a:pt x="90982" y="370194"/>
                                  <a:pt x="87387" y="351927"/>
                                </a:cubicBezTo>
                                <a:cubicBezTo>
                                  <a:pt x="79905" y="314227"/>
                                  <a:pt x="69023" y="262148"/>
                                  <a:pt x="55322" y="205113"/>
                                </a:cubicBezTo>
                                <a:cubicBezTo>
                                  <a:pt x="41525" y="148078"/>
                                  <a:pt x="27534" y="96873"/>
                                  <a:pt x="16943" y="59854"/>
                                </a:cubicBezTo>
                                <a:cubicBezTo>
                                  <a:pt x="11793" y="41976"/>
                                  <a:pt x="7518" y="27207"/>
                                  <a:pt x="4312" y="16033"/>
                                </a:cubicBezTo>
                                <a:cubicBezTo>
                                  <a:pt x="1203" y="5831"/>
                                  <a:pt x="-255" y="98"/>
                                  <a:pt x="36" y="1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774" name="Freeform: Shape 773">
                            <a:extLst>
                              <a:ext uri="{FF2B5EF4-FFF2-40B4-BE49-F238E27FC236}">
                                <a16:creationId xmlns:a16="http://schemas.microsoft.com/office/drawing/2014/main" id="{63FF9A4E-2F30-4A74-89A6-FF0930E7CA0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494568" y="3151509"/>
                            <a:ext cx="188815" cy="153956"/>
                          </a:xfrm>
                          <a:custGeom>
                            <a:avLst/>
                            <a:gdLst>
                              <a:gd name="connsiteX0" fmla="*/ 14 w 188815"/>
                              <a:gd name="connsiteY0" fmla="*/ 153932 h 153956"/>
                              <a:gd name="connsiteX1" fmla="*/ 92804 w 188815"/>
                              <a:gd name="connsiteY1" fmla="*/ 75035 h 153956"/>
                              <a:gd name="connsiteX2" fmla="*/ 188802 w 188815"/>
                              <a:gd name="connsiteY2" fmla="*/ 25 h 153956"/>
                              <a:gd name="connsiteX3" fmla="*/ 96011 w 188815"/>
                              <a:gd name="connsiteY3" fmla="*/ 78922 h 153956"/>
                              <a:gd name="connsiteX4" fmla="*/ 14 w 188815"/>
                              <a:gd name="connsiteY4" fmla="*/ 153932 h 15395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188815" h="153956">
                                <a:moveTo>
                                  <a:pt x="14" y="153932"/>
                                </a:moveTo>
                                <a:cubicBezTo>
                                  <a:pt x="-861" y="152863"/>
                                  <a:pt x="40725" y="117495"/>
                                  <a:pt x="92804" y="75035"/>
                                </a:cubicBezTo>
                                <a:cubicBezTo>
                                  <a:pt x="144981" y="32575"/>
                                  <a:pt x="187927" y="-1044"/>
                                  <a:pt x="188802" y="25"/>
                                </a:cubicBezTo>
                                <a:cubicBezTo>
                                  <a:pt x="189676" y="1094"/>
                                  <a:pt x="148090" y="36461"/>
                                  <a:pt x="96011" y="78922"/>
                                </a:cubicBezTo>
                                <a:cubicBezTo>
                                  <a:pt x="43931" y="121479"/>
                                  <a:pt x="985" y="155000"/>
                                  <a:pt x="14" y="153932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775" name="Freeform: Shape 774">
                            <a:extLst>
                              <a:ext uri="{FF2B5EF4-FFF2-40B4-BE49-F238E27FC236}">
                                <a16:creationId xmlns:a16="http://schemas.microsoft.com/office/drawing/2014/main" id="{636F5B35-FA6E-4DB9-B6A2-AA0D6ED2E8E6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877594" y="3152117"/>
                            <a:ext cx="87176" cy="297028"/>
                          </a:xfrm>
                          <a:custGeom>
                            <a:avLst/>
                            <a:gdLst>
                              <a:gd name="connsiteX0" fmla="*/ 85309 w 87176"/>
                              <a:gd name="connsiteY0" fmla="*/ 0 h 297028"/>
                              <a:gd name="connsiteX1" fmla="*/ 0 w 87176"/>
                              <a:gd name="connsiteY1" fmla="*/ 280511 h 297028"/>
                              <a:gd name="connsiteX2" fmla="*/ 31772 w 87176"/>
                              <a:gd name="connsiteY2" fmla="*/ 297028 h 297028"/>
                              <a:gd name="connsiteX3" fmla="*/ 63059 w 87176"/>
                              <a:gd name="connsiteY3" fmla="*/ 217646 h 297028"/>
                              <a:gd name="connsiteX4" fmla="*/ 85309 w 87176"/>
                              <a:gd name="connsiteY4" fmla="*/ 0 h 29702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87176" h="297028">
                                <a:moveTo>
                                  <a:pt x="85309" y="0"/>
                                </a:moveTo>
                                <a:lnTo>
                                  <a:pt x="0" y="280511"/>
                                </a:lnTo>
                                <a:lnTo>
                                  <a:pt x="31772" y="297028"/>
                                </a:lnTo>
                                <a:lnTo>
                                  <a:pt x="63059" y="217646"/>
                                </a:lnTo>
                                <a:cubicBezTo>
                                  <a:pt x="63059" y="217743"/>
                                  <a:pt x="95123" y="51011"/>
                                  <a:pt x="85309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000000">
                              <a:alpha val="20000"/>
                            </a:srgbClr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776" name="Freeform: Shape 775">
                            <a:extLst>
                              <a:ext uri="{FF2B5EF4-FFF2-40B4-BE49-F238E27FC236}">
                                <a16:creationId xmlns:a16="http://schemas.microsoft.com/office/drawing/2014/main" id="{8DACF647-A0A8-49B6-84F4-7BA8CA028DD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274603" y="2936705"/>
                            <a:ext cx="131859" cy="99720"/>
                          </a:xfrm>
                          <a:custGeom>
                            <a:avLst/>
                            <a:gdLst>
                              <a:gd name="connsiteX0" fmla="*/ 121260 w 131859"/>
                              <a:gd name="connsiteY0" fmla="*/ 18656 h 99720"/>
                              <a:gd name="connsiteX1" fmla="*/ 0 w 131859"/>
                              <a:gd name="connsiteY1" fmla="*/ 99690 h 99720"/>
                              <a:gd name="connsiteX2" fmla="*/ 37797 w 131859"/>
                              <a:gd name="connsiteY2" fmla="*/ 1 h 99720"/>
                              <a:gd name="connsiteX3" fmla="*/ 121260 w 131859"/>
                              <a:gd name="connsiteY3" fmla="*/ 18656 h 9972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31859" h="99720">
                                <a:moveTo>
                                  <a:pt x="121260" y="18656"/>
                                </a:moveTo>
                                <a:cubicBezTo>
                                  <a:pt x="167218" y="42850"/>
                                  <a:pt x="51982" y="101245"/>
                                  <a:pt x="0" y="99690"/>
                                </a:cubicBezTo>
                                <a:lnTo>
                                  <a:pt x="37797" y="1"/>
                                </a:lnTo>
                                <a:cubicBezTo>
                                  <a:pt x="37797" y="-96"/>
                                  <a:pt x="105811" y="10494"/>
                                  <a:pt x="121260" y="18656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000000"/>
                          </a:solidFill>
                          <a:ln w="971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</p:grpSp>
                    <p:sp>
                      <p:nvSpPr>
                        <p:cNvPr id="777" name="Freeform: Shape 776">
                          <a:extLst>
                            <a:ext uri="{FF2B5EF4-FFF2-40B4-BE49-F238E27FC236}">
                              <a16:creationId xmlns:a16="http://schemas.microsoft.com/office/drawing/2014/main" id="{1CCC82C7-8A29-476F-816B-43240A8A44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086398" y="2862279"/>
                          <a:ext cx="254179" cy="234260"/>
                        </a:xfrm>
                        <a:custGeom>
                          <a:avLst/>
                          <a:gdLst>
                            <a:gd name="connsiteX0" fmla="*/ 0 w 254179"/>
                            <a:gd name="connsiteY0" fmla="*/ 74330 h 234260"/>
                            <a:gd name="connsiteX1" fmla="*/ 0 w 254179"/>
                            <a:gd name="connsiteY1" fmla="*/ 0 h 234260"/>
                            <a:gd name="connsiteX2" fmla="*/ 150409 w 254179"/>
                            <a:gd name="connsiteY2" fmla="*/ 124175 h 234260"/>
                            <a:gd name="connsiteX3" fmla="*/ 243589 w 254179"/>
                            <a:gd name="connsiteY3" fmla="*/ 23611 h 234260"/>
                            <a:gd name="connsiteX4" fmla="*/ 254179 w 254179"/>
                            <a:gd name="connsiteY4" fmla="*/ 158571 h 234260"/>
                            <a:gd name="connsiteX5" fmla="*/ 167218 w 254179"/>
                            <a:gd name="connsiteY5" fmla="*/ 234261 h 234260"/>
                            <a:gd name="connsiteX6" fmla="*/ 78994 w 254179"/>
                            <a:gd name="connsiteY6" fmla="*/ 234261 h 234260"/>
                            <a:gd name="connsiteX7" fmla="*/ 9133 w 254179"/>
                            <a:gd name="connsiteY7" fmla="*/ 174019 h 234260"/>
                            <a:gd name="connsiteX8" fmla="*/ 0 w 254179"/>
                            <a:gd name="connsiteY8" fmla="*/ 80257 h 23426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254179" h="234260">
                              <a:moveTo>
                                <a:pt x="0" y="74330"/>
                              </a:moveTo>
                              <a:lnTo>
                                <a:pt x="0" y="0"/>
                              </a:lnTo>
                              <a:cubicBezTo>
                                <a:pt x="0" y="0"/>
                                <a:pt x="145065" y="37311"/>
                                <a:pt x="150409" y="124175"/>
                              </a:cubicBezTo>
                              <a:cubicBezTo>
                                <a:pt x="150409" y="124175"/>
                                <a:pt x="168870" y="28177"/>
                                <a:pt x="243589" y="23611"/>
                              </a:cubicBezTo>
                              <a:lnTo>
                                <a:pt x="254179" y="158571"/>
                              </a:lnTo>
                              <a:lnTo>
                                <a:pt x="167218" y="234261"/>
                              </a:lnTo>
                              <a:lnTo>
                                <a:pt x="78994" y="234261"/>
                              </a:lnTo>
                              <a:lnTo>
                                <a:pt x="9133" y="174019"/>
                              </a:lnTo>
                              <a:lnTo>
                                <a:pt x="0" y="80257"/>
                              </a:lnTo>
                            </a:path>
                          </a:pathLst>
                        </a:custGeom>
                        <a:solidFill>
                          <a:srgbClr val="455A64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8" name="Freeform: Shape 777">
                          <a:extLst>
                            <a:ext uri="{FF2B5EF4-FFF2-40B4-BE49-F238E27FC236}">
                              <a16:creationId xmlns:a16="http://schemas.microsoft.com/office/drawing/2014/main" id="{C4F8ACF0-6F90-44EC-AA33-452DE7313B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235877" y="2999666"/>
                          <a:ext cx="37822" cy="403229"/>
                        </a:xfrm>
                        <a:custGeom>
                          <a:avLst/>
                          <a:gdLst>
                            <a:gd name="connsiteX0" fmla="*/ 33576 w 37822"/>
                            <a:gd name="connsiteY0" fmla="*/ 403229 h 403229"/>
                            <a:gd name="connsiteX1" fmla="*/ 33285 w 37822"/>
                            <a:gd name="connsiteY1" fmla="*/ 387294 h 403229"/>
                            <a:gd name="connsiteX2" fmla="*/ 33771 w 37822"/>
                            <a:gd name="connsiteY2" fmla="*/ 343862 h 403229"/>
                            <a:gd name="connsiteX3" fmla="*/ 28135 w 37822"/>
                            <a:gd name="connsiteY3" fmla="*/ 200741 h 403229"/>
                            <a:gd name="connsiteX4" fmla="*/ 10063 w 37822"/>
                            <a:gd name="connsiteY4" fmla="*/ 58591 h 403229"/>
                            <a:gd name="connsiteX5" fmla="*/ 2484 w 37822"/>
                            <a:gd name="connsiteY5" fmla="*/ 15839 h 403229"/>
                            <a:gd name="connsiteX6" fmla="*/ 55 w 37822"/>
                            <a:gd name="connsiteY6" fmla="*/ 1 h 403229"/>
                            <a:gd name="connsiteX7" fmla="*/ 4330 w 37822"/>
                            <a:gd name="connsiteY7" fmla="*/ 15353 h 403229"/>
                            <a:gd name="connsiteX8" fmla="*/ 13561 w 37822"/>
                            <a:gd name="connsiteY8" fmla="*/ 57911 h 403229"/>
                            <a:gd name="connsiteX9" fmla="*/ 33188 w 37822"/>
                            <a:gd name="connsiteY9" fmla="*/ 200255 h 403229"/>
                            <a:gd name="connsiteX10" fmla="*/ 37366 w 37822"/>
                            <a:gd name="connsiteY10" fmla="*/ 343862 h 403229"/>
                            <a:gd name="connsiteX11" fmla="*/ 35325 w 37822"/>
                            <a:gd name="connsiteY11" fmla="*/ 387391 h 403229"/>
                            <a:gd name="connsiteX12" fmla="*/ 33576 w 37822"/>
                            <a:gd name="connsiteY12" fmla="*/ 403229 h 40322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</a:cxnLst>
                          <a:rect l="l" t="t" r="r" b="b"/>
                          <a:pathLst>
                            <a:path w="37822" h="403229">
                              <a:moveTo>
                                <a:pt x="33576" y="403229"/>
                              </a:moveTo>
                              <a:cubicBezTo>
                                <a:pt x="33188" y="403229"/>
                                <a:pt x="33188" y="397496"/>
                                <a:pt x="33285" y="387294"/>
                              </a:cubicBezTo>
                              <a:cubicBezTo>
                                <a:pt x="33479" y="376995"/>
                                <a:pt x="33674" y="362129"/>
                                <a:pt x="33771" y="343862"/>
                              </a:cubicBezTo>
                              <a:cubicBezTo>
                                <a:pt x="33868" y="307135"/>
                                <a:pt x="32702" y="256512"/>
                                <a:pt x="28135" y="200741"/>
                              </a:cubicBezTo>
                              <a:cubicBezTo>
                                <a:pt x="23471" y="144969"/>
                                <a:pt x="16281" y="94736"/>
                                <a:pt x="10063" y="58591"/>
                              </a:cubicBezTo>
                              <a:cubicBezTo>
                                <a:pt x="6954" y="41198"/>
                                <a:pt x="4427" y="26721"/>
                                <a:pt x="2484" y="15839"/>
                              </a:cubicBezTo>
                              <a:cubicBezTo>
                                <a:pt x="638" y="5734"/>
                                <a:pt x="-236" y="98"/>
                                <a:pt x="55" y="1"/>
                              </a:cubicBezTo>
                              <a:cubicBezTo>
                                <a:pt x="444" y="-96"/>
                                <a:pt x="1901" y="5442"/>
                                <a:pt x="4330" y="15353"/>
                              </a:cubicBezTo>
                              <a:cubicBezTo>
                                <a:pt x="6857" y="25361"/>
                                <a:pt x="9966" y="39838"/>
                                <a:pt x="13561" y="57911"/>
                              </a:cubicBezTo>
                              <a:cubicBezTo>
                                <a:pt x="20654" y="93958"/>
                                <a:pt x="28524" y="144289"/>
                                <a:pt x="33188" y="200255"/>
                              </a:cubicBezTo>
                              <a:cubicBezTo>
                                <a:pt x="37852" y="256221"/>
                                <a:pt x="38435" y="307135"/>
                                <a:pt x="37366" y="343862"/>
                              </a:cubicBezTo>
                              <a:cubicBezTo>
                                <a:pt x="36880" y="362226"/>
                                <a:pt x="36103" y="377092"/>
                                <a:pt x="35325" y="387391"/>
                              </a:cubicBezTo>
                              <a:cubicBezTo>
                                <a:pt x="34451" y="397594"/>
                                <a:pt x="33868" y="403229"/>
                                <a:pt x="33576" y="40322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9" name="Freeform: Shape 778">
                          <a:extLst>
                            <a:ext uri="{FF2B5EF4-FFF2-40B4-BE49-F238E27FC236}">
                              <a16:creationId xmlns:a16="http://schemas.microsoft.com/office/drawing/2014/main" id="{5A5DA3BA-EE5B-4D80-8207-86BA7AE41CE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081059" y="2922518"/>
                          <a:ext cx="149051" cy="141860"/>
                        </a:xfrm>
                        <a:custGeom>
                          <a:avLst/>
                          <a:gdLst>
                            <a:gd name="connsiteX0" fmla="*/ 149043 w 149051"/>
                            <a:gd name="connsiteY0" fmla="*/ 38964 h 141860"/>
                            <a:gd name="connsiteX1" fmla="*/ 140396 w 149051"/>
                            <a:gd name="connsiteY1" fmla="*/ 39741 h 141860"/>
                            <a:gd name="connsiteX2" fmla="*/ 125821 w 149051"/>
                            <a:gd name="connsiteY2" fmla="*/ 58300 h 141860"/>
                            <a:gd name="connsiteX3" fmla="*/ 98227 w 149051"/>
                            <a:gd name="connsiteY3" fmla="*/ 138557 h 141860"/>
                            <a:gd name="connsiteX4" fmla="*/ 97450 w 149051"/>
                            <a:gd name="connsiteY4" fmla="*/ 141860 h 141860"/>
                            <a:gd name="connsiteX5" fmla="*/ 94534 w 149051"/>
                            <a:gd name="connsiteY5" fmla="*/ 140111 h 141860"/>
                            <a:gd name="connsiteX6" fmla="*/ 68009 w 149051"/>
                            <a:gd name="connsiteY6" fmla="*/ 123108 h 141860"/>
                            <a:gd name="connsiteX7" fmla="*/ 20982 w 149051"/>
                            <a:gd name="connsiteY7" fmla="*/ 87351 h 141860"/>
                            <a:gd name="connsiteX8" fmla="*/ 4950 w 149051"/>
                            <a:gd name="connsiteY8" fmla="*/ 66364 h 141860"/>
                            <a:gd name="connsiteX9" fmla="*/ 92 w 149051"/>
                            <a:gd name="connsiteY9" fmla="*/ 43920 h 141860"/>
                            <a:gd name="connsiteX10" fmla="*/ 3298 w 149051"/>
                            <a:gd name="connsiteY10" fmla="*/ 11467 h 141860"/>
                            <a:gd name="connsiteX11" fmla="*/ 6504 w 149051"/>
                            <a:gd name="connsiteY11" fmla="*/ 2 h 141860"/>
                            <a:gd name="connsiteX12" fmla="*/ 5241 w 149051"/>
                            <a:gd name="connsiteY12" fmla="*/ 11856 h 141860"/>
                            <a:gd name="connsiteX13" fmla="*/ 3687 w 149051"/>
                            <a:gd name="connsiteY13" fmla="*/ 43822 h 141860"/>
                            <a:gd name="connsiteX14" fmla="*/ 8836 w 149051"/>
                            <a:gd name="connsiteY14" fmla="*/ 64713 h 141860"/>
                            <a:gd name="connsiteX15" fmla="*/ 24091 w 149051"/>
                            <a:gd name="connsiteY15" fmla="*/ 83854 h 141860"/>
                            <a:gd name="connsiteX16" fmla="*/ 70924 w 149051"/>
                            <a:gd name="connsiteY16" fmla="*/ 118930 h 141860"/>
                            <a:gd name="connsiteX17" fmla="*/ 97158 w 149051"/>
                            <a:gd name="connsiteY17" fmla="*/ 135836 h 141860"/>
                            <a:gd name="connsiteX18" fmla="*/ 93466 w 149051"/>
                            <a:gd name="connsiteY18" fmla="*/ 137391 h 141860"/>
                            <a:gd name="connsiteX19" fmla="*/ 123003 w 149051"/>
                            <a:gd name="connsiteY19" fmla="*/ 56842 h 141860"/>
                            <a:gd name="connsiteX20" fmla="*/ 130679 w 149051"/>
                            <a:gd name="connsiteY20" fmla="*/ 44308 h 141860"/>
                            <a:gd name="connsiteX21" fmla="*/ 139910 w 149051"/>
                            <a:gd name="connsiteY21" fmla="*/ 37993 h 141860"/>
                            <a:gd name="connsiteX22" fmla="*/ 149043 w 149051"/>
                            <a:gd name="connsiteY22" fmla="*/ 38964 h 14186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</a:cxnLst>
                          <a:rect l="l" t="t" r="r" b="b"/>
                          <a:pathLst>
                            <a:path w="149051" h="141860">
                              <a:moveTo>
                                <a:pt x="149043" y="38964"/>
                              </a:moveTo>
                              <a:cubicBezTo>
                                <a:pt x="148946" y="39353"/>
                                <a:pt x="145740" y="37701"/>
                                <a:pt x="140396" y="39741"/>
                              </a:cubicBezTo>
                              <a:cubicBezTo>
                                <a:pt x="134857" y="41490"/>
                                <a:pt x="129902" y="48389"/>
                                <a:pt x="125821" y="58300"/>
                              </a:cubicBezTo>
                              <a:cubicBezTo>
                                <a:pt x="116882" y="77635"/>
                                <a:pt x="105903" y="105424"/>
                                <a:pt x="98227" y="138557"/>
                              </a:cubicBezTo>
                              <a:lnTo>
                                <a:pt x="97450" y="141860"/>
                              </a:lnTo>
                              <a:lnTo>
                                <a:pt x="94534" y="140111"/>
                              </a:lnTo>
                              <a:cubicBezTo>
                                <a:pt x="85887" y="134864"/>
                                <a:pt x="76948" y="129229"/>
                                <a:pt x="68009" y="123108"/>
                              </a:cubicBezTo>
                              <a:cubicBezTo>
                                <a:pt x="50714" y="111351"/>
                                <a:pt x="34779" y="99303"/>
                                <a:pt x="20982" y="87351"/>
                              </a:cubicBezTo>
                              <a:cubicBezTo>
                                <a:pt x="13986" y="81327"/>
                                <a:pt x="8253" y="74137"/>
                                <a:pt x="4950" y="66364"/>
                              </a:cubicBezTo>
                              <a:cubicBezTo>
                                <a:pt x="1646" y="58591"/>
                                <a:pt x="383" y="50915"/>
                                <a:pt x="92" y="43920"/>
                              </a:cubicBezTo>
                              <a:cubicBezTo>
                                <a:pt x="-491" y="29928"/>
                                <a:pt x="1841" y="18949"/>
                                <a:pt x="3298" y="11467"/>
                              </a:cubicBezTo>
                              <a:cubicBezTo>
                                <a:pt x="4950" y="3985"/>
                                <a:pt x="6116" y="-96"/>
                                <a:pt x="6504" y="2"/>
                              </a:cubicBezTo>
                              <a:cubicBezTo>
                                <a:pt x="6893" y="99"/>
                                <a:pt x="6310" y="4277"/>
                                <a:pt x="5241" y="11856"/>
                              </a:cubicBezTo>
                              <a:cubicBezTo>
                                <a:pt x="4367" y="19434"/>
                                <a:pt x="2618" y="30414"/>
                                <a:pt x="3687" y="43822"/>
                              </a:cubicBezTo>
                              <a:cubicBezTo>
                                <a:pt x="4270" y="50429"/>
                                <a:pt x="5630" y="57717"/>
                                <a:pt x="8836" y="64713"/>
                              </a:cubicBezTo>
                              <a:cubicBezTo>
                                <a:pt x="12043" y="71708"/>
                                <a:pt x="17290" y="78218"/>
                                <a:pt x="24091" y="83854"/>
                              </a:cubicBezTo>
                              <a:cubicBezTo>
                                <a:pt x="37791" y="95319"/>
                                <a:pt x="53726" y="107270"/>
                                <a:pt x="70924" y="118930"/>
                              </a:cubicBezTo>
                              <a:cubicBezTo>
                                <a:pt x="79766" y="124954"/>
                                <a:pt x="88608" y="130589"/>
                                <a:pt x="97158" y="135836"/>
                              </a:cubicBezTo>
                              <a:lnTo>
                                <a:pt x="93466" y="137391"/>
                              </a:lnTo>
                              <a:cubicBezTo>
                                <a:pt x="101433" y="103869"/>
                                <a:pt x="113190" y="75983"/>
                                <a:pt x="123003" y="56842"/>
                              </a:cubicBezTo>
                              <a:cubicBezTo>
                                <a:pt x="125432" y="52081"/>
                                <a:pt x="127764" y="47709"/>
                                <a:pt x="130679" y="44308"/>
                              </a:cubicBezTo>
                              <a:cubicBezTo>
                                <a:pt x="133497" y="40907"/>
                                <a:pt x="136995" y="38867"/>
                                <a:pt x="139910" y="37993"/>
                              </a:cubicBezTo>
                              <a:cubicBezTo>
                                <a:pt x="146031" y="36438"/>
                                <a:pt x="149237" y="38867"/>
                                <a:pt x="149043" y="3896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0" name="Freeform: Shape 779">
                          <a:extLst>
                            <a:ext uri="{FF2B5EF4-FFF2-40B4-BE49-F238E27FC236}">
                              <a16:creationId xmlns:a16="http://schemas.microsoft.com/office/drawing/2014/main" id="{D2C2C784-2AA7-452C-9BE4-E96AA44C482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247852" y="2885889"/>
                          <a:ext cx="93880" cy="171201"/>
                        </a:xfrm>
                        <a:custGeom>
                          <a:avLst/>
                          <a:gdLst>
                            <a:gd name="connsiteX0" fmla="*/ 82135 w 93880"/>
                            <a:gd name="connsiteY0" fmla="*/ 0 h 171201"/>
                            <a:gd name="connsiteX1" fmla="*/ 83495 w 93880"/>
                            <a:gd name="connsiteY1" fmla="*/ 11562 h 171201"/>
                            <a:gd name="connsiteX2" fmla="*/ 85827 w 93880"/>
                            <a:gd name="connsiteY2" fmla="*/ 43141 h 171201"/>
                            <a:gd name="connsiteX3" fmla="*/ 91268 w 93880"/>
                            <a:gd name="connsiteY3" fmla="*/ 89682 h 171201"/>
                            <a:gd name="connsiteX4" fmla="*/ 93017 w 93880"/>
                            <a:gd name="connsiteY4" fmla="*/ 118151 h 171201"/>
                            <a:gd name="connsiteX5" fmla="*/ 73973 w 93880"/>
                            <a:gd name="connsiteY5" fmla="*/ 142539 h 171201"/>
                            <a:gd name="connsiteX6" fmla="*/ 42006 w 93880"/>
                            <a:gd name="connsiteY6" fmla="*/ 166829 h 171201"/>
                            <a:gd name="connsiteX7" fmla="*/ 38120 w 93880"/>
                            <a:gd name="connsiteY7" fmla="*/ 171202 h 171201"/>
                            <a:gd name="connsiteX8" fmla="*/ 37731 w 93880"/>
                            <a:gd name="connsiteY8" fmla="*/ 165372 h 171201"/>
                            <a:gd name="connsiteX9" fmla="*/ 16258 w 93880"/>
                            <a:gd name="connsiteY9" fmla="*/ 92985 h 171201"/>
                            <a:gd name="connsiteX10" fmla="*/ 32 w 93880"/>
                            <a:gd name="connsiteY10" fmla="*/ 67431 h 171201"/>
                            <a:gd name="connsiteX11" fmla="*/ 5764 w 93880"/>
                            <a:gd name="connsiteY11" fmla="*/ 73164 h 171201"/>
                            <a:gd name="connsiteX12" fmla="*/ 18881 w 93880"/>
                            <a:gd name="connsiteY12" fmla="*/ 91431 h 171201"/>
                            <a:gd name="connsiteX13" fmla="*/ 42492 w 93880"/>
                            <a:gd name="connsiteY13" fmla="*/ 164983 h 171201"/>
                            <a:gd name="connsiteX14" fmla="*/ 38217 w 93880"/>
                            <a:gd name="connsiteY14" fmla="*/ 163526 h 171201"/>
                            <a:gd name="connsiteX15" fmla="*/ 70766 w 93880"/>
                            <a:gd name="connsiteY15" fmla="*/ 138458 h 171201"/>
                            <a:gd name="connsiteX16" fmla="*/ 88061 w 93880"/>
                            <a:gd name="connsiteY16" fmla="*/ 116887 h 171201"/>
                            <a:gd name="connsiteX17" fmla="*/ 86507 w 93880"/>
                            <a:gd name="connsiteY17" fmla="*/ 90265 h 171201"/>
                            <a:gd name="connsiteX18" fmla="*/ 82135 w 93880"/>
                            <a:gd name="connsiteY18" fmla="*/ 43238 h 171201"/>
                            <a:gd name="connsiteX19" fmla="*/ 81454 w 93880"/>
                            <a:gd name="connsiteY19" fmla="*/ 11465 h 171201"/>
                            <a:gd name="connsiteX20" fmla="*/ 82135 w 93880"/>
                            <a:gd name="connsiteY20" fmla="*/ 0 h 17120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</a:cxnLst>
                          <a:rect l="l" t="t" r="r" b="b"/>
                          <a:pathLst>
                            <a:path w="93880" h="171201">
                              <a:moveTo>
                                <a:pt x="82135" y="0"/>
                              </a:moveTo>
                              <a:cubicBezTo>
                                <a:pt x="82523" y="0"/>
                                <a:pt x="82912" y="4081"/>
                                <a:pt x="83495" y="11562"/>
                              </a:cubicBezTo>
                              <a:cubicBezTo>
                                <a:pt x="84078" y="20113"/>
                                <a:pt x="84855" y="30704"/>
                                <a:pt x="85827" y="43141"/>
                              </a:cubicBezTo>
                              <a:cubicBezTo>
                                <a:pt x="86896" y="56452"/>
                                <a:pt x="88547" y="72290"/>
                                <a:pt x="91268" y="89682"/>
                              </a:cubicBezTo>
                              <a:cubicBezTo>
                                <a:pt x="92337" y="98329"/>
                                <a:pt x="95349" y="107657"/>
                                <a:pt x="93017" y="118151"/>
                              </a:cubicBezTo>
                              <a:cubicBezTo>
                                <a:pt x="90005" y="128547"/>
                                <a:pt x="82232" y="136320"/>
                                <a:pt x="73973" y="142539"/>
                              </a:cubicBezTo>
                              <a:cubicBezTo>
                                <a:pt x="62313" y="151186"/>
                                <a:pt x="50168" y="157599"/>
                                <a:pt x="42006" y="166829"/>
                              </a:cubicBezTo>
                              <a:lnTo>
                                <a:pt x="38120" y="171202"/>
                              </a:lnTo>
                              <a:lnTo>
                                <a:pt x="37731" y="165372"/>
                              </a:lnTo>
                              <a:cubicBezTo>
                                <a:pt x="35691" y="134668"/>
                                <a:pt x="25488" y="109406"/>
                                <a:pt x="16258" y="92985"/>
                              </a:cubicBezTo>
                              <a:cubicBezTo>
                                <a:pt x="7027" y="76468"/>
                                <a:pt x="-551" y="67917"/>
                                <a:pt x="32" y="67431"/>
                              </a:cubicBezTo>
                              <a:cubicBezTo>
                                <a:pt x="226" y="67237"/>
                                <a:pt x="2266" y="69180"/>
                                <a:pt x="5764" y="73164"/>
                              </a:cubicBezTo>
                              <a:cubicBezTo>
                                <a:pt x="9165" y="77148"/>
                                <a:pt x="13926" y="83172"/>
                                <a:pt x="18881" y="91431"/>
                              </a:cubicBezTo>
                              <a:cubicBezTo>
                                <a:pt x="28986" y="107754"/>
                                <a:pt x="40160" y="133405"/>
                                <a:pt x="42492" y="164983"/>
                              </a:cubicBezTo>
                              <a:lnTo>
                                <a:pt x="38217" y="163526"/>
                              </a:lnTo>
                              <a:cubicBezTo>
                                <a:pt x="47059" y="153421"/>
                                <a:pt x="59690" y="146717"/>
                                <a:pt x="70766" y="138458"/>
                              </a:cubicBezTo>
                              <a:cubicBezTo>
                                <a:pt x="78637" y="132531"/>
                                <a:pt x="85632" y="125244"/>
                                <a:pt x="88061" y="116887"/>
                              </a:cubicBezTo>
                              <a:cubicBezTo>
                                <a:pt x="90102" y="108337"/>
                                <a:pt x="87576" y="99107"/>
                                <a:pt x="86507" y="90265"/>
                              </a:cubicBezTo>
                              <a:cubicBezTo>
                                <a:pt x="83981" y="72678"/>
                                <a:pt x="82718" y="56646"/>
                                <a:pt x="82135" y="43238"/>
                              </a:cubicBezTo>
                              <a:cubicBezTo>
                                <a:pt x="81454" y="29829"/>
                                <a:pt x="81357" y="18947"/>
                                <a:pt x="81454" y="11465"/>
                              </a:cubicBezTo>
                              <a:cubicBezTo>
                                <a:pt x="81552" y="4178"/>
                                <a:pt x="81746" y="0"/>
                                <a:pt x="82135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  <p:grpSp>
                  <p:nvGrpSpPr>
                    <p:cNvPr id="781" name="Graphic 13">
                      <a:extLst>
                        <a:ext uri="{FF2B5EF4-FFF2-40B4-BE49-F238E27FC236}">
                          <a16:creationId xmlns:a16="http://schemas.microsoft.com/office/drawing/2014/main" id="{86B9C1F7-EEF4-4FD5-B4FF-65D2E2DE9D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72599" y="2904545"/>
                      <a:ext cx="1054280" cy="827399"/>
                      <a:chOff x="3772599" y="2904545"/>
                      <a:chExt cx="1054280" cy="827399"/>
                    </a:xfrm>
                  </p:grpSpPr>
                  <p:grpSp>
                    <p:nvGrpSpPr>
                      <p:cNvPr id="782" name="Graphic 13">
                        <a:extLst>
                          <a:ext uri="{FF2B5EF4-FFF2-40B4-BE49-F238E27FC236}">
                            <a16:creationId xmlns:a16="http://schemas.microsoft.com/office/drawing/2014/main" id="{F3D90EED-5574-4251-9DB2-40A7BD28D1E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824558" y="2904545"/>
                        <a:ext cx="1002321" cy="827399"/>
                        <a:chOff x="3824558" y="2904545"/>
                        <a:chExt cx="1002321" cy="827399"/>
                      </a:xfrm>
                    </p:grpSpPr>
                    <p:sp>
                      <p:nvSpPr>
                        <p:cNvPr id="783" name="Freeform: Shape 782">
                          <a:extLst>
                            <a:ext uri="{FF2B5EF4-FFF2-40B4-BE49-F238E27FC236}">
                              <a16:creationId xmlns:a16="http://schemas.microsoft.com/office/drawing/2014/main" id="{F3D5400F-586F-4882-BF89-E10F0B9F2C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577558" y="2904545"/>
                          <a:ext cx="249321" cy="309562"/>
                        </a:xfrm>
                        <a:custGeom>
                          <a:avLst/>
                          <a:gdLst>
                            <a:gd name="connsiteX0" fmla="*/ 219492 w 249321"/>
                            <a:gd name="connsiteY0" fmla="*/ 0 h 309562"/>
                            <a:gd name="connsiteX1" fmla="*/ 0 w 249321"/>
                            <a:gd name="connsiteY1" fmla="*/ 292559 h 309562"/>
                            <a:gd name="connsiteX2" fmla="*/ 30121 w 249321"/>
                            <a:gd name="connsiteY2" fmla="*/ 309562 h 309562"/>
                            <a:gd name="connsiteX3" fmla="*/ 249321 w 249321"/>
                            <a:gd name="connsiteY3" fmla="*/ 27594 h 309562"/>
                            <a:gd name="connsiteX4" fmla="*/ 219492 w 249321"/>
                            <a:gd name="connsiteY4" fmla="*/ 0 h 30956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49321" h="309562">
                              <a:moveTo>
                                <a:pt x="219492" y="0"/>
                              </a:moveTo>
                              <a:cubicBezTo>
                                <a:pt x="213565" y="6996"/>
                                <a:pt x="0" y="292559"/>
                                <a:pt x="0" y="292559"/>
                              </a:cubicBezTo>
                              <a:lnTo>
                                <a:pt x="30121" y="309562"/>
                              </a:lnTo>
                              <a:lnTo>
                                <a:pt x="249321" y="27594"/>
                              </a:lnTo>
                              <a:lnTo>
                                <a:pt x="219492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4" name="Freeform: Shape 783">
                          <a:extLst>
                            <a:ext uri="{FF2B5EF4-FFF2-40B4-BE49-F238E27FC236}">
                              <a16:creationId xmlns:a16="http://schemas.microsoft.com/office/drawing/2014/main" id="{0E788A06-E6EF-4561-BA8E-AC05CB1598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824558" y="3039239"/>
                          <a:ext cx="934186" cy="692704"/>
                        </a:xfrm>
                        <a:custGeom>
                          <a:avLst/>
                          <a:gdLst>
                            <a:gd name="connsiteX0" fmla="*/ 114249 w 934186"/>
                            <a:gd name="connsiteY0" fmla="*/ 91113 h 692704"/>
                            <a:gd name="connsiteX1" fmla="*/ 352493 w 934186"/>
                            <a:gd name="connsiteY1" fmla="*/ 420983 h 692704"/>
                            <a:gd name="connsiteX2" fmla="*/ 715981 w 934186"/>
                            <a:gd name="connsiteY2" fmla="*/ 142415 h 692704"/>
                            <a:gd name="connsiteX3" fmla="*/ 744742 w 934186"/>
                            <a:gd name="connsiteY3" fmla="*/ 102967 h 692704"/>
                            <a:gd name="connsiteX4" fmla="*/ 794878 w 934186"/>
                            <a:gd name="connsiteY4" fmla="*/ 460 h 692704"/>
                            <a:gd name="connsiteX5" fmla="*/ 797599 w 934186"/>
                            <a:gd name="connsiteY5" fmla="*/ 99080 h 692704"/>
                            <a:gd name="connsiteX6" fmla="*/ 894762 w 934186"/>
                            <a:gd name="connsiteY6" fmla="*/ 31649 h 692704"/>
                            <a:gd name="connsiteX7" fmla="*/ 914681 w 934186"/>
                            <a:gd name="connsiteY7" fmla="*/ 5609 h 692704"/>
                            <a:gd name="connsiteX8" fmla="*/ 934113 w 934186"/>
                            <a:gd name="connsiteY8" fmla="*/ 89558 h 692704"/>
                            <a:gd name="connsiteX9" fmla="*/ 854634 w 934186"/>
                            <a:gd name="connsiteY9" fmla="*/ 262898 h 692704"/>
                            <a:gd name="connsiteX10" fmla="*/ 287685 w 934186"/>
                            <a:gd name="connsiteY10" fmla="*/ 692651 h 692704"/>
                            <a:gd name="connsiteX11" fmla="*/ 24470 w 934186"/>
                            <a:gd name="connsiteY11" fmla="*/ 366765 h 692704"/>
                            <a:gd name="connsiteX12" fmla="*/ 79561 w 934186"/>
                            <a:gd name="connsiteY12" fmla="*/ 116473 h 692704"/>
                            <a:gd name="connsiteX13" fmla="*/ 114249 w 934186"/>
                            <a:gd name="connsiteY13" fmla="*/ 91113 h 69270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</a:cxnLst>
                          <a:rect l="l" t="t" r="r" b="b"/>
                          <a:pathLst>
                            <a:path w="934186" h="692704">
                              <a:moveTo>
                                <a:pt x="114249" y="91113"/>
                              </a:moveTo>
                              <a:cubicBezTo>
                                <a:pt x="114249" y="91113"/>
                                <a:pt x="338988" y="414570"/>
                                <a:pt x="352493" y="420983"/>
                              </a:cubicBezTo>
                              <a:cubicBezTo>
                                <a:pt x="379213" y="433517"/>
                                <a:pt x="686638" y="167775"/>
                                <a:pt x="715981" y="142415"/>
                              </a:cubicBezTo>
                              <a:cubicBezTo>
                                <a:pt x="720062" y="136974"/>
                                <a:pt x="728321" y="125606"/>
                                <a:pt x="744742" y="102967"/>
                              </a:cubicBezTo>
                              <a:cubicBezTo>
                                <a:pt x="744742" y="102967"/>
                                <a:pt x="769033" y="-7994"/>
                                <a:pt x="794878" y="460"/>
                              </a:cubicBezTo>
                              <a:cubicBezTo>
                                <a:pt x="820723" y="9010"/>
                                <a:pt x="780692" y="56911"/>
                                <a:pt x="797599" y="99080"/>
                              </a:cubicBezTo>
                              <a:cubicBezTo>
                                <a:pt x="814505" y="141249"/>
                                <a:pt x="891653" y="40685"/>
                                <a:pt x="894762" y="31649"/>
                              </a:cubicBezTo>
                              <a:lnTo>
                                <a:pt x="914681" y="5609"/>
                              </a:lnTo>
                              <a:cubicBezTo>
                                <a:pt x="914681" y="5609"/>
                                <a:pt x="935571" y="64782"/>
                                <a:pt x="934113" y="89558"/>
                              </a:cubicBezTo>
                              <a:cubicBezTo>
                                <a:pt x="929546" y="168747"/>
                                <a:pt x="854634" y="262898"/>
                                <a:pt x="854634" y="262898"/>
                              </a:cubicBezTo>
                              <a:cubicBezTo>
                                <a:pt x="854634" y="262898"/>
                                <a:pt x="518157" y="679729"/>
                                <a:pt x="287685" y="692651"/>
                              </a:cubicBezTo>
                              <a:cubicBezTo>
                                <a:pt x="221323" y="696343"/>
                                <a:pt x="103367" y="508041"/>
                                <a:pt x="24470" y="366765"/>
                              </a:cubicBezTo>
                              <a:cubicBezTo>
                                <a:pt x="-23140" y="281456"/>
                                <a:pt x="568" y="173993"/>
                                <a:pt x="79561" y="116473"/>
                              </a:cubicBezTo>
                              <a:lnTo>
                                <a:pt x="114249" y="91113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BE9D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5" name="Freeform: Shape 784">
                          <a:extLst>
                            <a:ext uri="{FF2B5EF4-FFF2-40B4-BE49-F238E27FC236}">
                              <a16:creationId xmlns:a16="http://schemas.microsoft.com/office/drawing/2014/main" id="{97E16A3B-4D26-45C3-8C57-CA91AB5B85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20817" y="3084195"/>
                          <a:ext cx="29097" cy="58608"/>
                        </a:xfrm>
                        <a:custGeom>
                          <a:avLst/>
                          <a:gdLst>
                            <a:gd name="connsiteX0" fmla="*/ 58 w 29097"/>
                            <a:gd name="connsiteY0" fmla="*/ 58594 h 58608"/>
                            <a:gd name="connsiteX1" fmla="*/ 14438 w 29097"/>
                            <a:gd name="connsiteY1" fmla="*/ 29251 h 58608"/>
                            <a:gd name="connsiteX2" fmla="*/ 29013 w 29097"/>
                            <a:gd name="connsiteY2" fmla="*/ 5 h 58608"/>
                            <a:gd name="connsiteX3" fmla="*/ 17159 w 29097"/>
                            <a:gd name="connsiteY3" fmla="*/ 30611 h 58608"/>
                            <a:gd name="connsiteX4" fmla="*/ 58 w 29097"/>
                            <a:gd name="connsiteY4" fmla="*/ 58594 h 5860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9097" h="58608">
                              <a:moveTo>
                                <a:pt x="58" y="58594"/>
                              </a:moveTo>
                              <a:cubicBezTo>
                                <a:pt x="-719" y="58108"/>
                                <a:pt x="6471" y="45380"/>
                                <a:pt x="14438" y="29251"/>
                              </a:cubicBezTo>
                              <a:cubicBezTo>
                                <a:pt x="22405" y="13122"/>
                                <a:pt x="28138" y="-287"/>
                                <a:pt x="29013" y="5"/>
                              </a:cubicBezTo>
                              <a:cubicBezTo>
                                <a:pt x="29790" y="296"/>
                                <a:pt x="25223" y="14288"/>
                                <a:pt x="17159" y="30611"/>
                              </a:cubicBezTo>
                              <a:cubicBezTo>
                                <a:pt x="9094" y="46935"/>
                                <a:pt x="738" y="59080"/>
                                <a:pt x="58" y="5859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EB996E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786" name="Graphic 13">
                        <a:extLst>
                          <a:ext uri="{FF2B5EF4-FFF2-40B4-BE49-F238E27FC236}">
                            <a16:creationId xmlns:a16="http://schemas.microsoft.com/office/drawing/2014/main" id="{EC7CEB94-7A95-4C6E-A54A-D651DB260EF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72599" y="2972462"/>
                        <a:ext cx="348096" cy="491375"/>
                        <a:chOff x="3772599" y="2972462"/>
                        <a:chExt cx="348096" cy="491375"/>
                      </a:xfrm>
                    </p:grpSpPr>
                    <p:sp>
                      <p:nvSpPr>
                        <p:cNvPr id="787" name="Freeform: Shape 786">
                          <a:extLst>
                            <a:ext uri="{FF2B5EF4-FFF2-40B4-BE49-F238E27FC236}">
                              <a16:creationId xmlns:a16="http://schemas.microsoft.com/office/drawing/2014/main" id="{E9D83A81-1096-4FCD-8F3E-838F454CA80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72599" y="2972462"/>
                          <a:ext cx="344793" cy="491354"/>
                        </a:xfrm>
                        <a:custGeom>
                          <a:avLst/>
                          <a:gdLst>
                            <a:gd name="connsiteX0" fmla="*/ 128216 w 344793"/>
                            <a:gd name="connsiteY0" fmla="*/ 0 h 491354"/>
                            <a:gd name="connsiteX1" fmla="*/ 66323 w 344793"/>
                            <a:gd name="connsiteY1" fmla="*/ 491355 h 491354"/>
                            <a:gd name="connsiteX2" fmla="*/ 344793 w 344793"/>
                            <a:gd name="connsiteY2" fmla="*/ 323262 h 491354"/>
                            <a:gd name="connsiteX3" fmla="*/ 305151 w 344793"/>
                            <a:gd name="connsiteY3" fmla="*/ 228431 h 491354"/>
                            <a:gd name="connsiteX4" fmla="*/ 128216 w 344793"/>
                            <a:gd name="connsiteY4" fmla="*/ 0 h 49135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344793" h="491354">
                              <a:moveTo>
                                <a:pt x="128216" y="0"/>
                              </a:moveTo>
                              <a:cubicBezTo>
                                <a:pt x="128216" y="0"/>
                                <a:pt x="-113040" y="85795"/>
                                <a:pt x="66323" y="491355"/>
                              </a:cubicBezTo>
                              <a:lnTo>
                                <a:pt x="344793" y="323262"/>
                              </a:lnTo>
                              <a:lnTo>
                                <a:pt x="305151" y="228431"/>
                              </a:lnTo>
                              <a:lnTo>
                                <a:pt x="1282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455A64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8" name="Freeform: Shape 787">
                          <a:extLst>
                            <a:ext uri="{FF2B5EF4-FFF2-40B4-BE49-F238E27FC236}">
                              <a16:creationId xmlns:a16="http://schemas.microsoft.com/office/drawing/2014/main" id="{400765DC-B2FB-40A5-A3FF-75F98ADD27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839016" y="2979192"/>
                          <a:ext cx="281680" cy="484646"/>
                        </a:xfrm>
                        <a:custGeom>
                          <a:avLst/>
                          <a:gdLst>
                            <a:gd name="connsiteX0" fmla="*/ 43339 w 281680"/>
                            <a:gd name="connsiteY0" fmla="*/ 363 h 484646"/>
                            <a:gd name="connsiteX1" fmla="*/ 72390 w 281680"/>
                            <a:gd name="connsiteY1" fmla="*/ 2792 h 484646"/>
                            <a:gd name="connsiteX2" fmla="*/ 104066 w 281680"/>
                            <a:gd name="connsiteY2" fmla="*/ 16104 h 484646"/>
                            <a:gd name="connsiteX3" fmla="*/ 139239 w 281680"/>
                            <a:gd name="connsiteY3" fmla="*/ 44961 h 484646"/>
                            <a:gd name="connsiteX4" fmla="*/ 204727 w 281680"/>
                            <a:gd name="connsiteY4" fmla="*/ 142805 h 484646"/>
                            <a:gd name="connsiteX5" fmla="*/ 263705 w 281680"/>
                            <a:gd name="connsiteY5" fmla="*/ 274364 h 484646"/>
                            <a:gd name="connsiteX6" fmla="*/ 280806 w 281680"/>
                            <a:gd name="connsiteY6" fmla="*/ 315658 h 484646"/>
                            <a:gd name="connsiteX7" fmla="*/ 281680 w 281680"/>
                            <a:gd name="connsiteY7" fmla="*/ 317796 h 484646"/>
                            <a:gd name="connsiteX8" fmla="*/ 279737 w 281680"/>
                            <a:gd name="connsiteY8" fmla="*/ 318865 h 484646"/>
                            <a:gd name="connsiteX9" fmla="*/ 79386 w 281680"/>
                            <a:gd name="connsiteY9" fmla="*/ 434683 h 484646"/>
                            <a:gd name="connsiteX10" fmla="*/ 21283 w 281680"/>
                            <a:gd name="connsiteY10" fmla="*/ 471411 h 484646"/>
                            <a:gd name="connsiteX11" fmla="*/ 5639 w 281680"/>
                            <a:gd name="connsiteY11" fmla="*/ 481419 h 484646"/>
                            <a:gd name="connsiteX12" fmla="*/ 4 w 281680"/>
                            <a:gd name="connsiteY12" fmla="*/ 484625 h 484646"/>
                            <a:gd name="connsiteX13" fmla="*/ 5056 w 281680"/>
                            <a:gd name="connsiteY13" fmla="*/ 480642 h 484646"/>
                            <a:gd name="connsiteX14" fmla="*/ 20214 w 281680"/>
                            <a:gd name="connsiteY14" fmla="*/ 469857 h 484646"/>
                            <a:gd name="connsiteX15" fmla="*/ 77540 w 281680"/>
                            <a:gd name="connsiteY15" fmla="*/ 431768 h 484646"/>
                            <a:gd name="connsiteX16" fmla="*/ 277211 w 281680"/>
                            <a:gd name="connsiteY16" fmla="*/ 314395 h 484646"/>
                            <a:gd name="connsiteX17" fmla="*/ 276142 w 281680"/>
                            <a:gd name="connsiteY17" fmla="*/ 317602 h 484646"/>
                            <a:gd name="connsiteX18" fmla="*/ 259041 w 281680"/>
                            <a:gd name="connsiteY18" fmla="*/ 276307 h 484646"/>
                            <a:gd name="connsiteX19" fmla="*/ 200549 w 281680"/>
                            <a:gd name="connsiteY19" fmla="*/ 144942 h 484646"/>
                            <a:gd name="connsiteX20" fmla="*/ 136615 w 281680"/>
                            <a:gd name="connsiteY20" fmla="*/ 47390 h 484646"/>
                            <a:gd name="connsiteX21" fmla="*/ 102608 w 281680"/>
                            <a:gd name="connsiteY21" fmla="*/ 18533 h 484646"/>
                            <a:gd name="connsiteX22" fmla="*/ 72002 w 281680"/>
                            <a:gd name="connsiteY22" fmla="*/ 4638 h 484646"/>
                            <a:gd name="connsiteX23" fmla="*/ 43339 w 281680"/>
                            <a:gd name="connsiteY23" fmla="*/ 363 h 48464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</a:cxnLst>
                          <a:rect l="l" t="t" r="r" b="b"/>
                          <a:pathLst>
                            <a:path w="281680" h="484646">
                              <a:moveTo>
                                <a:pt x="43339" y="363"/>
                              </a:moveTo>
                              <a:cubicBezTo>
                                <a:pt x="43339" y="363"/>
                                <a:pt x="53832" y="-1386"/>
                                <a:pt x="72390" y="2792"/>
                              </a:cubicBezTo>
                              <a:cubicBezTo>
                                <a:pt x="81524" y="5124"/>
                                <a:pt x="92503" y="9205"/>
                                <a:pt x="104066" y="16104"/>
                              </a:cubicBezTo>
                              <a:cubicBezTo>
                                <a:pt x="115628" y="23002"/>
                                <a:pt x="127579" y="32719"/>
                                <a:pt x="139239" y="44961"/>
                              </a:cubicBezTo>
                              <a:cubicBezTo>
                                <a:pt x="162655" y="69349"/>
                                <a:pt x="184517" y="103453"/>
                                <a:pt x="204727" y="142805"/>
                              </a:cubicBezTo>
                              <a:cubicBezTo>
                                <a:pt x="225131" y="182253"/>
                                <a:pt x="244175" y="227142"/>
                                <a:pt x="263705" y="274364"/>
                              </a:cubicBezTo>
                              <a:cubicBezTo>
                                <a:pt x="269535" y="288550"/>
                                <a:pt x="275365" y="302444"/>
                                <a:pt x="280806" y="315658"/>
                              </a:cubicBezTo>
                              <a:lnTo>
                                <a:pt x="281680" y="317796"/>
                              </a:lnTo>
                              <a:lnTo>
                                <a:pt x="279737" y="318865"/>
                              </a:lnTo>
                              <a:cubicBezTo>
                                <a:pt x="199189" y="362782"/>
                                <a:pt x="129037" y="403883"/>
                                <a:pt x="79386" y="434683"/>
                              </a:cubicBezTo>
                              <a:cubicBezTo>
                                <a:pt x="54610" y="450035"/>
                                <a:pt x="34788" y="462666"/>
                                <a:pt x="21283" y="471411"/>
                              </a:cubicBezTo>
                              <a:cubicBezTo>
                                <a:pt x="14773" y="475589"/>
                                <a:pt x="9623" y="478893"/>
                                <a:pt x="5639" y="481419"/>
                              </a:cubicBezTo>
                              <a:cubicBezTo>
                                <a:pt x="2044" y="483654"/>
                                <a:pt x="101" y="484820"/>
                                <a:pt x="4" y="484625"/>
                              </a:cubicBezTo>
                              <a:cubicBezTo>
                                <a:pt x="-93" y="484528"/>
                                <a:pt x="1655" y="483071"/>
                                <a:pt x="5056" y="480642"/>
                              </a:cubicBezTo>
                              <a:cubicBezTo>
                                <a:pt x="8457" y="478115"/>
                                <a:pt x="13509" y="474423"/>
                                <a:pt x="20214" y="469857"/>
                              </a:cubicBezTo>
                              <a:cubicBezTo>
                                <a:pt x="33428" y="460626"/>
                                <a:pt x="52958" y="447509"/>
                                <a:pt x="77540" y="431768"/>
                              </a:cubicBezTo>
                              <a:cubicBezTo>
                                <a:pt x="126705" y="400190"/>
                                <a:pt x="196662" y="358507"/>
                                <a:pt x="277211" y="314395"/>
                              </a:cubicBezTo>
                              <a:lnTo>
                                <a:pt x="276142" y="317602"/>
                              </a:lnTo>
                              <a:cubicBezTo>
                                <a:pt x="270701" y="304387"/>
                                <a:pt x="264871" y="290493"/>
                                <a:pt x="259041" y="276307"/>
                              </a:cubicBezTo>
                              <a:cubicBezTo>
                                <a:pt x="239511" y="229086"/>
                                <a:pt x="220662" y="184293"/>
                                <a:pt x="200549" y="144942"/>
                              </a:cubicBezTo>
                              <a:cubicBezTo>
                                <a:pt x="180630" y="105591"/>
                                <a:pt x="159254" y="71681"/>
                                <a:pt x="136615" y="47390"/>
                              </a:cubicBezTo>
                              <a:cubicBezTo>
                                <a:pt x="125344" y="35245"/>
                                <a:pt x="113782" y="25528"/>
                                <a:pt x="102608" y="18533"/>
                              </a:cubicBezTo>
                              <a:cubicBezTo>
                                <a:pt x="91435" y="11537"/>
                                <a:pt x="80844" y="7262"/>
                                <a:pt x="72002" y="4638"/>
                              </a:cubicBezTo>
                              <a:cubicBezTo>
                                <a:pt x="53832" y="-25"/>
                                <a:pt x="43241" y="1043"/>
                                <a:pt x="43339" y="36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</p:grpSp>
              <p:sp>
                <p:nvSpPr>
                  <p:cNvPr id="789" name="Freeform: Shape 788">
                    <a:extLst>
                      <a:ext uri="{FF2B5EF4-FFF2-40B4-BE49-F238E27FC236}">
                        <a16:creationId xmlns:a16="http://schemas.microsoft.com/office/drawing/2014/main" id="{0C6641A5-0520-423C-A637-4AAAF4405B13}"/>
                      </a:ext>
                    </a:extLst>
                  </p:cNvPr>
                  <p:cNvSpPr/>
                  <p:nvPr/>
                </p:nvSpPr>
                <p:spPr>
                  <a:xfrm>
                    <a:off x="4206291" y="2378114"/>
                    <a:ext cx="196889" cy="84059"/>
                  </a:xfrm>
                  <a:custGeom>
                    <a:avLst/>
                    <a:gdLst>
                      <a:gd name="connsiteX0" fmla="*/ 194916 w 196889"/>
                      <a:gd name="connsiteY0" fmla="*/ 0 h 84059"/>
                      <a:gd name="connsiteX1" fmla="*/ 196082 w 196889"/>
                      <a:gd name="connsiteY1" fmla="*/ 4275 h 84059"/>
                      <a:gd name="connsiteX2" fmla="*/ 196762 w 196889"/>
                      <a:gd name="connsiteY2" fmla="*/ 16906 h 84059"/>
                      <a:gd name="connsiteX3" fmla="*/ 178399 w 196889"/>
                      <a:gd name="connsiteY3" fmla="*/ 58978 h 84059"/>
                      <a:gd name="connsiteX4" fmla="*/ 113493 w 196889"/>
                      <a:gd name="connsiteY4" fmla="*/ 75399 h 84059"/>
                      <a:gd name="connsiteX5" fmla="*/ 80264 w 196889"/>
                      <a:gd name="connsiteY5" fmla="*/ 51302 h 84059"/>
                      <a:gd name="connsiteX6" fmla="*/ 75308 w 196889"/>
                      <a:gd name="connsiteY6" fmla="*/ 29343 h 84059"/>
                      <a:gd name="connsiteX7" fmla="*/ 87259 w 196889"/>
                      <a:gd name="connsiteY7" fmla="*/ 9328 h 84059"/>
                      <a:gd name="connsiteX8" fmla="*/ 110579 w 196889"/>
                      <a:gd name="connsiteY8" fmla="*/ 7870 h 84059"/>
                      <a:gd name="connsiteX9" fmla="*/ 126513 w 196889"/>
                      <a:gd name="connsiteY9" fmla="*/ 23902 h 84059"/>
                      <a:gd name="connsiteX10" fmla="*/ 120101 w 196889"/>
                      <a:gd name="connsiteY10" fmla="*/ 64322 h 84059"/>
                      <a:gd name="connsiteX11" fmla="*/ 56361 w 196889"/>
                      <a:gd name="connsiteY11" fmla="*/ 78216 h 84059"/>
                      <a:gd name="connsiteX12" fmla="*/ 32362 w 196889"/>
                      <a:gd name="connsiteY12" fmla="*/ 68986 h 84059"/>
                      <a:gd name="connsiteX13" fmla="*/ 13804 w 196889"/>
                      <a:gd name="connsiteY13" fmla="*/ 70929 h 84059"/>
                      <a:gd name="connsiteX14" fmla="*/ 7 w 196889"/>
                      <a:gd name="connsiteY14" fmla="*/ 80063 h 84059"/>
                      <a:gd name="connsiteX15" fmla="*/ 2824 w 196889"/>
                      <a:gd name="connsiteY15" fmla="*/ 76759 h 84059"/>
                      <a:gd name="connsiteX16" fmla="*/ 6808 w 196889"/>
                      <a:gd name="connsiteY16" fmla="*/ 73164 h 84059"/>
                      <a:gd name="connsiteX17" fmla="*/ 13026 w 196889"/>
                      <a:gd name="connsiteY17" fmla="*/ 69180 h 84059"/>
                      <a:gd name="connsiteX18" fmla="*/ 32945 w 196889"/>
                      <a:gd name="connsiteY18" fmla="*/ 66265 h 84059"/>
                      <a:gd name="connsiteX19" fmla="*/ 57916 w 196889"/>
                      <a:gd name="connsiteY19" fmla="*/ 75010 h 84059"/>
                      <a:gd name="connsiteX20" fmla="*/ 71907 w 196889"/>
                      <a:gd name="connsiteY20" fmla="*/ 79674 h 84059"/>
                      <a:gd name="connsiteX21" fmla="*/ 87551 w 196889"/>
                      <a:gd name="connsiteY21" fmla="*/ 79382 h 84059"/>
                      <a:gd name="connsiteX22" fmla="*/ 116408 w 196889"/>
                      <a:gd name="connsiteY22" fmla="*/ 61699 h 84059"/>
                      <a:gd name="connsiteX23" fmla="*/ 121947 w 196889"/>
                      <a:gd name="connsiteY23" fmla="*/ 25943 h 84059"/>
                      <a:gd name="connsiteX24" fmla="*/ 89980 w 196889"/>
                      <a:gd name="connsiteY24" fmla="*/ 13700 h 84059"/>
                      <a:gd name="connsiteX25" fmla="*/ 80264 w 196889"/>
                      <a:gd name="connsiteY25" fmla="*/ 30218 h 84059"/>
                      <a:gd name="connsiteX26" fmla="*/ 84539 w 196889"/>
                      <a:gd name="connsiteY26" fmla="*/ 48970 h 84059"/>
                      <a:gd name="connsiteX27" fmla="*/ 114854 w 196889"/>
                      <a:gd name="connsiteY27" fmla="*/ 71124 h 84059"/>
                      <a:gd name="connsiteX28" fmla="*/ 175970 w 196889"/>
                      <a:gd name="connsiteY28" fmla="*/ 56646 h 84059"/>
                      <a:gd name="connsiteX29" fmla="*/ 194916 w 196889"/>
                      <a:gd name="connsiteY29" fmla="*/ 16906 h 84059"/>
                      <a:gd name="connsiteX30" fmla="*/ 194916 w 196889"/>
                      <a:gd name="connsiteY30" fmla="*/ 0 h 840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196889" h="84059">
                        <a:moveTo>
                          <a:pt x="194916" y="0"/>
                        </a:moveTo>
                        <a:cubicBezTo>
                          <a:pt x="195111" y="0"/>
                          <a:pt x="195499" y="1457"/>
                          <a:pt x="196082" y="4275"/>
                        </a:cubicBezTo>
                        <a:cubicBezTo>
                          <a:pt x="196568" y="7093"/>
                          <a:pt x="197151" y="11368"/>
                          <a:pt x="196762" y="16906"/>
                        </a:cubicBezTo>
                        <a:cubicBezTo>
                          <a:pt x="196179" y="27692"/>
                          <a:pt x="192293" y="44404"/>
                          <a:pt x="178399" y="58978"/>
                        </a:cubicBezTo>
                        <a:cubicBezTo>
                          <a:pt x="164893" y="73553"/>
                          <a:pt x="139339" y="82783"/>
                          <a:pt x="113493" y="75399"/>
                        </a:cubicBezTo>
                        <a:cubicBezTo>
                          <a:pt x="100862" y="71707"/>
                          <a:pt x="88037" y="64031"/>
                          <a:pt x="80264" y="51302"/>
                        </a:cubicBezTo>
                        <a:cubicBezTo>
                          <a:pt x="76474" y="44987"/>
                          <a:pt x="74240" y="37214"/>
                          <a:pt x="75308" y="29343"/>
                        </a:cubicBezTo>
                        <a:cubicBezTo>
                          <a:pt x="76377" y="21667"/>
                          <a:pt x="80264" y="13894"/>
                          <a:pt x="87259" y="9328"/>
                        </a:cubicBezTo>
                        <a:cubicBezTo>
                          <a:pt x="94255" y="4567"/>
                          <a:pt x="103486" y="4664"/>
                          <a:pt x="110579" y="7870"/>
                        </a:cubicBezTo>
                        <a:cubicBezTo>
                          <a:pt x="117769" y="10882"/>
                          <a:pt x="123696" y="16809"/>
                          <a:pt x="126513" y="23902"/>
                        </a:cubicBezTo>
                        <a:cubicBezTo>
                          <a:pt x="132246" y="38185"/>
                          <a:pt x="127971" y="53537"/>
                          <a:pt x="120101" y="64322"/>
                        </a:cubicBezTo>
                        <a:cubicBezTo>
                          <a:pt x="103389" y="86475"/>
                          <a:pt x="73171" y="88224"/>
                          <a:pt x="56361" y="78216"/>
                        </a:cubicBezTo>
                        <a:cubicBezTo>
                          <a:pt x="47520" y="74136"/>
                          <a:pt x="39746" y="70346"/>
                          <a:pt x="32362" y="68986"/>
                        </a:cubicBezTo>
                        <a:cubicBezTo>
                          <a:pt x="25075" y="67528"/>
                          <a:pt x="18565" y="68792"/>
                          <a:pt x="13804" y="70929"/>
                        </a:cubicBezTo>
                        <a:cubicBezTo>
                          <a:pt x="4282" y="75496"/>
                          <a:pt x="395" y="80548"/>
                          <a:pt x="7" y="80063"/>
                        </a:cubicBezTo>
                        <a:cubicBezTo>
                          <a:pt x="-91" y="79965"/>
                          <a:pt x="881" y="78799"/>
                          <a:pt x="2824" y="76759"/>
                        </a:cubicBezTo>
                        <a:cubicBezTo>
                          <a:pt x="3796" y="75690"/>
                          <a:pt x="5059" y="74427"/>
                          <a:pt x="6808" y="73164"/>
                        </a:cubicBezTo>
                        <a:cubicBezTo>
                          <a:pt x="8460" y="71901"/>
                          <a:pt x="10403" y="70346"/>
                          <a:pt x="13026" y="69180"/>
                        </a:cubicBezTo>
                        <a:cubicBezTo>
                          <a:pt x="17885" y="66557"/>
                          <a:pt x="24978" y="64905"/>
                          <a:pt x="32945" y="66265"/>
                        </a:cubicBezTo>
                        <a:cubicBezTo>
                          <a:pt x="40912" y="67431"/>
                          <a:pt x="49074" y="71221"/>
                          <a:pt x="57916" y="75010"/>
                        </a:cubicBezTo>
                        <a:cubicBezTo>
                          <a:pt x="62386" y="76759"/>
                          <a:pt x="66952" y="78799"/>
                          <a:pt x="71907" y="79674"/>
                        </a:cubicBezTo>
                        <a:cubicBezTo>
                          <a:pt x="76766" y="80548"/>
                          <a:pt x="82207" y="80451"/>
                          <a:pt x="87551" y="79382"/>
                        </a:cubicBezTo>
                        <a:cubicBezTo>
                          <a:pt x="98239" y="77439"/>
                          <a:pt x="109218" y="71609"/>
                          <a:pt x="116408" y="61699"/>
                        </a:cubicBezTo>
                        <a:cubicBezTo>
                          <a:pt x="123404" y="52079"/>
                          <a:pt x="126902" y="37991"/>
                          <a:pt x="121947" y="25943"/>
                        </a:cubicBezTo>
                        <a:cubicBezTo>
                          <a:pt x="117574" y="14186"/>
                          <a:pt x="101251" y="6316"/>
                          <a:pt x="89980" y="13700"/>
                        </a:cubicBezTo>
                        <a:cubicBezTo>
                          <a:pt x="84539" y="17295"/>
                          <a:pt x="81138" y="23708"/>
                          <a:pt x="80264" y="30218"/>
                        </a:cubicBezTo>
                        <a:cubicBezTo>
                          <a:pt x="79292" y="36728"/>
                          <a:pt x="81138" y="43335"/>
                          <a:pt x="84539" y="48970"/>
                        </a:cubicBezTo>
                        <a:cubicBezTo>
                          <a:pt x="91340" y="60241"/>
                          <a:pt x="103097" y="67626"/>
                          <a:pt x="114854" y="71124"/>
                        </a:cubicBezTo>
                        <a:cubicBezTo>
                          <a:pt x="138853" y="78314"/>
                          <a:pt x="162949" y="70152"/>
                          <a:pt x="175970" y="56646"/>
                        </a:cubicBezTo>
                        <a:cubicBezTo>
                          <a:pt x="189475" y="43238"/>
                          <a:pt x="193848" y="27400"/>
                          <a:pt x="194916" y="16906"/>
                        </a:cubicBezTo>
                        <a:cubicBezTo>
                          <a:pt x="195985" y="6024"/>
                          <a:pt x="194333" y="97"/>
                          <a:pt x="194916" y="0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0" name="Freeform: Shape 789">
                    <a:extLst>
                      <a:ext uri="{FF2B5EF4-FFF2-40B4-BE49-F238E27FC236}">
                        <a16:creationId xmlns:a16="http://schemas.microsoft.com/office/drawing/2014/main" id="{464891E2-159C-4470-AA31-452E18A89976}"/>
                      </a:ext>
                    </a:extLst>
                  </p:cNvPr>
                  <p:cNvSpPr/>
                  <p:nvPr/>
                </p:nvSpPr>
                <p:spPr>
                  <a:xfrm>
                    <a:off x="4300949" y="2720478"/>
                    <a:ext cx="47694" cy="26216"/>
                  </a:xfrm>
                  <a:custGeom>
                    <a:avLst/>
                    <a:gdLst>
                      <a:gd name="connsiteX0" fmla="*/ 47692 w 47694"/>
                      <a:gd name="connsiteY0" fmla="*/ 24038 h 26216"/>
                      <a:gd name="connsiteX1" fmla="*/ 39336 w 47694"/>
                      <a:gd name="connsiteY1" fmla="*/ 26176 h 26216"/>
                      <a:gd name="connsiteX2" fmla="*/ 19126 w 47694"/>
                      <a:gd name="connsiteY2" fmla="*/ 21512 h 26216"/>
                      <a:gd name="connsiteX3" fmla="*/ 3386 w 47694"/>
                      <a:gd name="connsiteY3" fmla="*/ 8006 h 26216"/>
                      <a:gd name="connsiteX4" fmla="*/ 180 w 47694"/>
                      <a:gd name="connsiteY4" fmla="*/ 39 h 26216"/>
                      <a:gd name="connsiteX5" fmla="*/ 21458 w 47694"/>
                      <a:gd name="connsiteY5" fmla="*/ 16945 h 26216"/>
                      <a:gd name="connsiteX6" fmla="*/ 47692 w 47694"/>
                      <a:gd name="connsiteY6" fmla="*/ 24038 h 262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694" h="26216">
                        <a:moveTo>
                          <a:pt x="47692" y="24038"/>
                        </a:moveTo>
                        <a:cubicBezTo>
                          <a:pt x="47790" y="24621"/>
                          <a:pt x="44680" y="25884"/>
                          <a:pt x="39336" y="26176"/>
                        </a:cubicBezTo>
                        <a:cubicBezTo>
                          <a:pt x="33992" y="26467"/>
                          <a:pt x="26511" y="25204"/>
                          <a:pt x="19126" y="21512"/>
                        </a:cubicBezTo>
                        <a:cubicBezTo>
                          <a:pt x="11839" y="17820"/>
                          <a:pt x="6398" y="12476"/>
                          <a:pt x="3386" y="8006"/>
                        </a:cubicBezTo>
                        <a:cubicBezTo>
                          <a:pt x="374" y="3537"/>
                          <a:pt x="-403" y="330"/>
                          <a:pt x="180" y="39"/>
                        </a:cubicBezTo>
                        <a:cubicBezTo>
                          <a:pt x="1443" y="-738"/>
                          <a:pt x="7953" y="10338"/>
                          <a:pt x="21458" y="16945"/>
                        </a:cubicBezTo>
                        <a:cubicBezTo>
                          <a:pt x="34867" y="23941"/>
                          <a:pt x="47595" y="22581"/>
                          <a:pt x="47692" y="24038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1" name="Freeform: Shape 790">
                    <a:extLst>
                      <a:ext uri="{FF2B5EF4-FFF2-40B4-BE49-F238E27FC236}">
                        <a16:creationId xmlns:a16="http://schemas.microsoft.com/office/drawing/2014/main" id="{E300ACAF-DD39-4BEE-9F47-71B2C8FDDAFB}"/>
                      </a:ext>
                    </a:extLst>
                  </p:cNvPr>
                  <p:cNvSpPr/>
                  <p:nvPr/>
                </p:nvSpPr>
                <p:spPr>
                  <a:xfrm>
                    <a:off x="4062096" y="2685066"/>
                    <a:ext cx="33226" cy="35838"/>
                  </a:xfrm>
                  <a:custGeom>
                    <a:avLst/>
                    <a:gdLst>
                      <a:gd name="connsiteX0" fmla="*/ 31784 w 33226"/>
                      <a:gd name="connsiteY0" fmla="*/ 16504 h 35838"/>
                      <a:gd name="connsiteX1" fmla="*/ 31395 w 33226"/>
                      <a:gd name="connsiteY1" fmla="*/ 27484 h 35838"/>
                      <a:gd name="connsiteX2" fmla="*/ 21484 w 33226"/>
                      <a:gd name="connsiteY2" fmla="*/ 35354 h 35838"/>
                      <a:gd name="connsiteX3" fmla="*/ 6424 w 33226"/>
                      <a:gd name="connsiteY3" fmla="*/ 31370 h 35838"/>
                      <a:gd name="connsiteX4" fmla="*/ 11 w 33226"/>
                      <a:gd name="connsiteY4" fmla="*/ 17281 h 35838"/>
                      <a:gd name="connsiteX5" fmla="*/ 4481 w 33226"/>
                      <a:gd name="connsiteY5" fmla="*/ 5622 h 35838"/>
                      <a:gd name="connsiteX6" fmla="*/ 14003 w 33226"/>
                      <a:gd name="connsiteY6" fmla="*/ 181 h 35838"/>
                      <a:gd name="connsiteX7" fmla="*/ 7396 w 33226"/>
                      <a:gd name="connsiteY7" fmla="*/ 7759 h 35838"/>
                      <a:gd name="connsiteX8" fmla="*/ 9728 w 33226"/>
                      <a:gd name="connsiteY8" fmla="*/ 27581 h 35838"/>
                      <a:gd name="connsiteX9" fmla="*/ 20416 w 33226"/>
                      <a:gd name="connsiteY9" fmla="*/ 30787 h 35838"/>
                      <a:gd name="connsiteX10" fmla="*/ 28383 w 33226"/>
                      <a:gd name="connsiteY10" fmla="*/ 25540 h 35838"/>
                      <a:gd name="connsiteX11" fmla="*/ 31784 w 33226"/>
                      <a:gd name="connsiteY11" fmla="*/ 16504 h 358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3226" h="35838">
                        <a:moveTo>
                          <a:pt x="31784" y="16504"/>
                        </a:moveTo>
                        <a:cubicBezTo>
                          <a:pt x="32270" y="16115"/>
                          <a:pt x="34990" y="20779"/>
                          <a:pt x="31395" y="27484"/>
                        </a:cubicBezTo>
                        <a:cubicBezTo>
                          <a:pt x="29646" y="30593"/>
                          <a:pt x="26440" y="33994"/>
                          <a:pt x="21484" y="35354"/>
                        </a:cubicBezTo>
                        <a:cubicBezTo>
                          <a:pt x="16529" y="36714"/>
                          <a:pt x="10602" y="35159"/>
                          <a:pt x="6424" y="31370"/>
                        </a:cubicBezTo>
                        <a:cubicBezTo>
                          <a:pt x="2149" y="27678"/>
                          <a:pt x="-183" y="22237"/>
                          <a:pt x="11" y="17281"/>
                        </a:cubicBezTo>
                        <a:cubicBezTo>
                          <a:pt x="205" y="12326"/>
                          <a:pt x="2246" y="8342"/>
                          <a:pt x="4481" y="5622"/>
                        </a:cubicBezTo>
                        <a:cubicBezTo>
                          <a:pt x="9145" y="181"/>
                          <a:pt x="13906" y="-402"/>
                          <a:pt x="14003" y="181"/>
                        </a:cubicBezTo>
                        <a:cubicBezTo>
                          <a:pt x="14392" y="861"/>
                          <a:pt x="10602" y="2610"/>
                          <a:pt x="7396" y="7759"/>
                        </a:cubicBezTo>
                        <a:cubicBezTo>
                          <a:pt x="4092" y="12520"/>
                          <a:pt x="2829" y="21848"/>
                          <a:pt x="9728" y="27581"/>
                        </a:cubicBezTo>
                        <a:cubicBezTo>
                          <a:pt x="12934" y="30301"/>
                          <a:pt x="17015" y="31564"/>
                          <a:pt x="20416" y="30787"/>
                        </a:cubicBezTo>
                        <a:cubicBezTo>
                          <a:pt x="23913" y="30107"/>
                          <a:pt x="26634" y="27872"/>
                          <a:pt x="28383" y="25540"/>
                        </a:cubicBezTo>
                        <a:cubicBezTo>
                          <a:pt x="31978" y="20876"/>
                          <a:pt x="31006" y="16601"/>
                          <a:pt x="31784" y="16504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92" name="Freeform: Shape 791">
                    <a:extLst>
                      <a:ext uri="{FF2B5EF4-FFF2-40B4-BE49-F238E27FC236}">
                        <a16:creationId xmlns:a16="http://schemas.microsoft.com/office/drawing/2014/main" id="{42ED445D-7974-43E6-AB92-2D39AC82259A}"/>
                      </a:ext>
                    </a:extLst>
                  </p:cNvPr>
                  <p:cNvSpPr/>
                  <p:nvPr/>
                </p:nvSpPr>
                <p:spPr>
                  <a:xfrm>
                    <a:off x="4349515" y="2410853"/>
                    <a:ext cx="72472" cy="80410"/>
                  </a:xfrm>
                  <a:custGeom>
                    <a:avLst/>
                    <a:gdLst>
                      <a:gd name="connsiteX0" fmla="*/ 67724 w 72472"/>
                      <a:gd name="connsiteY0" fmla="*/ 4 h 80410"/>
                      <a:gd name="connsiteX1" fmla="*/ 72388 w 72472"/>
                      <a:gd name="connsiteY1" fmla="*/ 17882 h 80410"/>
                      <a:gd name="connsiteX2" fmla="*/ 58008 w 72472"/>
                      <a:gd name="connsiteY2" fmla="*/ 59954 h 80410"/>
                      <a:gd name="connsiteX3" fmla="*/ 18365 w 72472"/>
                      <a:gd name="connsiteY3" fmla="*/ 80164 h 80410"/>
                      <a:gd name="connsiteX4" fmla="*/ 1 w 72472"/>
                      <a:gd name="connsiteY4" fmla="*/ 78026 h 80410"/>
                      <a:gd name="connsiteX5" fmla="*/ 17879 w 72472"/>
                      <a:gd name="connsiteY5" fmla="*/ 76569 h 80410"/>
                      <a:gd name="connsiteX6" fmla="*/ 54121 w 72472"/>
                      <a:gd name="connsiteY6" fmla="*/ 56553 h 80410"/>
                      <a:gd name="connsiteX7" fmla="*/ 68793 w 72472"/>
                      <a:gd name="connsiteY7" fmla="*/ 17882 h 80410"/>
                      <a:gd name="connsiteX8" fmla="*/ 67724 w 72472"/>
                      <a:gd name="connsiteY8" fmla="*/ 4 h 804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2472" h="80410">
                        <a:moveTo>
                          <a:pt x="67724" y="4"/>
                        </a:moveTo>
                        <a:cubicBezTo>
                          <a:pt x="68210" y="-190"/>
                          <a:pt x="71805" y="6223"/>
                          <a:pt x="72388" y="17882"/>
                        </a:cubicBezTo>
                        <a:cubicBezTo>
                          <a:pt x="73068" y="29250"/>
                          <a:pt x="69765" y="46254"/>
                          <a:pt x="58008" y="59954"/>
                        </a:cubicBezTo>
                        <a:cubicBezTo>
                          <a:pt x="46057" y="73654"/>
                          <a:pt x="29830" y="79290"/>
                          <a:pt x="18365" y="80164"/>
                        </a:cubicBezTo>
                        <a:cubicBezTo>
                          <a:pt x="6803" y="81233"/>
                          <a:pt x="-96" y="78512"/>
                          <a:pt x="1" y="78026"/>
                        </a:cubicBezTo>
                        <a:cubicBezTo>
                          <a:pt x="98" y="77152"/>
                          <a:pt x="7094" y="78415"/>
                          <a:pt x="17879" y="76569"/>
                        </a:cubicBezTo>
                        <a:cubicBezTo>
                          <a:pt x="28470" y="74820"/>
                          <a:pt x="43239" y="68990"/>
                          <a:pt x="54121" y="56553"/>
                        </a:cubicBezTo>
                        <a:cubicBezTo>
                          <a:pt x="64906" y="44019"/>
                          <a:pt x="68598" y="28570"/>
                          <a:pt x="68793" y="17882"/>
                        </a:cubicBezTo>
                        <a:cubicBezTo>
                          <a:pt x="69084" y="6903"/>
                          <a:pt x="66849" y="199"/>
                          <a:pt x="67724" y="4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793" name="Freeform: Shape 792">
                  <a:extLst>
                    <a:ext uri="{FF2B5EF4-FFF2-40B4-BE49-F238E27FC236}">
                      <a16:creationId xmlns:a16="http://schemas.microsoft.com/office/drawing/2014/main" id="{51EAA81B-8EB4-466B-AF47-5568C1784B61}"/>
                    </a:ext>
                  </a:extLst>
                </p:cNvPr>
                <p:cNvSpPr/>
                <p:nvPr/>
              </p:nvSpPr>
              <p:spPr>
                <a:xfrm>
                  <a:off x="3800151" y="3223786"/>
                  <a:ext cx="288485" cy="142705"/>
                </a:xfrm>
                <a:custGeom>
                  <a:avLst/>
                  <a:gdLst>
                    <a:gd name="connsiteX0" fmla="*/ 288482 w 288485"/>
                    <a:gd name="connsiteY0" fmla="*/ 37 h 142705"/>
                    <a:gd name="connsiteX1" fmla="*/ 145360 w 288485"/>
                    <a:gd name="connsiteY1" fmla="*/ 73590 h 142705"/>
                    <a:gd name="connsiteX2" fmla="*/ 4 w 288485"/>
                    <a:gd name="connsiteY2" fmla="*/ 142673 h 142705"/>
                    <a:gd name="connsiteX3" fmla="*/ 143125 w 288485"/>
                    <a:gd name="connsiteY3" fmla="*/ 69121 h 142705"/>
                    <a:gd name="connsiteX4" fmla="*/ 288482 w 288485"/>
                    <a:gd name="connsiteY4" fmla="*/ 37 h 142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8485" h="142705">
                      <a:moveTo>
                        <a:pt x="288482" y="37"/>
                      </a:moveTo>
                      <a:cubicBezTo>
                        <a:pt x="289065" y="1301"/>
                        <a:pt x="225034" y="34239"/>
                        <a:pt x="145360" y="73590"/>
                      </a:cubicBezTo>
                      <a:cubicBezTo>
                        <a:pt x="65686" y="112941"/>
                        <a:pt x="684" y="143839"/>
                        <a:pt x="4" y="142673"/>
                      </a:cubicBezTo>
                      <a:cubicBezTo>
                        <a:pt x="-579" y="141410"/>
                        <a:pt x="63452" y="108472"/>
                        <a:pt x="143125" y="69121"/>
                      </a:cubicBezTo>
                      <a:cubicBezTo>
                        <a:pt x="222799" y="29672"/>
                        <a:pt x="287899" y="-1226"/>
                        <a:pt x="288482" y="37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4" name="Freeform: Shape 793">
                  <a:extLst>
                    <a:ext uri="{FF2B5EF4-FFF2-40B4-BE49-F238E27FC236}">
                      <a16:creationId xmlns:a16="http://schemas.microsoft.com/office/drawing/2014/main" id="{30E4C842-A694-4CEE-B849-459AAA0B4560}"/>
                    </a:ext>
                  </a:extLst>
                </p:cNvPr>
                <p:cNvSpPr/>
                <p:nvPr/>
              </p:nvSpPr>
              <p:spPr>
                <a:xfrm>
                  <a:off x="3773040" y="3113602"/>
                  <a:ext cx="257203" cy="138049"/>
                </a:xfrm>
                <a:custGeom>
                  <a:avLst/>
                  <a:gdLst>
                    <a:gd name="connsiteX0" fmla="*/ 257197 w 257203"/>
                    <a:gd name="connsiteY0" fmla="*/ 39 h 138049"/>
                    <a:gd name="connsiteX1" fmla="*/ 129816 w 257203"/>
                    <a:gd name="connsiteY1" fmla="*/ 71259 h 138049"/>
                    <a:gd name="connsiteX2" fmla="*/ 6 w 257203"/>
                    <a:gd name="connsiteY2" fmla="*/ 138010 h 138049"/>
                    <a:gd name="connsiteX3" fmla="*/ 127387 w 257203"/>
                    <a:gd name="connsiteY3" fmla="*/ 66790 h 138049"/>
                    <a:gd name="connsiteX4" fmla="*/ 257197 w 257203"/>
                    <a:gd name="connsiteY4" fmla="*/ 39 h 138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203" h="138049">
                      <a:moveTo>
                        <a:pt x="257197" y="39"/>
                      </a:moveTo>
                      <a:cubicBezTo>
                        <a:pt x="257878" y="1302"/>
                        <a:pt x="200843" y="33171"/>
                        <a:pt x="129816" y="71259"/>
                      </a:cubicBezTo>
                      <a:cubicBezTo>
                        <a:pt x="58790" y="109347"/>
                        <a:pt x="686" y="139274"/>
                        <a:pt x="6" y="138010"/>
                      </a:cubicBezTo>
                      <a:cubicBezTo>
                        <a:pt x="-674" y="136747"/>
                        <a:pt x="56361" y="104878"/>
                        <a:pt x="127387" y="66790"/>
                      </a:cubicBezTo>
                      <a:cubicBezTo>
                        <a:pt x="198414" y="28702"/>
                        <a:pt x="256517" y="-1225"/>
                        <a:pt x="257197" y="39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5" name="Freeform: Shape 794">
                  <a:extLst>
                    <a:ext uri="{FF2B5EF4-FFF2-40B4-BE49-F238E27FC236}">
                      <a16:creationId xmlns:a16="http://schemas.microsoft.com/office/drawing/2014/main" id="{91A7E92F-009E-4706-9E58-58A036278E65}"/>
                    </a:ext>
                  </a:extLst>
                </p:cNvPr>
                <p:cNvSpPr/>
                <p:nvPr/>
              </p:nvSpPr>
              <p:spPr>
                <a:xfrm>
                  <a:off x="3776825" y="3024482"/>
                  <a:ext cx="196966" cy="111167"/>
                </a:xfrm>
                <a:custGeom>
                  <a:avLst/>
                  <a:gdLst>
                    <a:gd name="connsiteX0" fmla="*/ 196961 w 196966"/>
                    <a:gd name="connsiteY0" fmla="*/ 59 h 111167"/>
                    <a:gd name="connsiteX1" fmla="*/ 168395 w 196966"/>
                    <a:gd name="connsiteY1" fmla="*/ 16965 h 111167"/>
                    <a:gd name="connsiteX2" fmla="*/ 98632 w 196966"/>
                    <a:gd name="connsiteY2" fmla="*/ 55928 h 111167"/>
                    <a:gd name="connsiteX3" fmla="*/ 29257 w 196966"/>
                    <a:gd name="connsiteY3" fmla="*/ 95473 h 111167"/>
                    <a:gd name="connsiteX4" fmla="*/ 11 w 196966"/>
                    <a:gd name="connsiteY4" fmla="*/ 111117 h 111167"/>
                    <a:gd name="connsiteX5" fmla="*/ 27411 w 196966"/>
                    <a:gd name="connsiteY5" fmla="*/ 92364 h 111167"/>
                    <a:gd name="connsiteX6" fmla="*/ 96202 w 196966"/>
                    <a:gd name="connsiteY6" fmla="*/ 51458 h 111167"/>
                    <a:gd name="connsiteX7" fmla="*/ 166743 w 196966"/>
                    <a:gd name="connsiteY7" fmla="*/ 13759 h 111167"/>
                    <a:gd name="connsiteX8" fmla="*/ 196961 w 196966"/>
                    <a:gd name="connsiteY8" fmla="*/ 59 h 111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6966" h="111167">
                      <a:moveTo>
                        <a:pt x="196961" y="59"/>
                      </a:moveTo>
                      <a:cubicBezTo>
                        <a:pt x="197252" y="739"/>
                        <a:pt x="186273" y="6957"/>
                        <a:pt x="168395" y="16965"/>
                      </a:cubicBezTo>
                      <a:cubicBezTo>
                        <a:pt x="149254" y="27653"/>
                        <a:pt x="125254" y="41062"/>
                        <a:pt x="98632" y="55928"/>
                      </a:cubicBezTo>
                      <a:cubicBezTo>
                        <a:pt x="72203" y="70988"/>
                        <a:pt x="48204" y="84688"/>
                        <a:pt x="29257" y="95473"/>
                      </a:cubicBezTo>
                      <a:cubicBezTo>
                        <a:pt x="11476" y="105578"/>
                        <a:pt x="399" y="111797"/>
                        <a:pt x="11" y="111117"/>
                      </a:cubicBezTo>
                      <a:cubicBezTo>
                        <a:pt x="-378" y="110534"/>
                        <a:pt x="10019" y="103344"/>
                        <a:pt x="27411" y="92364"/>
                      </a:cubicBezTo>
                      <a:cubicBezTo>
                        <a:pt x="44706" y="81385"/>
                        <a:pt x="68900" y="66810"/>
                        <a:pt x="96202" y="51458"/>
                      </a:cubicBezTo>
                      <a:cubicBezTo>
                        <a:pt x="123408" y="36106"/>
                        <a:pt x="148476" y="22892"/>
                        <a:pt x="166743" y="13759"/>
                      </a:cubicBezTo>
                      <a:cubicBezTo>
                        <a:pt x="185107" y="4626"/>
                        <a:pt x="196669" y="-621"/>
                        <a:pt x="196961" y="59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6" name="Freeform: Shape 795">
                  <a:extLst>
                    <a:ext uri="{FF2B5EF4-FFF2-40B4-BE49-F238E27FC236}">
                      <a16:creationId xmlns:a16="http://schemas.microsoft.com/office/drawing/2014/main" id="{63685423-7BA8-4A3A-A492-E1193F30A7A8}"/>
                    </a:ext>
                  </a:extLst>
                </p:cNvPr>
                <p:cNvSpPr/>
                <p:nvPr/>
              </p:nvSpPr>
              <p:spPr>
                <a:xfrm>
                  <a:off x="4086553" y="2922586"/>
                  <a:ext cx="100704" cy="81022"/>
                </a:xfrm>
                <a:custGeom>
                  <a:avLst/>
                  <a:gdLst>
                    <a:gd name="connsiteX0" fmla="*/ 100700 w 100704"/>
                    <a:gd name="connsiteY0" fmla="*/ 80871 h 81022"/>
                    <a:gd name="connsiteX1" fmla="*/ 81948 w 100704"/>
                    <a:gd name="connsiteY1" fmla="*/ 75818 h 81022"/>
                    <a:gd name="connsiteX2" fmla="*/ 42694 w 100704"/>
                    <a:gd name="connsiteY2" fmla="*/ 50264 h 81022"/>
                    <a:gd name="connsiteX3" fmla="*/ 11018 w 100704"/>
                    <a:gd name="connsiteY3" fmla="*/ 15965 h 81022"/>
                    <a:gd name="connsiteX4" fmla="*/ 39 w 100704"/>
                    <a:gd name="connsiteY4" fmla="*/ 31 h 81022"/>
                    <a:gd name="connsiteX5" fmla="*/ 13739 w 100704"/>
                    <a:gd name="connsiteY5" fmla="*/ 13634 h 81022"/>
                    <a:gd name="connsiteX6" fmla="*/ 46095 w 100704"/>
                    <a:gd name="connsiteY6" fmla="*/ 46475 h 81022"/>
                    <a:gd name="connsiteX7" fmla="*/ 83502 w 100704"/>
                    <a:gd name="connsiteY7" fmla="*/ 72612 h 81022"/>
                    <a:gd name="connsiteX8" fmla="*/ 100700 w 100704"/>
                    <a:gd name="connsiteY8" fmla="*/ 80871 h 8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04" h="81022">
                      <a:moveTo>
                        <a:pt x="100700" y="80871"/>
                      </a:moveTo>
                      <a:cubicBezTo>
                        <a:pt x="100603" y="81453"/>
                        <a:pt x="93122" y="80482"/>
                        <a:pt x="81948" y="75818"/>
                      </a:cubicBezTo>
                      <a:cubicBezTo>
                        <a:pt x="70774" y="71251"/>
                        <a:pt x="56297" y="62507"/>
                        <a:pt x="42694" y="50264"/>
                      </a:cubicBezTo>
                      <a:cubicBezTo>
                        <a:pt x="28994" y="38021"/>
                        <a:pt x="18403" y="25293"/>
                        <a:pt x="11018" y="15965"/>
                      </a:cubicBezTo>
                      <a:cubicBezTo>
                        <a:pt x="3634" y="6540"/>
                        <a:pt x="-447" y="516"/>
                        <a:pt x="39" y="31"/>
                      </a:cubicBezTo>
                      <a:cubicBezTo>
                        <a:pt x="622" y="-455"/>
                        <a:pt x="5675" y="4889"/>
                        <a:pt x="13739" y="13634"/>
                      </a:cubicBezTo>
                      <a:cubicBezTo>
                        <a:pt x="21804" y="22378"/>
                        <a:pt x="32686" y="34524"/>
                        <a:pt x="46095" y="46475"/>
                      </a:cubicBezTo>
                      <a:cubicBezTo>
                        <a:pt x="59406" y="58426"/>
                        <a:pt x="73106" y="67365"/>
                        <a:pt x="83502" y="72612"/>
                      </a:cubicBezTo>
                      <a:cubicBezTo>
                        <a:pt x="93802" y="77858"/>
                        <a:pt x="100895" y="80093"/>
                        <a:pt x="100700" y="80871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7" name="Freeform: Shape 796">
                  <a:extLst>
                    <a:ext uri="{FF2B5EF4-FFF2-40B4-BE49-F238E27FC236}">
                      <a16:creationId xmlns:a16="http://schemas.microsoft.com/office/drawing/2014/main" id="{3424A218-0EF3-4051-A237-AD2B78E47BF9}"/>
                    </a:ext>
                  </a:extLst>
                </p:cNvPr>
                <p:cNvSpPr/>
                <p:nvPr/>
              </p:nvSpPr>
              <p:spPr>
                <a:xfrm>
                  <a:off x="4276535" y="2950770"/>
                  <a:ext cx="52547" cy="44394"/>
                </a:xfrm>
                <a:custGeom>
                  <a:avLst/>
                  <a:gdLst>
                    <a:gd name="connsiteX0" fmla="*/ 52382 w 52547"/>
                    <a:gd name="connsiteY0" fmla="*/ 24 h 44394"/>
                    <a:gd name="connsiteX1" fmla="*/ 32173 w 52547"/>
                    <a:gd name="connsiteY1" fmla="*/ 29173 h 44394"/>
                    <a:gd name="connsiteX2" fmla="*/ 12 w 52547"/>
                    <a:gd name="connsiteY2" fmla="*/ 44136 h 44394"/>
                    <a:gd name="connsiteX3" fmla="*/ 28869 w 52547"/>
                    <a:gd name="connsiteY3" fmla="*/ 25384 h 44394"/>
                    <a:gd name="connsiteX4" fmla="*/ 52382 w 52547"/>
                    <a:gd name="connsiteY4" fmla="*/ 24 h 44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547" h="44394">
                      <a:moveTo>
                        <a:pt x="52382" y="24"/>
                      </a:moveTo>
                      <a:cubicBezTo>
                        <a:pt x="53646" y="413"/>
                        <a:pt x="47719" y="16153"/>
                        <a:pt x="32173" y="29173"/>
                      </a:cubicBezTo>
                      <a:cubicBezTo>
                        <a:pt x="16724" y="42290"/>
                        <a:pt x="206" y="45399"/>
                        <a:pt x="12" y="44136"/>
                      </a:cubicBezTo>
                      <a:cubicBezTo>
                        <a:pt x="-474" y="42679"/>
                        <a:pt x="14489" y="37626"/>
                        <a:pt x="28869" y="25384"/>
                      </a:cubicBezTo>
                      <a:cubicBezTo>
                        <a:pt x="43541" y="13141"/>
                        <a:pt x="51022" y="-656"/>
                        <a:pt x="52382" y="24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8" name="Freeform: Shape 797">
                  <a:extLst>
                    <a:ext uri="{FF2B5EF4-FFF2-40B4-BE49-F238E27FC236}">
                      <a16:creationId xmlns:a16="http://schemas.microsoft.com/office/drawing/2014/main" id="{82ADDF50-D35C-47AC-A6E7-AB7E03A98874}"/>
                    </a:ext>
                  </a:extLst>
                </p:cNvPr>
                <p:cNvSpPr/>
                <p:nvPr/>
              </p:nvSpPr>
              <p:spPr>
                <a:xfrm>
                  <a:off x="4042091" y="3096880"/>
                  <a:ext cx="539548" cy="21992"/>
                </a:xfrm>
                <a:custGeom>
                  <a:avLst/>
                  <a:gdLst>
                    <a:gd name="connsiteX0" fmla="*/ 539548 w 539548"/>
                    <a:gd name="connsiteY0" fmla="*/ 146 h 21992"/>
                    <a:gd name="connsiteX1" fmla="*/ 534107 w 539548"/>
                    <a:gd name="connsiteY1" fmla="*/ 1117 h 21992"/>
                    <a:gd name="connsiteX2" fmla="*/ 518463 w 539548"/>
                    <a:gd name="connsiteY2" fmla="*/ 3061 h 21992"/>
                    <a:gd name="connsiteX3" fmla="*/ 460846 w 539548"/>
                    <a:gd name="connsiteY3" fmla="*/ 8307 h 21992"/>
                    <a:gd name="connsiteX4" fmla="*/ 270114 w 539548"/>
                    <a:gd name="connsiteY4" fmla="*/ 18704 h 21992"/>
                    <a:gd name="connsiteX5" fmla="*/ 79091 w 539548"/>
                    <a:gd name="connsiteY5" fmla="*/ 21910 h 21992"/>
                    <a:gd name="connsiteX6" fmla="*/ 21182 w 539548"/>
                    <a:gd name="connsiteY6" fmla="*/ 20744 h 21992"/>
                    <a:gd name="connsiteX7" fmla="*/ 5441 w 539548"/>
                    <a:gd name="connsiteY7" fmla="*/ 19967 h 21992"/>
                    <a:gd name="connsiteX8" fmla="*/ 0 w 539548"/>
                    <a:gd name="connsiteY8" fmla="*/ 19384 h 21992"/>
                    <a:gd name="connsiteX9" fmla="*/ 5538 w 539548"/>
                    <a:gd name="connsiteY9" fmla="*/ 18995 h 21992"/>
                    <a:gd name="connsiteX10" fmla="*/ 21279 w 539548"/>
                    <a:gd name="connsiteY10" fmla="*/ 18898 h 21992"/>
                    <a:gd name="connsiteX11" fmla="*/ 79091 w 539548"/>
                    <a:gd name="connsiteY11" fmla="*/ 18412 h 21992"/>
                    <a:gd name="connsiteX12" fmla="*/ 269920 w 539548"/>
                    <a:gd name="connsiteY12" fmla="*/ 13749 h 21992"/>
                    <a:gd name="connsiteX13" fmla="*/ 460554 w 539548"/>
                    <a:gd name="connsiteY13" fmla="*/ 4810 h 21992"/>
                    <a:gd name="connsiteX14" fmla="*/ 518269 w 539548"/>
                    <a:gd name="connsiteY14" fmla="*/ 1117 h 21992"/>
                    <a:gd name="connsiteX15" fmla="*/ 534010 w 539548"/>
                    <a:gd name="connsiteY15" fmla="*/ 146 h 21992"/>
                    <a:gd name="connsiteX16" fmla="*/ 539548 w 539548"/>
                    <a:gd name="connsiteY16" fmla="*/ 146 h 21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39548" h="21992">
                      <a:moveTo>
                        <a:pt x="539548" y="146"/>
                      </a:moveTo>
                      <a:cubicBezTo>
                        <a:pt x="539548" y="340"/>
                        <a:pt x="537702" y="632"/>
                        <a:pt x="534107" y="1117"/>
                      </a:cubicBezTo>
                      <a:cubicBezTo>
                        <a:pt x="529929" y="1603"/>
                        <a:pt x="524779" y="2283"/>
                        <a:pt x="518463" y="3061"/>
                      </a:cubicBezTo>
                      <a:cubicBezTo>
                        <a:pt x="504861" y="4518"/>
                        <a:pt x="485137" y="6461"/>
                        <a:pt x="460846" y="8307"/>
                      </a:cubicBezTo>
                      <a:cubicBezTo>
                        <a:pt x="412070" y="12194"/>
                        <a:pt x="344638" y="15983"/>
                        <a:pt x="270114" y="18704"/>
                      </a:cubicBezTo>
                      <a:cubicBezTo>
                        <a:pt x="195590" y="21327"/>
                        <a:pt x="128061" y="22299"/>
                        <a:pt x="79091" y="21910"/>
                      </a:cubicBezTo>
                      <a:cubicBezTo>
                        <a:pt x="54606" y="21716"/>
                        <a:pt x="34882" y="21230"/>
                        <a:pt x="21182" y="20744"/>
                      </a:cubicBezTo>
                      <a:cubicBezTo>
                        <a:pt x="14769" y="20453"/>
                        <a:pt x="9619" y="20161"/>
                        <a:pt x="5441" y="19967"/>
                      </a:cubicBezTo>
                      <a:cubicBezTo>
                        <a:pt x="1846" y="19773"/>
                        <a:pt x="0" y="19481"/>
                        <a:pt x="0" y="19384"/>
                      </a:cubicBezTo>
                      <a:cubicBezTo>
                        <a:pt x="0" y="19190"/>
                        <a:pt x="1943" y="19093"/>
                        <a:pt x="5538" y="18995"/>
                      </a:cubicBezTo>
                      <a:cubicBezTo>
                        <a:pt x="9716" y="18995"/>
                        <a:pt x="14866" y="18898"/>
                        <a:pt x="21279" y="18898"/>
                      </a:cubicBezTo>
                      <a:cubicBezTo>
                        <a:pt x="35659" y="18801"/>
                        <a:pt x="55189" y="18607"/>
                        <a:pt x="79091" y="18412"/>
                      </a:cubicBezTo>
                      <a:cubicBezTo>
                        <a:pt x="127964" y="17927"/>
                        <a:pt x="195395" y="16372"/>
                        <a:pt x="269920" y="13749"/>
                      </a:cubicBezTo>
                      <a:cubicBezTo>
                        <a:pt x="344347" y="11028"/>
                        <a:pt x="411778" y="7822"/>
                        <a:pt x="460554" y="4810"/>
                      </a:cubicBezTo>
                      <a:cubicBezTo>
                        <a:pt x="484359" y="3255"/>
                        <a:pt x="503986" y="2089"/>
                        <a:pt x="518269" y="1117"/>
                      </a:cubicBezTo>
                      <a:cubicBezTo>
                        <a:pt x="524585" y="729"/>
                        <a:pt x="529832" y="437"/>
                        <a:pt x="534010" y="146"/>
                      </a:cubicBezTo>
                      <a:cubicBezTo>
                        <a:pt x="537605" y="-49"/>
                        <a:pt x="539451" y="-49"/>
                        <a:pt x="539548" y="146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9" name="Freeform: Shape 798">
                  <a:extLst>
                    <a:ext uri="{FF2B5EF4-FFF2-40B4-BE49-F238E27FC236}">
                      <a16:creationId xmlns:a16="http://schemas.microsoft.com/office/drawing/2014/main" id="{98BC88B7-8507-4489-8E13-004C2E6BB7AD}"/>
                    </a:ext>
                  </a:extLst>
                </p:cNvPr>
                <p:cNvSpPr/>
                <p:nvPr/>
              </p:nvSpPr>
              <p:spPr>
                <a:xfrm>
                  <a:off x="4094948" y="3212067"/>
                  <a:ext cx="409932" cy="19147"/>
                </a:xfrm>
                <a:custGeom>
                  <a:avLst/>
                  <a:gdLst>
                    <a:gd name="connsiteX0" fmla="*/ 409932 w 409932"/>
                    <a:gd name="connsiteY0" fmla="*/ 194 h 19147"/>
                    <a:gd name="connsiteX1" fmla="*/ 393997 w 409932"/>
                    <a:gd name="connsiteY1" fmla="*/ 2721 h 19147"/>
                    <a:gd name="connsiteX2" fmla="*/ 350177 w 409932"/>
                    <a:gd name="connsiteY2" fmla="*/ 7287 h 19147"/>
                    <a:gd name="connsiteX3" fmla="*/ 205306 w 409932"/>
                    <a:gd name="connsiteY3" fmla="*/ 16518 h 19147"/>
                    <a:gd name="connsiteX4" fmla="*/ 60144 w 409932"/>
                    <a:gd name="connsiteY4" fmla="*/ 19044 h 19147"/>
                    <a:gd name="connsiteX5" fmla="*/ 16129 w 409932"/>
                    <a:gd name="connsiteY5" fmla="*/ 18072 h 19147"/>
                    <a:gd name="connsiteX6" fmla="*/ 0 w 409932"/>
                    <a:gd name="connsiteY6" fmla="*/ 16809 h 19147"/>
                    <a:gd name="connsiteX7" fmla="*/ 16129 w 409932"/>
                    <a:gd name="connsiteY7" fmla="*/ 16032 h 19147"/>
                    <a:gd name="connsiteX8" fmla="*/ 60144 w 409932"/>
                    <a:gd name="connsiteY8" fmla="*/ 15449 h 19147"/>
                    <a:gd name="connsiteX9" fmla="*/ 205112 w 409932"/>
                    <a:gd name="connsiteY9" fmla="*/ 11465 h 19147"/>
                    <a:gd name="connsiteX10" fmla="*/ 349982 w 409932"/>
                    <a:gd name="connsiteY10" fmla="*/ 3692 h 19147"/>
                    <a:gd name="connsiteX11" fmla="*/ 393900 w 409932"/>
                    <a:gd name="connsiteY11" fmla="*/ 777 h 19147"/>
                    <a:gd name="connsiteX12" fmla="*/ 409932 w 409932"/>
                    <a:gd name="connsiteY12" fmla="*/ 194 h 19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09932" h="19147">
                      <a:moveTo>
                        <a:pt x="409932" y="194"/>
                      </a:moveTo>
                      <a:cubicBezTo>
                        <a:pt x="409932" y="583"/>
                        <a:pt x="404297" y="1457"/>
                        <a:pt x="393997" y="2721"/>
                      </a:cubicBezTo>
                      <a:cubicBezTo>
                        <a:pt x="383698" y="3984"/>
                        <a:pt x="368735" y="5636"/>
                        <a:pt x="350177" y="7287"/>
                      </a:cubicBezTo>
                      <a:cubicBezTo>
                        <a:pt x="313157" y="10688"/>
                        <a:pt x="261952" y="14186"/>
                        <a:pt x="205306" y="16518"/>
                      </a:cubicBezTo>
                      <a:cubicBezTo>
                        <a:pt x="148660" y="18753"/>
                        <a:pt x="97260" y="19433"/>
                        <a:pt x="60144" y="19044"/>
                      </a:cubicBezTo>
                      <a:cubicBezTo>
                        <a:pt x="41586" y="18850"/>
                        <a:pt x="26525" y="18461"/>
                        <a:pt x="16129" y="18072"/>
                      </a:cubicBezTo>
                      <a:cubicBezTo>
                        <a:pt x="5733" y="17587"/>
                        <a:pt x="0" y="17198"/>
                        <a:pt x="0" y="16809"/>
                      </a:cubicBezTo>
                      <a:cubicBezTo>
                        <a:pt x="0" y="16421"/>
                        <a:pt x="5733" y="16226"/>
                        <a:pt x="16129" y="16032"/>
                      </a:cubicBezTo>
                      <a:cubicBezTo>
                        <a:pt x="27400" y="15838"/>
                        <a:pt x="42169" y="15643"/>
                        <a:pt x="60144" y="15449"/>
                      </a:cubicBezTo>
                      <a:cubicBezTo>
                        <a:pt x="97260" y="14963"/>
                        <a:pt x="148563" y="13797"/>
                        <a:pt x="205112" y="11465"/>
                      </a:cubicBezTo>
                      <a:cubicBezTo>
                        <a:pt x="261661" y="9133"/>
                        <a:pt x="312866" y="6218"/>
                        <a:pt x="349982" y="3692"/>
                      </a:cubicBezTo>
                      <a:cubicBezTo>
                        <a:pt x="367860" y="2526"/>
                        <a:pt x="382629" y="1457"/>
                        <a:pt x="393900" y="777"/>
                      </a:cubicBezTo>
                      <a:cubicBezTo>
                        <a:pt x="404102" y="0"/>
                        <a:pt x="409932" y="-194"/>
                        <a:pt x="409932" y="194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0" name="Freeform: Shape 799">
                  <a:extLst>
                    <a:ext uri="{FF2B5EF4-FFF2-40B4-BE49-F238E27FC236}">
                      <a16:creationId xmlns:a16="http://schemas.microsoft.com/office/drawing/2014/main" id="{DE644812-7715-4886-A742-067FB6D4D460}"/>
                    </a:ext>
                  </a:extLst>
                </p:cNvPr>
                <p:cNvSpPr/>
                <p:nvPr/>
              </p:nvSpPr>
              <p:spPr>
                <a:xfrm>
                  <a:off x="4109425" y="3354024"/>
                  <a:ext cx="221241" cy="12726"/>
                </a:xfrm>
                <a:custGeom>
                  <a:avLst/>
                  <a:gdLst>
                    <a:gd name="connsiteX0" fmla="*/ 221241 w 221241"/>
                    <a:gd name="connsiteY0" fmla="*/ 290 h 12726"/>
                    <a:gd name="connsiteX1" fmla="*/ 189080 w 221241"/>
                    <a:gd name="connsiteY1" fmla="*/ 4856 h 12726"/>
                    <a:gd name="connsiteX2" fmla="*/ 110863 w 221241"/>
                    <a:gd name="connsiteY2" fmla="*/ 10686 h 12726"/>
                    <a:gd name="connsiteX3" fmla="*/ 32453 w 221241"/>
                    <a:gd name="connsiteY3" fmla="*/ 12727 h 12726"/>
                    <a:gd name="connsiteX4" fmla="*/ 0 w 221241"/>
                    <a:gd name="connsiteY4" fmla="*/ 11366 h 12726"/>
                    <a:gd name="connsiteX5" fmla="*/ 32453 w 221241"/>
                    <a:gd name="connsiteY5" fmla="*/ 9131 h 12726"/>
                    <a:gd name="connsiteX6" fmla="*/ 110669 w 221241"/>
                    <a:gd name="connsiteY6" fmla="*/ 5634 h 12726"/>
                    <a:gd name="connsiteX7" fmla="*/ 188886 w 221241"/>
                    <a:gd name="connsiteY7" fmla="*/ 1358 h 12726"/>
                    <a:gd name="connsiteX8" fmla="*/ 221241 w 221241"/>
                    <a:gd name="connsiteY8" fmla="*/ 290 h 12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1241" h="12726">
                      <a:moveTo>
                        <a:pt x="221241" y="290"/>
                      </a:moveTo>
                      <a:cubicBezTo>
                        <a:pt x="221338" y="970"/>
                        <a:pt x="208998" y="2816"/>
                        <a:pt x="189080" y="4856"/>
                      </a:cubicBezTo>
                      <a:cubicBezTo>
                        <a:pt x="169064" y="6897"/>
                        <a:pt x="141470" y="9131"/>
                        <a:pt x="110863" y="10686"/>
                      </a:cubicBezTo>
                      <a:cubicBezTo>
                        <a:pt x="80257" y="12241"/>
                        <a:pt x="52565" y="12727"/>
                        <a:pt x="32453" y="12727"/>
                      </a:cubicBezTo>
                      <a:cubicBezTo>
                        <a:pt x="12340" y="12629"/>
                        <a:pt x="0" y="12046"/>
                        <a:pt x="0" y="11366"/>
                      </a:cubicBezTo>
                      <a:cubicBezTo>
                        <a:pt x="0" y="10686"/>
                        <a:pt x="12437" y="10006"/>
                        <a:pt x="32453" y="9131"/>
                      </a:cubicBezTo>
                      <a:cubicBezTo>
                        <a:pt x="53926" y="8160"/>
                        <a:pt x="80840" y="6994"/>
                        <a:pt x="110669" y="5634"/>
                      </a:cubicBezTo>
                      <a:cubicBezTo>
                        <a:pt x="140498" y="3982"/>
                        <a:pt x="167413" y="2524"/>
                        <a:pt x="188886" y="1358"/>
                      </a:cubicBezTo>
                      <a:cubicBezTo>
                        <a:pt x="208804" y="192"/>
                        <a:pt x="221241" y="-391"/>
                        <a:pt x="221241" y="290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1" name="Freeform: Shape 800">
                  <a:extLst>
                    <a:ext uri="{FF2B5EF4-FFF2-40B4-BE49-F238E27FC236}">
                      <a16:creationId xmlns:a16="http://schemas.microsoft.com/office/drawing/2014/main" id="{128BCE68-25F1-4BEA-B1EE-9A5274CCF69F}"/>
                    </a:ext>
                  </a:extLst>
                </p:cNvPr>
                <p:cNvSpPr/>
                <p:nvPr/>
              </p:nvSpPr>
              <p:spPr>
                <a:xfrm>
                  <a:off x="3974950" y="3014833"/>
                  <a:ext cx="133114" cy="8252"/>
                </a:xfrm>
                <a:custGeom>
                  <a:avLst/>
                  <a:gdLst>
                    <a:gd name="connsiteX0" fmla="*/ 133115 w 133114"/>
                    <a:gd name="connsiteY0" fmla="*/ 2324 h 8252"/>
                    <a:gd name="connsiteX1" fmla="*/ 66558 w 133114"/>
                    <a:gd name="connsiteY1" fmla="*/ 5628 h 8252"/>
                    <a:gd name="connsiteX2" fmla="*/ 1 w 133114"/>
                    <a:gd name="connsiteY2" fmla="*/ 7765 h 8252"/>
                    <a:gd name="connsiteX3" fmla="*/ 66363 w 133114"/>
                    <a:gd name="connsiteY3" fmla="*/ 575 h 8252"/>
                    <a:gd name="connsiteX4" fmla="*/ 133115 w 133114"/>
                    <a:gd name="connsiteY4" fmla="*/ 2324 h 8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3114" h="8252">
                      <a:moveTo>
                        <a:pt x="133115" y="2324"/>
                      </a:moveTo>
                      <a:cubicBezTo>
                        <a:pt x="133115" y="3781"/>
                        <a:pt x="103286" y="4073"/>
                        <a:pt x="66558" y="5628"/>
                      </a:cubicBezTo>
                      <a:cubicBezTo>
                        <a:pt x="29830" y="7085"/>
                        <a:pt x="98" y="9223"/>
                        <a:pt x="1" y="7765"/>
                      </a:cubicBezTo>
                      <a:cubicBezTo>
                        <a:pt x="-193" y="6405"/>
                        <a:pt x="29441" y="2032"/>
                        <a:pt x="66363" y="575"/>
                      </a:cubicBezTo>
                      <a:cubicBezTo>
                        <a:pt x="103286" y="-980"/>
                        <a:pt x="133115" y="964"/>
                        <a:pt x="133115" y="2324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2" name="Freeform: Shape 801">
                  <a:extLst>
                    <a:ext uri="{FF2B5EF4-FFF2-40B4-BE49-F238E27FC236}">
                      <a16:creationId xmlns:a16="http://schemas.microsoft.com/office/drawing/2014/main" id="{62E8A5DD-1C9E-43B4-8AB2-A5A5734B3138}"/>
                    </a:ext>
                  </a:extLst>
                </p:cNvPr>
                <p:cNvSpPr/>
                <p:nvPr/>
              </p:nvSpPr>
              <p:spPr>
                <a:xfrm>
                  <a:off x="4345338" y="3009070"/>
                  <a:ext cx="172659" cy="5098"/>
                </a:xfrm>
                <a:custGeom>
                  <a:avLst/>
                  <a:gdLst>
                    <a:gd name="connsiteX0" fmla="*/ 172660 w 172659"/>
                    <a:gd name="connsiteY0" fmla="*/ 2841 h 5098"/>
                    <a:gd name="connsiteX1" fmla="*/ 86281 w 172659"/>
                    <a:gd name="connsiteY1" fmla="*/ 5075 h 5098"/>
                    <a:gd name="connsiteX2" fmla="*/ 0 w 172659"/>
                    <a:gd name="connsiteY2" fmla="*/ 2258 h 5098"/>
                    <a:gd name="connsiteX3" fmla="*/ 86379 w 172659"/>
                    <a:gd name="connsiteY3" fmla="*/ 23 h 5098"/>
                    <a:gd name="connsiteX4" fmla="*/ 172660 w 172659"/>
                    <a:gd name="connsiteY4" fmla="*/ 2841 h 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659" h="5098">
                      <a:moveTo>
                        <a:pt x="172660" y="2841"/>
                      </a:moveTo>
                      <a:cubicBezTo>
                        <a:pt x="172660" y="4201"/>
                        <a:pt x="133989" y="5270"/>
                        <a:pt x="86281" y="5075"/>
                      </a:cubicBezTo>
                      <a:cubicBezTo>
                        <a:pt x="38574" y="4881"/>
                        <a:pt x="-97" y="3618"/>
                        <a:pt x="0" y="2258"/>
                      </a:cubicBezTo>
                      <a:cubicBezTo>
                        <a:pt x="0" y="897"/>
                        <a:pt x="38671" y="-171"/>
                        <a:pt x="86379" y="23"/>
                      </a:cubicBezTo>
                      <a:cubicBezTo>
                        <a:pt x="133989" y="120"/>
                        <a:pt x="172660" y="1383"/>
                        <a:pt x="172660" y="2841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3" name="Freeform: Shape 802">
                  <a:extLst>
                    <a:ext uri="{FF2B5EF4-FFF2-40B4-BE49-F238E27FC236}">
                      <a16:creationId xmlns:a16="http://schemas.microsoft.com/office/drawing/2014/main" id="{99E38848-3E02-4ED8-8F49-E0E4901BB6C6}"/>
                    </a:ext>
                  </a:extLst>
                </p:cNvPr>
                <p:cNvSpPr/>
                <p:nvPr/>
              </p:nvSpPr>
              <p:spPr>
                <a:xfrm>
                  <a:off x="4282765" y="3603080"/>
                  <a:ext cx="250106" cy="58341"/>
                </a:xfrm>
                <a:custGeom>
                  <a:avLst/>
                  <a:gdLst>
                    <a:gd name="connsiteX0" fmla="*/ 250099 w 250106"/>
                    <a:gd name="connsiteY0" fmla="*/ 70 h 58341"/>
                    <a:gd name="connsiteX1" fmla="*/ 241257 w 250106"/>
                    <a:gd name="connsiteY1" fmla="*/ 5122 h 58341"/>
                    <a:gd name="connsiteX2" fmla="*/ 215994 w 250106"/>
                    <a:gd name="connsiteY2" fmla="*/ 16587 h 58341"/>
                    <a:gd name="connsiteX3" fmla="*/ 128741 w 250106"/>
                    <a:gd name="connsiteY3" fmla="*/ 44473 h 58341"/>
                    <a:gd name="connsiteX4" fmla="*/ 37991 w 250106"/>
                    <a:gd name="connsiteY4" fmla="*/ 57590 h 58341"/>
                    <a:gd name="connsiteX5" fmla="*/ 10202 w 250106"/>
                    <a:gd name="connsiteY5" fmla="*/ 58270 h 58341"/>
                    <a:gd name="connsiteX6" fmla="*/ 0 w 250106"/>
                    <a:gd name="connsiteY6" fmla="*/ 57590 h 58341"/>
                    <a:gd name="connsiteX7" fmla="*/ 37699 w 250106"/>
                    <a:gd name="connsiteY7" fmla="*/ 53995 h 58341"/>
                    <a:gd name="connsiteX8" fmla="*/ 127576 w 250106"/>
                    <a:gd name="connsiteY8" fmla="*/ 39518 h 58341"/>
                    <a:gd name="connsiteX9" fmla="*/ 214634 w 250106"/>
                    <a:gd name="connsiteY9" fmla="*/ 13186 h 58341"/>
                    <a:gd name="connsiteX10" fmla="*/ 250099 w 250106"/>
                    <a:gd name="connsiteY10" fmla="*/ 70 h 58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0106" h="58341">
                      <a:moveTo>
                        <a:pt x="250099" y="70"/>
                      </a:moveTo>
                      <a:cubicBezTo>
                        <a:pt x="250293" y="361"/>
                        <a:pt x="247086" y="2207"/>
                        <a:pt x="241257" y="5122"/>
                      </a:cubicBezTo>
                      <a:cubicBezTo>
                        <a:pt x="235427" y="8134"/>
                        <a:pt x="226779" y="12118"/>
                        <a:pt x="215994" y="16587"/>
                      </a:cubicBezTo>
                      <a:cubicBezTo>
                        <a:pt x="194327" y="25721"/>
                        <a:pt x="163623" y="36409"/>
                        <a:pt x="128741" y="44473"/>
                      </a:cubicBezTo>
                      <a:cubicBezTo>
                        <a:pt x="93763" y="52538"/>
                        <a:pt x="61505" y="56327"/>
                        <a:pt x="37991" y="57590"/>
                      </a:cubicBezTo>
                      <a:cubicBezTo>
                        <a:pt x="26234" y="58270"/>
                        <a:pt x="16809" y="58465"/>
                        <a:pt x="10202" y="58270"/>
                      </a:cubicBezTo>
                      <a:cubicBezTo>
                        <a:pt x="3692" y="58173"/>
                        <a:pt x="0" y="57882"/>
                        <a:pt x="0" y="57590"/>
                      </a:cubicBezTo>
                      <a:cubicBezTo>
                        <a:pt x="0" y="56813"/>
                        <a:pt x="14478" y="56230"/>
                        <a:pt x="37699" y="53995"/>
                      </a:cubicBezTo>
                      <a:cubicBezTo>
                        <a:pt x="60922" y="51760"/>
                        <a:pt x="92888" y="47485"/>
                        <a:pt x="127576" y="39518"/>
                      </a:cubicBezTo>
                      <a:cubicBezTo>
                        <a:pt x="162263" y="31453"/>
                        <a:pt x="192869" y="21445"/>
                        <a:pt x="214634" y="13186"/>
                      </a:cubicBezTo>
                      <a:cubicBezTo>
                        <a:pt x="236496" y="5122"/>
                        <a:pt x="249807" y="-708"/>
                        <a:pt x="250099" y="70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04" name="Graphic 13">
                <a:extLst>
                  <a:ext uri="{FF2B5EF4-FFF2-40B4-BE49-F238E27FC236}">
                    <a16:creationId xmlns:a16="http://schemas.microsoft.com/office/drawing/2014/main" id="{7E14430D-0220-4546-8078-D8AA1A1C77C6}"/>
                  </a:ext>
                </a:extLst>
              </p:cNvPr>
              <p:cNvGrpSpPr/>
              <p:nvPr/>
            </p:nvGrpSpPr>
            <p:grpSpPr>
              <a:xfrm>
                <a:off x="1315105" y="3521419"/>
                <a:ext cx="1013705" cy="1404785"/>
                <a:chOff x="1315105" y="3521419"/>
                <a:chExt cx="1013705" cy="1404785"/>
              </a:xfrm>
            </p:grpSpPr>
            <p:sp>
              <p:nvSpPr>
                <p:cNvPr id="805" name="Freeform: Shape 804">
                  <a:extLst>
                    <a:ext uri="{FF2B5EF4-FFF2-40B4-BE49-F238E27FC236}">
                      <a16:creationId xmlns:a16="http://schemas.microsoft.com/office/drawing/2014/main" id="{3815EC4F-AA14-4246-8180-1CC77BEA07FA}"/>
                    </a:ext>
                  </a:extLst>
                </p:cNvPr>
                <p:cNvSpPr/>
                <p:nvPr/>
              </p:nvSpPr>
              <p:spPr>
                <a:xfrm>
                  <a:off x="1487570" y="4123070"/>
                  <a:ext cx="841240" cy="802569"/>
                </a:xfrm>
                <a:custGeom>
                  <a:avLst/>
                  <a:gdLst>
                    <a:gd name="connsiteX0" fmla="*/ 841240 w 841240"/>
                    <a:gd name="connsiteY0" fmla="*/ 401284 h 802569"/>
                    <a:gd name="connsiteX1" fmla="*/ 420620 w 841240"/>
                    <a:gd name="connsiteY1" fmla="*/ 802569 h 802569"/>
                    <a:gd name="connsiteX2" fmla="*/ 0 w 841240"/>
                    <a:gd name="connsiteY2" fmla="*/ 401284 h 802569"/>
                    <a:gd name="connsiteX3" fmla="*/ 420620 w 841240"/>
                    <a:gd name="connsiteY3" fmla="*/ 0 h 802569"/>
                    <a:gd name="connsiteX4" fmla="*/ 841240 w 841240"/>
                    <a:gd name="connsiteY4" fmla="*/ 401284 h 80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1240" h="802569">
                      <a:moveTo>
                        <a:pt x="841240" y="401284"/>
                      </a:moveTo>
                      <a:cubicBezTo>
                        <a:pt x="841240" y="622908"/>
                        <a:pt x="652922" y="802569"/>
                        <a:pt x="420620" y="802569"/>
                      </a:cubicBezTo>
                      <a:cubicBezTo>
                        <a:pt x="188318" y="802569"/>
                        <a:pt x="0" y="622908"/>
                        <a:pt x="0" y="401284"/>
                      </a:cubicBezTo>
                      <a:cubicBezTo>
                        <a:pt x="0" y="179661"/>
                        <a:pt x="188318" y="0"/>
                        <a:pt x="420620" y="0"/>
                      </a:cubicBezTo>
                      <a:cubicBezTo>
                        <a:pt x="652922" y="0"/>
                        <a:pt x="841240" y="179661"/>
                        <a:pt x="841240" y="401284"/>
                      </a:cubicBezTo>
                      <a:close/>
                    </a:path>
                  </a:pathLst>
                </a:custGeom>
                <a:solidFill>
                  <a:srgbClr val="E0E0E0"/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06" name="Graphic 13">
                  <a:extLst>
                    <a:ext uri="{FF2B5EF4-FFF2-40B4-BE49-F238E27FC236}">
                      <a16:creationId xmlns:a16="http://schemas.microsoft.com/office/drawing/2014/main" id="{3DC223D6-D994-40C9-9A67-2360CC2E1992}"/>
                    </a:ext>
                  </a:extLst>
                </p:cNvPr>
                <p:cNvGrpSpPr/>
                <p:nvPr/>
              </p:nvGrpSpPr>
              <p:grpSpPr>
                <a:xfrm>
                  <a:off x="1631011" y="3521419"/>
                  <a:ext cx="624274" cy="755717"/>
                  <a:chOff x="1631011" y="3521419"/>
                  <a:chExt cx="624274" cy="755717"/>
                </a:xfrm>
              </p:grpSpPr>
              <p:sp>
                <p:nvSpPr>
                  <p:cNvPr id="807" name="Freeform: Shape 806">
                    <a:extLst>
                      <a:ext uri="{FF2B5EF4-FFF2-40B4-BE49-F238E27FC236}">
                        <a16:creationId xmlns:a16="http://schemas.microsoft.com/office/drawing/2014/main" id="{DAFDEE10-3FEB-4046-A57C-89272EDDEF02}"/>
                      </a:ext>
                    </a:extLst>
                  </p:cNvPr>
                  <p:cNvSpPr/>
                  <p:nvPr/>
                </p:nvSpPr>
                <p:spPr>
                  <a:xfrm>
                    <a:off x="1631011" y="3556899"/>
                    <a:ext cx="249390" cy="498768"/>
                  </a:xfrm>
                  <a:custGeom>
                    <a:avLst/>
                    <a:gdLst>
                      <a:gd name="connsiteX0" fmla="*/ 191481 w 249390"/>
                      <a:gd name="connsiteY0" fmla="*/ 0 h 498768"/>
                      <a:gd name="connsiteX1" fmla="*/ 90529 w 249390"/>
                      <a:gd name="connsiteY1" fmla="*/ 88613 h 498768"/>
                      <a:gd name="connsiteX2" fmla="*/ 79841 w 249390"/>
                      <a:gd name="connsiteY2" fmla="*/ 139527 h 498768"/>
                      <a:gd name="connsiteX3" fmla="*/ 67015 w 249390"/>
                      <a:gd name="connsiteY3" fmla="*/ 189760 h 498768"/>
                      <a:gd name="connsiteX4" fmla="*/ 13089 w 249390"/>
                      <a:gd name="connsiteY4" fmla="*/ 251653 h 498768"/>
                      <a:gd name="connsiteX5" fmla="*/ 21446 w 249390"/>
                      <a:gd name="connsiteY5" fmla="*/ 343958 h 498768"/>
                      <a:gd name="connsiteX6" fmla="*/ 1721 w 249390"/>
                      <a:gd name="connsiteY6" fmla="*/ 390111 h 498768"/>
                      <a:gd name="connsiteX7" fmla="*/ 10758 w 249390"/>
                      <a:gd name="connsiteY7" fmla="*/ 440539 h 498768"/>
                      <a:gd name="connsiteX8" fmla="*/ 121621 w 249390"/>
                      <a:gd name="connsiteY8" fmla="*/ 498642 h 498768"/>
                      <a:gd name="connsiteX9" fmla="*/ 249391 w 249390"/>
                      <a:gd name="connsiteY9" fmla="*/ 474254 h 4987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49390" h="498768">
                        <a:moveTo>
                          <a:pt x="191481" y="0"/>
                        </a:moveTo>
                        <a:cubicBezTo>
                          <a:pt x="124730" y="3498"/>
                          <a:pt x="98593" y="73067"/>
                          <a:pt x="90529" y="88613"/>
                        </a:cubicBezTo>
                        <a:cubicBezTo>
                          <a:pt x="82561" y="104159"/>
                          <a:pt x="81298" y="122134"/>
                          <a:pt x="79841" y="139527"/>
                        </a:cubicBezTo>
                        <a:cubicBezTo>
                          <a:pt x="78383" y="156919"/>
                          <a:pt x="76343" y="174991"/>
                          <a:pt x="67015" y="189760"/>
                        </a:cubicBezTo>
                        <a:cubicBezTo>
                          <a:pt x="52343" y="213176"/>
                          <a:pt x="21446" y="225322"/>
                          <a:pt x="13089" y="251653"/>
                        </a:cubicBezTo>
                        <a:cubicBezTo>
                          <a:pt x="3567" y="281482"/>
                          <a:pt x="27955" y="313352"/>
                          <a:pt x="21446" y="343958"/>
                        </a:cubicBezTo>
                        <a:cubicBezTo>
                          <a:pt x="17948" y="360379"/>
                          <a:pt x="5997" y="373885"/>
                          <a:pt x="1721" y="390111"/>
                        </a:cubicBezTo>
                        <a:cubicBezTo>
                          <a:pt x="-2748" y="407114"/>
                          <a:pt x="1916" y="425381"/>
                          <a:pt x="10758" y="440539"/>
                        </a:cubicBezTo>
                        <a:cubicBezTo>
                          <a:pt x="32716" y="478141"/>
                          <a:pt x="78092" y="497088"/>
                          <a:pt x="121621" y="498642"/>
                        </a:cubicBezTo>
                        <a:cubicBezTo>
                          <a:pt x="165150" y="500197"/>
                          <a:pt x="207708" y="487177"/>
                          <a:pt x="249391" y="474254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08" name="Freeform: Shape 807">
                    <a:extLst>
                      <a:ext uri="{FF2B5EF4-FFF2-40B4-BE49-F238E27FC236}">
                        <a16:creationId xmlns:a16="http://schemas.microsoft.com/office/drawing/2014/main" id="{7BB5A9B0-9EFB-4EA4-917A-6A73D94483AC}"/>
                      </a:ext>
                    </a:extLst>
                  </p:cNvPr>
                  <p:cNvSpPr/>
                  <p:nvPr/>
                </p:nvSpPr>
                <p:spPr>
                  <a:xfrm>
                    <a:off x="2055982" y="3643375"/>
                    <a:ext cx="199303" cy="447415"/>
                  </a:xfrm>
                  <a:custGeom>
                    <a:avLst/>
                    <a:gdLst>
                      <a:gd name="connsiteX0" fmla="*/ 60137 w 199303"/>
                      <a:gd name="connsiteY0" fmla="*/ 0 h 447415"/>
                      <a:gd name="connsiteX1" fmla="*/ 70048 w 199303"/>
                      <a:gd name="connsiteY1" fmla="*/ 42946 h 447415"/>
                      <a:gd name="connsiteX2" fmla="*/ 106193 w 199303"/>
                      <a:gd name="connsiteY2" fmla="*/ 72387 h 447415"/>
                      <a:gd name="connsiteX3" fmla="*/ 130872 w 199303"/>
                      <a:gd name="connsiteY3" fmla="*/ 110475 h 447415"/>
                      <a:gd name="connsiteX4" fmla="*/ 126986 w 199303"/>
                      <a:gd name="connsiteY4" fmla="*/ 152935 h 447415"/>
                      <a:gd name="connsiteX5" fmla="*/ 193057 w 199303"/>
                      <a:gd name="connsiteY5" fmla="*/ 236787 h 447415"/>
                      <a:gd name="connsiteX6" fmla="*/ 177025 w 199303"/>
                      <a:gd name="connsiteY6" fmla="*/ 306939 h 447415"/>
                      <a:gd name="connsiteX7" fmla="*/ 191502 w 199303"/>
                      <a:gd name="connsiteY7" fmla="*/ 330938 h 447415"/>
                      <a:gd name="connsiteX8" fmla="*/ 172944 w 199303"/>
                      <a:gd name="connsiteY8" fmla="*/ 417122 h 447415"/>
                      <a:gd name="connsiteX9" fmla="*/ 84040 w 199303"/>
                      <a:gd name="connsiteY9" fmla="*/ 447243 h 447415"/>
                      <a:gd name="connsiteX10" fmla="*/ 10973 w 199303"/>
                      <a:gd name="connsiteY10" fmla="*/ 422369 h 447415"/>
                      <a:gd name="connsiteX11" fmla="*/ 2422 w 199303"/>
                      <a:gd name="connsiteY11" fmla="*/ 351051 h 447415"/>
                      <a:gd name="connsiteX12" fmla="*/ 11264 w 199303"/>
                      <a:gd name="connsiteY12" fmla="*/ 7481 h 4474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99303" h="447415">
                        <a:moveTo>
                          <a:pt x="60137" y="0"/>
                        </a:moveTo>
                        <a:cubicBezTo>
                          <a:pt x="53628" y="14089"/>
                          <a:pt x="59749" y="31287"/>
                          <a:pt x="70048" y="42946"/>
                        </a:cubicBezTo>
                        <a:cubicBezTo>
                          <a:pt x="80250" y="54703"/>
                          <a:pt x="94047" y="62573"/>
                          <a:pt x="106193" y="72387"/>
                        </a:cubicBezTo>
                        <a:cubicBezTo>
                          <a:pt x="118338" y="82103"/>
                          <a:pt x="129415" y="95026"/>
                          <a:pt x="130872" y="110475"/>
                        </a:cubicBezTo>
                        <a:cubicBezTo>
                          <a:pt x="132136" y="124661"/>
                          <a:pt x="125042" y="138846"/>
                          <a:pt x="126986" y="152935"/>
                        </a:cubicBezTo>
                        <a:cubicBezTo>
                          <a:pt x="131941" y="189274"/>
                          <a:pt x="189948" y="200254"/>
                          <a:pt x="193057" y="236787"/>
                        </a:cubicBezTo>
                        <a:cubicBezTo>
                          <a:pt x="195097" y="261175"/>
                          <a:pt x="170126" y="283523"/>
                          <a:pt x="177025" y="306939"/>
                        </a:cubicBezTo>
                        <a:cubicBezTo>
                          <a:pt x="179648" y="315878"/>
                          <a:pt x="186644" y="322874"/>
                          <a:pt x="191502" y="330938"/>
                        </a:cubicBezTo>
                        <a:cubicBezTo>
                          <a:pt x="207923" y="358241"/>
                          <a:pt x="196846" y="395941"/>
                          <a:pt x="172944" y="417122"/>
                        </a:cubicBezTo>
                        <a:cubicBezTo>
                          <a:pt x="149139" y="438304"/>
                          <a:pt x="115909" y="445785"/>
                          <a:pt x="84040" y="447243"/>
                        </a:cubicBezTo>
                        <a:cubicBezTo>
                          <a:pt x="57223" y="448409"/>
                          <a:pt x="26810" y="444036"/>
                          <a:pt x="10973" y="422369"/>
                        </a:cubicBezTo>
                        <a:cubicBezTo>
                          <a:pt x="-3505" y="402548"/>
                          <a:pt x="-493" y="375439"/>
                          <a:pt x="2422" y="351051"/>
                        </a:cubicBezTo>
                        <a:cubicBezTo>
                          <a:pt x="15928" y="237176"/>
                          <a:pt x="13596" y="122134"/>
                          <a:pt x="11264" y="7481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809" name="Graphic 13">
                    <a:extLst>
                      <a:ext uri="{FF2B5EF4-FFF2-40B4-BE49-F238E27FC236}">
                        <a16:creationId xmlns:a16="http://schemas.microsoft.com/office/drawing/2014/main" id="{54949D6C-6155-4871-B876-E71F21748080}"/>
                      </a:ext>
                    </a:extLst>
                  </p:cNvPr>
                  <p:cNvGrpSpPr/>
                  <p:nvPr/>
                </p:nvGrpSpPr>
                <p:grpSpPr>
                  <a:xfrm>
                    <a:off x="1742764" y="3548776"/>
                    <a:ext cx="402434" cy="728360"/>
                    <a:chOff x="1742764" y="3548776"/>
                    <a:chExt cx="402434" cy="728360"/>
                  </a:xfrm>
                </p:grpSpPr>
                <p:grpSp>
                  <p:nvGrpSpPr>
                    <p:cNvPr id="810" name="Graphic 13">
                      <a:extLst>
                        <a:ext uri="{FF2B5EF4-FFF2-40B4-BE49-F238E27FC236}">
                          <a16:creationId xmlns:a16="http://schemas.microsoft.com/office/drawing/2014/main" id="{A5DEFA16-A2B4-4127-A433-60DFEA758F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743814" y="3607133"/>
                      <a:ext cx="329165" cy="670002"/>
                      <a:chOff x="1743814" y="3607133"/>
                      <a:chExt cx="329165" cy="670002"/>
                    </a:xfrm>
                  </p:grpSpPr>
                  <p:sp>
                    <p:nvSpPr>
                      <p:cNvPr id="811" name="Freeform: Shape 810">
                        <a:extLst>
                          <a:ext uri="{FF2B5EF4-FFF2-40B4-BE49-F238E27FC236}">
                            <a16:creationId xmlns:a16="http://schemas.microsoft.com/office/drawing/2014/main" id="{9AD44548-CCAA-4AD2-9126-3C17166D27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43814" y="3607133"/>
                        <a:ext cx="329165" cy="670002"/>
                      </a:xfrm>
                      <a:custGeom>
                        <a:avLst/>
                        <a:gdLst>
                          <a:gd name="connsiteX0" fmla="*/ 96265 w 329165"/>
                          <a:gd name="connsiteY0" fmla="*/ 563158 h 670002"/>
                          <a:gd name="connsiteX1" fmla="*/ 96168 w 329165"/>
                          <a:gd name="connsiteY1" fmla="*/ 440344 h 670002"/>
                          <a:gd name="connsiteX2" fmla="*/ 4446 w 329165"/>
                          <a:gd name="connsiteY2" fmla="*/ 325885 h 670002"/>
                          <a:gd name="connsiteX3" fmla="*/ 14259 w 329165"/>
                          <a:gd name="connsiteY3" fmla="*/ 23221 h 670002"/>
                          <a:gd name="connsiteX4" fmla="*/ 14259 w 329165"/>
                          <a:gd name="connsiteY4" fmla="*/ 23221 h 670002"/>
                          <a:gd name="connsiteX5" fmla="*/ 329165 w 329165"/>
                          <a:gd name="connsiteY5" fmla="*/ 85989 h 670002"/>
                          <a:gd name="connsiteX6" fmla="*/ 329165 w 329165"/>
                          <a:gd name="connsiteY6" fmla="*/ 85989 h 670002"/>
                          <a:gd name="connsiteX7" fmla="*/ 317020 w 329165"/>
                          <a:gd name="connsiteY7" fmla="*/ 571806 h 670002"/>
                          <a:gd name="connsiteX8" fmla="*/ 205671 w 329165"/>
                          <a:gd name="connsiteY8" fmla="*/ 669941 h 670002"/>
                          <a:gd name="connsiteX9" fmla="*/ 205671 w 329165"/>
                          <a:gd name="connsiteY9" fmla="*/ 669941 h 670002"/>
                          <a:gd name="connsiteX10" fmla="*/ 96265 w 329165"/>
                          <a:gd name="connsiteY10" fmla="*/ 563158 h 67000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329165" h="670002">
                            <a:moveTo>
                              <a:pt x="96265" y="563158"/>
                            </a:moveTo>
                            <a:cubicBezTo>
                              <a:pt x="96751" y="503306"/>
                              <a:pt x="96168" y="440344"/>
                              <a:pt x="96168" y="440344"/>
                            </a:cubicBezTo>
                            <a:cubicBezTo>
                              <a:pt x="96168" y="440344"/>
                              <a:pt x="19214" y="426644"/>
                              <a:pt x="4446" y="325885"/>
                            </a:cubicBezTo>
                            <a:cubicBezTo>
                              <a:pt x="-9643" y="229791"/>
                              <a:pt x="14259" y="23221"/>
                              <a:pt x="14259" y="23221"/>
                            </a:cubicBezTo>
                            <a:lnTo>
                              <a:pt x="14259" y="23221"/>
                            </a:lnTo>
                            <a:cubicBezTo>
                              <a:pt x="125705" y="-20696"/>
                              <a:pt x="251143" y="-3693"/>
                              <a:pt x="329165" y="85989"/>
                            </a:cubicBezTo>
                            <a:lnTo>
                              <a:pt x="329165" y="85989"/>
                            </a:lnTo>
                            <a:lnTo>
                              <a:pt x="317020" y="571806"/>
                            </a:lnTo>
                            <a:cubicBezTo>
                              <a:pt x="315660" y="628160"/>
                              <a:pt x="266009" y="671884"/>
                              <a:pt x="205671" y="669941"/>
                            </a:cubicBezTo>
                            <a:lnTo>
                              <a:pt x="205671" y="669941"/>
                            </a:lnTo>
                            <a:cubicBezTo>
                              <a:pt x="144749" y="667900"/>
                              <a:pt x="95779" y="620193"/>
                              <a:pt x="96265" y="563158"/>
                            </a:cubicBezTo>
                            <a:close/>
                          </a:path>
                        </a:pathLst>
                      </a:custGeom>
                      <a:solidFill>
                        <a:srgbClr val="FFBE9D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812" name="Graphic 13">
                        <a:extLst>
                          <a:ext uri="{FF2B5EF4-FFF2-40B4-BE49-F238E27FC236}">
                            <a16:creationId xmlns:a16="http://schemas.microsoft.com/office/drawing/2014/main" id="{18A34A08-1780-4AED-A45B-3548DC1A0C9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758164" y="3765798"/>
                        <a:ext cx="51104" cy="36373"/>
                        <a:chOff x="1758164" y="3765798"/>
                        <a:chExt cx="51104" cy="36373"/>
                      </a:xfrm>
                      <a:solidFill>
                        <a:srgbClr val="263238"/>
                      </a:solidFill>
                    </p:grpSpPr>
                    <p:sp>
                      <p:nvSpPr>
                        <p:cNvPr id="813" name="Freeform: Shape 812">
                          <a:extLst>
                            <a:ext uri="{FF2B5EF4-FFF2-40B4-BE49-F238E27FC236}">
                              <a16:creationId xmlns:a16="http://schemas.microsoft.com/office/drawing/2014/main" id="{82115566-B72A-41EB-B752-3BED942EC1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779049" y="3777536"/>
                          <a:ext cx="25673" cy="24635"/>
                        </a:xfrm>
                        <a:custGeom>
                          <a:avLst/>
                          <a:gdLst>
                            <a:gd name="connsiteX0" fmla="*/ 11 w 25673"/>
                            <a:gd name="connsiteY0" fmla="*/ 11486 h 24635"/>
                            <a:gd name="connsiteX1" fmla="*/ 12254 w 25673"/>
                            <a:gd name="connsiteY1" fmla="*/ 24603 h 24635"/>
                            <a:gd name="connsiteX2" fmla="*/ 25662 w 25673"/>
                            <a:gd name="connsiteY2" fmla="*/ 13138 h 24635"/>
                            <a:gd name="connsiteX3" fmla="*/ 13420 w 25673"/>
                            <a:gd name="connsiteY3" fmla="*/ 21 h 24635"/>
                            <a:gd name="connsiteX4" fmla="*/ 11 w 25673"/>
                            <a:gd name="connsiteY4" fmla="*/ 11486 h 246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5673" h="24635">
                              <a:moveTo>
                                <a:pt x="11" y="11486"/>
                              </a:moveTo>
                              <a:cubicBezTo>
                                <a:pt x="-280" y="18288"/>
                                <a:pt x="5161" y="24215"/>
                                <a:pt x="12254" y="24603"/>
                              </a:cubicBezTo>
                              <a:cubicBezTo>
                                <a:pt x="19347" y="25089"/>
                                <a:pt x="25371" y="19940"/>
                                <a:pt x="25662" y="13138"/>
                              </a:cubicBezTo>
                              <a:cubicBezTo>
                                <a:pt x="25954" y="6337"/>
                                <a:pt x="20513" y="410"/>
                                <a:pt x="13420" y="21"/>
                              </a:cubicBezTo>
                              <a:cubicBezTo>
                                <a:pt x="6327" y="-368"/>
                                <a:pt x="303" y="4685"/>
                                <a:pt x="11" y="11486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4" name="Freeform: Shape 813">
                          <a:extLst>
                            <a:ext uri="{FF2B5EF4-FFF2-40B4-BE49-F238E27FC236}">
                              <a16:creationId xmlns:a16="http://schemas.microsoft.com/office/drawing/2014/main" id="{7A970786-AF0E-4D5E-9759-B6C0CC2CC6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758164" y="3765798"/>
                          <a:ext cx="51104" cy="14251"/>
                        </a:xfrm>
                        <a:custGeom>
                          <a:avLst/>
                          <a:gdLst>
                            <a:gd name="connsiteX0" fmla="*/ 200 w 51104"/>
                            <a:gd name="connsiteY0" fmla="*/ 13314 h 14251"/>
                            <a:gd name="connsiteX1" fmla="*/ 25463 w 51104"/>
                            <a:gd name="connsiteY1" fmla="*/ 8067 h 14251"/>
                            <a:gd name="connsiteX2" fmla="*/ 50920 w 51104"/>
                            <a:gd name="connsiteY2" fmla="*/ 13605 h 14251"/>
                            <a:gd name="connsiteX3" fmla="*/ 45673 w 51104"/>
                            <a:gd name="connsiteY3" fmla="*/ 6512 h 14251"/>
                            <a:gd name="connsiteX4" fmla="*/ 25268 w 51104"/>
                            <a:gd name="connsiteY4" fmla="*/ 2 h 14251"/>
                            <a:gd name="connsiteX5" fmla="*/ 5058 w 51104"/>
                            <a:gd name="connsiteY5" fmla="*/ 6221 h 14251"/>
                            <a:gd name="connsiteX6" fmla="*/ 200 w 51104"/>
                            <a:gd name="connsiteY6" fmla="*/ 13314 h 1425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1104" h="14251">
                              <a:moveTo>
                                <a:pt x="200" y="13314"/>
                              </a:moveTo>
                              <a:cubicBezTo>
                                <a:pt x="1755" y="15063"/>
                                <a:pt x="11666" y="7872"/>
                                <a:pt x="25463" y="8067"/>
                              </a:cubicBezTo>
                              <a:cubicBezTo>
                                <a:pt x="51600" y="11856"/>
                                <a:pt x="51114" y="15840"/>
                                <a:pt x="50920" y="13605"/>
                              </a:cubicBezTo>
                              <a:cubicBezTo>
                                <a:pt x="51697" y="12828"/>
                                <a:pt x="50045" y="9816"/>
                                <a:pt x="45673" y="6512"/>
                              </a:cubicBezTo>
                              <a:cubicBezTo>
                                <a:pt x="41300" y="3209"/>
                                <a:pt x="33916" y="2"/>
                                <a:pt x="25268" y="2"/>
                              </a:cubicBezTo>
                              <a:cubicBezTo>
                                <a:pt x="16621" y="-95"/>
                                <a:pt x="9334" y="3014"/>
                                <a:pt x="5058" y="6221"/>
                              </a:cubicBezTo>
                              <a:cubicBezTo>
                                <a:pt x="880" y="9524"/>
                                <a:pt x="-577" y="12536"/>
                                <a:pt x="200" y="1331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15" name="Graphic 13">
                        <a:extLst>
                          <a:ext uri="{FF2B5EF4-FFF2-40B4-BE49-F238E27FC236}">
                            <a16:creationId xmlns:a16="http://schemas.microsoft.com/office/drawing/2014/main" id="{7CA479DC-1F70-4A60-B766-937BB1BABD3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902840" y="3770559"/>
                        <a:ext cx="51104" cy="35789"/>
                        <a:chOff x="1902840" y="3770559"/>
                        <a:chExt cx="51104" cy="35789"/>
                      </a:xfrm>
                      <a:solidFill>
                        <a:srgbClr val="263238"/>
                      </a:solidFill>
                    </p:grpSpPr>
                    <p:sp>
                      <p:nvSpPr>
                        <p:cNvPr id="816" name="Freeform: Shape 815">
                          <a:extLst>
                            <a:ext uri="{FF2B5EF4-FFF2-40B4-BE49-F238E27FC236}">
                              <a16:creationId xmlns:a16="http://schemas.microsoft.com/office/drawing/2014/main" id="{31875CF3-E751-4647-9130-CF22FDB3AF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921101" y="3781704"/>
                          <a:ext cx="25673" cy="24645"/>
                        </a:xfrm>
                        <a:custGeom>
                          <a:avLst/>
                          <a:gdLst>
                            <a:gd name="connsiteX0" fmla="*/ 11 w 25673"/>
                            <a:gd name="connsiteY0" fmla="*/ 11497 h 24645"/>
                            <a:gd name="connsiteX1" fmla="*/ 12254 w 25673"/>
                            <a:gd name="connsiteY1" fmla="*/ 24614 h 24645"/>
                            <a:gd name="connsiteX2" fmla="*/ 25662 w 25673"/>
                            <a:gd name="connsiteY2" fmla="*/ 13149 h 24645"/>
                            <a:gd name="connsiteX3" fmla="*/ 13420 w 25673"/>
                            <a:gd name="connsiteY3" fmla="*/ 32 h 24645"/>
                            <a:gd name="connsiteX4" fmla="*/ 11 w 25673"/>
                            <a:gd name="connsiteY4" fmla="*/ 11497 h 2464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25673" h="24645">
                              <a:moveTo>
                                <a:pt x="11" y="11497"/>
                              </a:moveTo>
                              <a:cubicBezTo>
                                <a:pt x="-280" y="18298"/>
                                <a:pt x="5161" y="24225"/>
                                <a:pt x="12254" y="24614"/>
                              </a:cubicBezTo>
                              <a:cubicBezTo>
                                <a:pt x="19347" y="25100"/>
                                <a:pt x="25371" y="19950"/>
                                <a:pt x="25662" y="13149"/>
                              </a:cubicBezTo>
                              <a:cubicBezTo>
                                <a:pt x="25954" y="6347"/>
                                <a:pt x="20513" y="420"/>
                                <a:pt x="13420" y="32"/>
                              </a:cubicBezTo>
                              <a:cubicBezTo>
                                <a:pt x="6327" y="-454"/>
                                <a:pt x="303" y="4696"/>
                                <a:pt x="11" y="11497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7" name="Freeform: Shape 816">
                          <a:extLst>
                            <a:ext uri="{FF2B5EF4-FFF2-40B4-BE49-F238E27FC236}">
                              <a16:creationId xmlns:a16="http://schemas.microsoft.com/office/drawing/2014/main" id="{78280004-4A70-4F1A-A402-05357CD695C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902840" y="3770559"/>
                          <a:ext cx="51104" cy="13876"/>
                        </a:xfrm>
                        <a:custGeom>
                          <a:avLst/>
                          <a:gdLst>
                            <a:gd name="connsiteX0" fmla="*/ 200 w 51104"/>
                            <a:gd name="connsiteY0" fmla="*/ 13314 h 13876"/>
                            <a:gd name="connsiteX1" fmla="*/ 25463 w 51104"/>
                            <a:gd name="connsiteY1" fmla="*/ 8067 h 13876"/>
                            <a:gd name="connsiteX2" fmla="*/ 50920 w 51104"/>
                            <a:gd name="connsiteY2" fmla="*/ 13605 h 13876"/>
                            <a:gd name="connsiteX3" fmla="*/ 45673 w 51104"/>
                            <a:gd name="connsiteY3" fmla="*/ 6512 h 13876"/>
                            <a:gd name="connsiteX4" fmla="*/ 25268 w 51104"/>
                            <a:gd name="connsiteY4" fmla="*/ 2 h 13876"/>
                            <a:gd name="connsiteX5" fmla="*/ 5058 w 51104"/>
                            <a:gd name="connsiteY5" fmla="*/ 6221 h 13876"/>
                            <a:gd name="connsiteX6" fmla="*/ 200 w 51104"/>
                            <a:gd name="connsiteY6" fmla="*/ 13314 h 1387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51104" h="13876">
                              <a:moveTo>
                                <a:pt x="200" y="13314"/>
                              </a:moveTo>
                              <a:cubicBezTo>
                                <a:pt x="1755" y="15063"/>
                                <a:pt x="11666" y="7872"/>
                                <a:pt x="25463" y="8067"/>
                              </a:cubicBezTo>
                              <a:cubicBezTo>
                                <a:pt x="39357" y="8067"/>
                                <a:pt x="49462" y="15354"/>
                                <a:pt x="50920" y="13605"/>
                              </a:cubicBezTo>
                              <a:cubicBezTo>
                                <a:pt x="51697" y="12828"/>
                                <a:pt x="50045" y="9816"/>
                                <a:pt x="45673" y="6512"/>
                              </a:cubicBezTo>
                              <a:cubicBezTo>
                                <a:pt x="41300" y="3209"/>
                                <a:pt x="33916" y="2"/>
                                <a:pt x="25268" y="2"/>
                              </a:cubicBezTo>
                              <a:cubicBezTo>
                                <a:pt x="16621" y="-95"/>
                                <a:pt x="9334" y="3014"/>
                                <a:pt x="5058" y="6221"/>
                              </a:cubicBezTo>
                              <a:cubicBezTo>
                                <a:pt x="881" y="9524"/>
                                <a:pt x="-577" y="12536"/>
                                <a:pt x="200" y="1331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971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sp>
                    <p:nvSpPr>
                      <p:cNvPr id="818" name="Freeform: Shape 817">
                        <a:extLst>
                          <a:ext uri="{FF2B5EF4-FFF2-40B4-BE49-F238E27FC236}">
                            <a16:creationId xmlns:a16="http://schemas.microsoft.com/office/drawing/2014/main" id="{69313307-1888-4DDA-9B9D-FAE0F4BB67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16246" y="3767833"/>
                        <a:ext cx="43104" cy="116112"/>
                      </a:xfrm>
                      <a:custGeom>
                        <a:avLst/>
                        <a:gdLst>
                          <a:gd name="connsiteX0" fmla="*/ 35200 w 43104"/>
                          <a:gd name="connsiteY0" fmla="*/ 115633 h 116112"/>
                          <a:gd name="connsiteX1" fmla="*/ 12756 w 43104"/>
                          <a:gd name="connsiteY1" fmla="*/ 111260 h 116112"/>
                          <a:gd name="connsiteX2" fmla="*/ 5274 w 43104"/>
                          <a:gd name="connsiteY2" fmla="*/ 107665 h 116112"/>
                          <a:gd name="connsiteX3" fmla="*/ 7800 w 43104"/>
                          <a:gd name="connsiteY3" fmla="*/ 97172 h 116112"/>
                          <a:gd name="connsiteX4" fmla="*/ 18586 w 43104"/>
                          <a:gd name="connsiteY4" fmla="*/ 70354 h 116112"/>
                          <a:gd name="connsiteX5" fmla="*/ 42974 w 43104"/>
                          <a:gd name="connsiteY5" fmla="*/ 8 h 116112"/>
                          <a:gd name="connsiteX6" fmla="*/ 13047 w 43104"/>
                          <a:gd name="connsiteY6" fmla="*/ 68217 h 116112"/>
                          <a:gd name="connsiteX7" fmla="*/ 2651 w 43104"/>
                          <a:gd name="connsiteY7" fmla="*/ 95228 h 116112"/>
                          <a:gd name="connsiteX8" fmla="*/ 610 w 43104"/>
                          <a:gd name="connsiteY8" fmla="*/ 109123 h 116112"/>
                          <a:gd name="connsiteX9" fmla="*/ 6343 w 43104"/>
                          <a:gd name="connsiteY9" fmla="*/ 114370 h 116112"/>
                          <a:gd name="connsiteX10" fmla="*/ 12367 w 43104"/>
                          <a:gd name="connsiteY10" fmla="*/ 115244 h 116112"/>
                          <a:gd name="connsiteX11" fmla="*/ 35200 w 43104"/>
                          <a:gd name="connsiteY11" fmla="*/ 115633 h 1161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43104" h="116112">
                            <a:moveTo>
                              <a:pt x="35200" y="115633"/>
                            </a:moveTo>
                            <a:cubicBezTo>
                              <a:pt x="35298" y="114855"/>
                              <a:pt x="26650" y="113301"/>
                              <a:pt x="12756" y="111260"/>
                            </a:cubicBezTo>
                            <a:cubicBezTo>
                              <a:pt x="9258" y="110872"/>
                              <a:pt x="5857" y="110094"/>
                              <a:pt x="5274" y="107665"/>
                            </a:cubicBezTo>
                            <a:cubicBezTo>
                              <a:pt x="4497" y="105139"/>
                              <a:pt x="5954" y="101252"/>
                              <a:pt x="7800" y="97172"/>
                            </a:cubicBezTo>
                            <a:cubicBezTo>
                              <a:pt x="11201" y="88621"/>
                              <a:pt x="14796" y="79682"/>
                              <a:pt x="18586" y="70354"/>
                            </a:cubicBezTo>
                            <a:cubicBezTo>
                              <a:pt x="33549" y="32072"/>
                              <a:pt x="44431" y="688"/>
                              <a:pt x="42974" y="8"/>
                            </a:cubicBezTo>
                            <a:cubicBezTo>
                              <a:pt x="41419" y="-575"/>
                              <a:pt x="28010" y="29935"/>
                              <a:pt x="13047" y="68217"/>
                            </a:cubicBezTo>
                            <a:cubicBezTo>
                              <a:pt x="9452" y="77642"/>
                              <a:pt x="5954" y="86678"/>
                              <a:pt x="2651" y="95228"/>
                            </a:cubicBezTo>
                            <a:cubicBezTo>
                              <a:pt x="1291" y="99212"/>
                              <a:pt x="-1139" y="103779"/>
                              <a:pt x="610" y="109123"/>
                            </a:cubicBezTo>
                            <a:cubicBezTo>
                              <a:pt x="1582" y="111746"/>
                              <a:pt x="4108" y="113689"/>
                              <a:pt x="6343" y="114370"/>
                            </a:cubicBezTo>
                            <a:cubicBezTo>
                              <a:pt x="8578" y="115050"/>
                              <a:pt x="10618" y="115147"/>
                              <a:pt x="12367" y="115244"/>
                            </a:cubicBezTo>
                            <a:cubicBezTo>
                              <a:pt x="26456" y="116215"/>
                              <a:pt x="35200" y="116410"/>
                              <a:pt x="35200" y="11563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19" name="Freeform: Shape 818">
                        <a:extLst>
                          <a:ext uri="{FF2B5EF4-FFF2-40B4-BE49-F238E27FC236}">
                            <a16:creationId xmlns:a16="http://schemas.microsoft.com/office/drawing/2014/main" id="{5FE97018-8088-4637-BE29-207E586A0A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39981" y="4013081"/>
                        <a:ext cx="135056" cy="59213"/>
                      </a:xfrm>
                      <a:custGeom>
                        <a:avLst/>
                        <a:gdLst>
                          <a:gd name="connsiteX0" fmla="*/ 0 w 135056"/>
                          <a:gd name="connsiteY0" fmla="*/ 34396 h 59213"/>
                          <a:gd name="connsiteX1" fmla="*/ 135057 w 135056"/>
                          <a:gd name="connsiteY1" fmla="*/ 0 h 59213"/>
                          <a:gd name="connsiteX2" fmla="*/ 1069 w 135056"/>
                          <a:gd name="connsiteY2" fmla="*/ 58104 h 59213"/>
                          <a:gd name="connsiteX3" fmla="*/ 0 w 135056"/>
                          <a:gd name="connsiteY3" fmla="*/ 34396 h 592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35056" h="59213">
                            <a:moveTo>
                              <a:pt x="0" y="34396"/>
                            </a:moveTo>
                            <a:cubicBezTo>
                              <a:pt x="0" y="34396"/>
                              <a:pt x="67626" y="39546"/>
                              <a:pt x="135057" y="0"/>
                            </a:cubicBezTo>
                            <a:cubicBezTo>
                              <a:pt x="135057" y="0"/>
                              <a:pt x="101633" y="68695"/>
                              <a:pt x="1069" y="58104"/>
                            </a:cubicBezTo>
                            <a:lnTo>
                              <a:pt x="0" y="34396"/>
                            </a:lnTo>
                            <a:close/>
                          </a:path>
                        </a:pathLst>
                      </a:custGeom>
                      <a:solidFill>
                        <a:srgbClr val="EB996E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0" name="Freeform: Shape 819">
                        <a:extLst>
                          <a:ext uri="{FF2B5EF4-FFF2-40B4-BE49-F238E27FC236}">
                            <a16:creationId xmlns:a16="http://schemas.microsoft.com/office/drawing/2014/main" id="{9A9B928E-751D-4EAA-888E-0AEFBE226E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5588" y="3907667"/>
                        <a:ext cx="42675" cy="30628"/>
                      </a:xfrm>
                      <a:custGeom>
                        <a:avLst/>
                        <a:gdLst>
                          <a:gd name="connsiteX0" fmla="*/ 1397 w 42675"/>
                          <a:gd name="connsiteY0" fmla="*/ 9223 h 30628"/>
                          <a:gd name="connsiteX1" fmla="*/ 23939 w 42675"/>
                          <a:gd name="connsiteY1" fmla="*/ 186 h 30628"/>
                          <a:gd name="connsiteX2" fmla="*/ 39582 w 42675"/>
                          <a:gd name="connsiteY2" fmla="*/ 8834 h 30628"/>
                          <a:gd name="connsiteX3" fmla="*/ 40457 w 42675"/>
                          <a:gd name="connsiteY3" fmla="*/ 25352 h 30628"/>
                          <a:gd name="connsiteX4" fmla="*/ 22190 w 42675"/>
                          <a:gd name="connsiteY4" fmla="*/ 29724 h 30628"/>
                          <a:gd name="connsiteX5" fmla="*/ 4604 w 42675"/>
                          <a:gd name="connsiteY5" fmla="*/ 18939 h 30628"/>
                          <a:gd name="connsiteX6" fmla="*/ 717 w 42675"/>
                          <a:gd name="connsiteY6" fmla="*/ 14761 h 30628"/>
                          <a:gd name="connsiteX7" fmla="*/ 814 w 42675"/>
                          <a:gd name="connsiteY7" fmla="*/ 9611 h 306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42675" h="30628">
                            <a:moveTo>
                              <a:pt x="1397" y="9223"/>
                            </a:moveTo>
                            <a:cubicBezTo>
                              <a:pt x="6450" y="2713"/>
                              <a:pt x="15291" y="-882"/>
                              <a:pt x="23939" y="186"/>
                            </a:cubicBezTo>
                            <a:cubicBezTo>
                              <a:pt x="29963" y="867"/>
                              <a:pt x="35987" y="3879"/>
                              <a:pt x="39582" y="8834"/>
                            </a:cubicBezTo>
                            <a:cubicBezTo>
                              <a:pt x="43177" y="13789"/>
                              <a:pt x="43858" y="20785"/>
                              <a:pt x="40457" y="25352"/>
                            </a:cubicBezTo>
                            <a:cubicBezTo>
                              <a:pt x="36667" y="30599"/>
                              <a:pt x="28797" y="31667"/>
                              <a:pt x="22190" y="29724"/>
                            </a:cubicBezTo>
                            <a:cubicBezTo>
                              <a:pt x="15583" y="27781"/>
                              <a:pt x="9947" y="23311"/>
                              <a:pt x="4604" y="18939"/>
                            </a:cubicBezTo>
                            <a:cubicBezTo>
                              <a:pt x="3146" y="17676"/>
                              <a:pt x="1591" y="16413"/>
                              <a:pt x="717" y="14761"/>
                            </a:cubicBezTo>
                            <a:cubicBezTo>
                              <a:pt x="-157" y="13109"/>
                              <a:pt x="-352" y="10971"/>
                              <a:pt x="814" y="9611"/>
                            </a:cubicBezTo>
                          </a:path>
                        </a:pathLst>
                      </a:custGeom>
                      <a:solidFill>
                        <a:srgbClr val="EB996E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1" name="Freeform: Shape 820">
                        <a:extLst>
                          <a:ext uri="{FF2B5EF4-FFF2-40B4-BE49-F238E27FC236}">
                            <a16:creationId xmlns:a16="http://schemas.microsoft.com/office/drawing/2014/main" id="{996FB467-C73F-45CE-9B15-71F90C1D6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47650" y="3893471"/>
                        <a:ext cx="46767" cy="39476"/>
                      </a:xfrm>
                      <a:custGeom>
                        <a:avLst/>
                        <a:gdLst>
                          <a:gd name="connsiteX0" fmla="*/ 44605 w 46767"/>
                          <a:gd name="connsiteY0" fmla="*/ 2 h 39476"/>
                          <a:gd name="connsiteX1" fmla="*/ 29156 w 46767"/>
                          <a:gd name="connsiteY1" fmla="*/ 25459 h 39476"/>
                          <a:gd name="connsiteX2" fmla="*/ 7 w 46767"/>
                          <a:gd name="connsiteY2" fmla="*/ 36244 h 39476"/>
                          <a:gd name="connsiteX3" fmla="*/ 10307 w 46767"/>
                          <a:gd name="connsiteY3" fmla="*/ 39450 h 39476"/>
                          <a:gd name="connsiteX4" fmla="*/ 34597 w 46767"/>
                          <a:gd name="connsiteY4" fmla="*/ 31288 h 39476"/>
                          <a:gd name="connsiteX5" fmla="*/ 46646 w 46767"/>
                          <a:gd name="connsiteY5" fmla="*/ 9913 h 39476"/>
                          <a:gd name="connsiteX6" fmla="*/ 44605 w 46767"/>
                          <a:gd name="connsiteY6" fmla="*/ 2 h 394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767" h="39476">
                            <a:moveTo>
                              <a:pt x="44605" y="2"/>
                            </a:moveTo>
                            <a:cubicBezTo>
                              <a:pt x="42371" y="-192"/>
                              <a:pt x="42176" y="14868"/>
                              <a:pt x="29156" y="25459"/>
                            </a:cubicBezTo>
                            <a:cubicBezTo>
                              <a:pt x="16136" y="36049"/>
                              <a:pt x="105" y="34204"/>
                              <a:pt x="7" y="36244"/>
                            </a:cubicBezTo>
                            <a:cubicBezTo>
                              <a:pt x="-187" y="37216"/>
                              <a:pt x="3505" y="39256"/>
                              <a:pt x="10307" y="39450"/>
                            </a:cubicBezTo>
                            <a:cubicBezTo>
                              <a:pt x="16914" y="39742"/>
                              <a:pt x="26727" y="37701"/>
                              <a:pt x="34597" y="31288"/>
                            </a:cubicBezTo>
                            <a:cubicBezTo>
                              <a:pt x="42565" y="24779"/>
                              <a:pt x="46063" y="16131"/>
                              <a:pt x="46646" y="9913"/>
                            </a:cubicBezTo>
                            <a:cubicBezTo>
                              <a:pt x="47229" y="3694"/>
                              <a:pt x="45577" y="-95"/>
                              <a:pt x="44605" y="2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822" name="Freeform: Shape 821">
                      <a:extLst>
                        <a:ext uri="{FF2B5EF4-FFF2-40B4-BE49-F238E27FC236}">
                          <a16:creationId xmlns:a16="http://schemas.microsoft.com/office/drawing/2014/main" id="{B4E3085B-15EC-40D7-B1CA-5E53EFB05C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42764" y="3548776"/>
                      <a:ext cx="287074" cy="201218"/>
                    </a:xfrm>
                    <a:custGeom>
                      <a:avLst/>
                      <a:gdLst>
                        <a:gd name="connsiteX0" fmla="*/ 286589 w 287074"/>
                        <a:gd name="connsiteY0" fmla="*/ 72640 h 201218"/>
                        <a:gd name="connsiteX1" fmla="*/ 82643 w 287074"/>
                        <a:gd name="connsiteY1" fmla="*/ 191568 h 201218"/>
                        <a:gd name="connsiteX2" fmla="*/ 141815 w 287074"/>
                        <a:gd name="connsiteY2" fmla="*/ 143763 h 201218"/>
                        <a:gd name="connsiteX3" fmla="*/ 22985 w 287074"/>
                        <a:gd name="connsiteY3" fmla="*/ 201090 h 201218"/>
                        <a:gd name="connsiteX4" fmla="*/ 8604 w 287074"/>
                        <a:gd name="connsiteY4" fmla="*/ 198855 h 201218"/>
                        <a:gd name="connsiteX5" fmla="*/ 1317 w 287074"/>
                        <a:gd name="connsiteY5" fmla="*/ 183017 h 201218"/>
                        <a:gd name="connsiteX6" fmla="*/ 4232 w 287074"/>
                        <a:gd name="connsiteY6" fmla="*/ 91878 h 201218"/>
                        <a:gd name="connsiteX7" fmla="*/ 40474 w 287074"/>
                        <a:gd name="connsiteY7" fmla="*/ 26876 h 201218"/>
                        <a:gd name="connsiteX8" fmla="*/ 142010 w 287074"/>
                        <a:gd name="connsiteY8" fmla="*/ 156 h 201218"/>
                        <a:gd name="connsiteX9" fmla="*/ 231497 w 287074"/>
                        <a:gd name="connsiteY9" fmla="*/ 12204 h 201218"/>
                        <a:gd name="connsiteX10" fmla="*/ 287074 w 287074"/>
                        <a:gd name="connsiteY10" fmla="*/ 70891 h 2012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287074" h="201218">
                          <a:moveTo>
                            <a:pt x="286589" y="72640"/>
                          </a:moveTo>
                          <a:cubicBezTo>
                            <a:pt x="249764" y="125108"/>
                            <a:pt x="152406" y="179034"/>
                            <a:pt x="82643" y="191568"/>
                          </a:cubicBezTo>
                          <a:cubicBezTo>
                            <a:pt x="90805" y="180880"/>
                            <a:pt x="133654" y="154451"/>
                            <a:pt x="141815" y="143763"/>
                          </a:cubicBezTo>
                          <a:cubicBezTo>
                            <a:pt x="110237" y="167374"/>
                            <a:pt x="64959" y="198952"/>
                            <a:pt x="22985" y="201090"/>
                          </a:cubicBezTo>
                          <a:cubicBezTo>
                            <a:pt x="18029" y="201381"/>
                            <a:pt x="12685" y="201381"/>
                            <a:pt x="8604" y="198855"/>
                          </a:cubicBezTo>
                          <a:cubicBezTo>
                            <a:pt x="3066" y="195454"/>
                            <a:pt x="1900" y="188847"/>
                            <a:pt x="1317" y="183017"/>
                          </a:cubicBezTo>
                          <a:cubicBezTo>
                            <a:pt x="-1403" y="158435"/>
                            <a:pt x="345" y="116266"/>
                            <a:pt x="4232" y="91878"/>
                          </a:cubicBezTo>
                          <a:cubicBezTo>
                            <a:pt x="8119" y="67490"/>
                            <a:pt x="19389" y="43199"/>
                            <a:pt x="40474" y="26876"/>
                          </a:cubicBezTo>
                          <a:cubicBezTo>
                            <a:pt x="67388" y="6083"/>
                            <a:pt x="105768" y="1030"/>
                            <a:pt x="142010" y="156"/>
                          </a:cubicBezTo>
                          <a:cubicBezTo>
                            <a:pt x="172422" y="-621"/>
                            <a:pt x="203708" y="1225"/>
                            <a:pt x="231497" y="12204"/>
                          </a:cubicBezTo>
                          <a:cubicBezTo>
                            <a:pt x="259286" y="23184"/>
                            <a:pt x="282994" y="44851"/>
                            <a:pt x="287074" y="70891"/>
                          </a:cubicBezTo>
                        </a:path>
                      </a:pathLst>
                    </a:custGeom>
                    <a:solidFill>
                      <a:srgbClr val="263238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3" name="Freeform: Shape 822">
                      <a:extLst>
                        <a:ext uri="{FF2B5EF4-FFF2-40B4-BE49-F238E27FC236}">
                          <a16:creationId xmlns:a16="http://schemas.microsoft.com/office/drawing/2014/main" id="{06715D00-BD81-4FA3-92DC-8C054EF530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943863" y="3560388"/>
                      <a:ext cx="201335" cy="352906"/>
                    </a:xfrm>
                    <a:custGeom>
                      <a:avLst/>
                      <a:gdLst>
                        <a:gd name="connsiteX0" fmla="*/ 191009 w 201335"/>
                        <a:gd name="connsiteY0" fmla="*/ 296066 h 352906"/>
                        <a:gd name="connsiteX1" fmla="*/ 201017 w 201335"/>
                        <a:gd name="connsiteY1" fmla="*/ 228829 h 352906"/>
                        <a:gd name="connsiteX2" fmla="*/ 10091 w 201335"/>
                        <a:gd name="connsiteY2" fmla="*/ 884 h 352906"/>
                        <a:gd name="connsiteX3" fmla="*/ 2901 w 201335"/>
                        <a:gd name="connsiteY3" fmla="*/ 55392 h 352906"/>
                        <a:gd name="connsiteX4" fmla="*/ 90931 w 201335"/>
                        <a:gd name="connsiteY4" fmla="*/ 243307 h 352906"/>
                        <a:gd name="connsiteX5" fmla="*/ 149715 w 201335"/>
                        <a:gd name="connsiteY5" fmla="*/ 352907 h 352906"/>
                        <a:gd name="connsiteX6" fmla="*/ 191009 w 201335"/>
                        <a:gd name="connsiteY6" fmla="*/ 296066 h 3529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01335" h="352906">
                          <a:moveTo>
                            <a:pt x="191009" y="296066"/>
                          </a:moveTo>
                          <a:cubicBezTo>
                            <a:pt x="196062" y="270026"/>
                            <a:pt x="200143" y="245347"/>
                            <a:pt x="201017" y="228829"/>
                          </a:cubicBezTo>
                          <a:cubicBezTo>
                            <a:pt x="204029" y="176944"/>
                            <a:pt x="188969" y="-14565"/>
                            <a:pt x="10091" y="884"/>
                          </a:cubicBezTo>
                          <a:lnTo>
                            <a:pt x="2901" y="55392"/>
                          </a:lnTo>
                          <a:cubicBezTo>
                            <a:pt x="2901" y="55392"/>
                            <a:pt x="-24790" y="241849"/>
                            <a:pt x="90931" y="243307"/>
                          </a:cubicBezTo>
                          <a:cubicBezTo>
                            <a:pt x="90931" y="243307"/>
                            <a:pt x="97344" y="298884"/>
                            <a:pt x="149715" y="352907"/>
                          </a:cubicBezTo>
                          <a:cubicBezTo>
                            <a:pt x="149812" y="352809"/>
                            <a:pt x="180127" y="351935"/>
                            <a:pt x="191009" y="296066"/>
                          </a:cubicBezTo>
                        </a:path>
                      </a:pathLst>
                    </a:custGeom>
                    <a:solidFill>
                      <a:srgbClr val="263238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4" name="Freeform: Shape 823">
                      <a:extLst>
                        <a:ext uri="{FF2B5EF4-FFF2-40B4-BE49-F238E27FC236}">
                          <a16:creationId xmlns:a16="http://schemas.microsoft.com/office/drawing/2014/main" id="{181CD1E0-683D-4495-A2D3-B25EFB3E3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29936" y="3802461"/>
                      <a:ext cx="63742" cy="98217"/>
                    </a:xfrm>
                    <a:custGeom>
                      <a:avLst/>
                      <a:gdLst>
                        <a:gd name="connsiteX0" fmla="*/ 4955 w 63742"/>
                        <a:gd name="connsiteY0" fmla="*/ 1136 h 98217"/>
                        <a:gd name="connsiteX1" fmla="*/ 37311 w 63742"/>
                        <a:gd name="connsiteY1" fmla="*/ 3565 h 98217"/>
                        <a:gd name="connsiteX2" fmla="*/ 60727 w 63742"/>
                        <a:gd name="connsiteY2" fmla="*/ 25330 h 98217"/>
                        <a:gd name="connsiteX3" fmla="*/ 60630 w 63742"/>
                        <a:gd name="connsiteY3" fmla="*/ 57491 h 98217"/>
                        <a:gd name="connsiteX4" fmla="*/ 41974 w 63742"/>
                        <a:gd name="connsiteY4" fmla="*/ 84308 h 98217"/>
                        <a:gd name="connsiteX5" fmla="*/ 22347 w 63742"/>
                        <a:gd name="connsiteY5" fmla="*/ 97036 h 98217"/>
                        <a:gd name="connsiteX6" fmla="*/ 0 w 63742"/>
                        <a:gd name="connsiteY6" fmla="*/ 93344 h 982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3742" h="98217">
                          <a:moveTo>
                            <a:pt x="4955" y="1136"/>
                          </a:moveTo>
                          <a:cubicBezTo>
                            <a:pt x="15740" y="-807"/>
                            <a:pt x="27109" y="-419"/>
                            <a:pt x="37311" y="3565"/>
                          </a:cubicBezTo>
                          <a:cubicBezTo>
                            <a:pt x="47513" y="7549"/>
                            <a:pt x="56452" y="15225"/>
                            <a:pt x="60727" y="25330"/>
                          </a:cubicBezTo>
                          <a:cubicBezTo>
                            <a:pt x="65002" y="35434"/>
                            <a:pt x="64516" y="47191"/>
                            <a:pt x="60630" y="57491"/>
                          </a:cubicBezTo>
                          <a:cubicBezTo>
                            <a:pt x="56743" y="67790"/>
                            <a:pt x="49942" y="76729"/>
                            <a:pt x="41974" y="84308"/>
                          </a:cubicBezTo>
                          <a:cubicBezTo>
                            <a:pt x="36339" y="89749"/>
                            <a:pt x="29829" y="94801"/>
                            <a:pt x="22347" y="97036"/>
                          </a:cubicBezTo>
                          <a:cubicBezTo>
                            <a:pt x="14769" y="99271"/>
                            <a:pt x="5927" y="98494"/>
                            <a:pt x="0" y="93344"/>
                          </a:cubicBezTo>
                        </a:path>
                      </a:pathLst>
                    </a:custGeom>
                    <a:solidFill>
                      <a:srgbClr val="FFBE9D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5" name="Freeform: Shape 824">
                      <a:extLst>
                        <a:ext uri="{FF2B5EF4-FFF2-40B4-BE49-F238E27FC236}">
                          <a16:creationId xmlns:a16="http://schemas.microsoft.com/office/drawing/2014/main" id="{0CD61623-AAD4-4504-8C3B-D5ED9C8095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39838" y="3817476"/>
                      <a:ext cx="31400" cy="56368"/>
                    </a:xfrm>
                    <a:custGeom>
                      <a:avLst/>
                      <a:gdLst>
                        <a:gd name="connsiteX0" fmla="*/ 203 w 31400"/>
                        <a:gd name="connsiteY0" fmla="*/ 51415 h 56368"/>
                        <a:gd name="connsiteX1" fmla="*/ 13417 w 31400"/>
                        <a:gd name="connsiteY1" fmla="*/ 55787 h 56368"/>
                        <a:gd name="connsiteX2" fmla="*/ 25660 w 31400"/>
                        <a:gd name="connsiteY2" fmla="*/ 45294 h 56368"/>
                        <a:gd name="connsiteX3" fmla="*/ 31198 w 31400"/>
                        <a:gd name="connsiteY3" fmla="*/ 27513 h 56368"/>
                        <a:gd name="connsiteX4" fmla="*/ 26826 w 31400"/>
                        <a:gd name="connsiteY4" fmla="*/ 8566 h 56368"/>
                        <a:gd name="connsiteX5" fmla="*/ 12834 w 31400"/>
                        <a:gd name="connsiteY5" fmla="*/ 16 h 56368"/>
                        <a:gd name="connsiteX6" fmla="*/ 689 w 31400"/>
                        <a:gd name="connsiteY6" fmla="*/ 6817 h 56368"/>
                        <a:gd name="connsiteX7" fmla="*/ 12057 w 31400"/>
                        <a:gd name="connsiteY7" fmla="*/ 5748 h 56368"/>
                        <a:gd name="connsiteX8" fmla="*/ 23036 w 31400"/>
                        <a:gd name="connsiteY8" fmla="*/ 26638 h 56368"/>
                        <a:gd name="connsiteX9" fmla="*/ 11377 w 31400"/>
                        <a:gd name="connsiteY9" fmla="*/ 50249 h 56368"/>
                        <a:gd name="connsiteX10" fmla="*/ 203 w 31400"/>
                        <a:gd name="connsiteY10" fmla="*/ 51415 h 563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1400" h="56368">
                          <a:moveTo>
                            <a:pt x="203" y="51415"/>
                          </a:moveTo>
                          <a:cubicBezTo>
                            <a:pt x="-1060" y="51804"/>
                            <a:pt x="3604" y="58314"/>
                            <a:pt x="13417" y="55787"/>
                          </a:cubicBezTo>
                          <a:cubicBezTo>
                            <a:pt x="18178" y="54621"/>
                            <a:pt x="22842" y="50443"/>
                            <a:pt x="25660" y="45294"/>
                          </a:cubicBezTo>
                          <a:cubicBezTo>
                            <a:pt x="28575" y="40047"/>
                            <a:pt x="30421" y="34314"/>
                            <a:pt x="31198" y="27513"/>
                          </a:cubicBezTo>
                          <a:cubicBezTo>
                            <a:pt x="31975" y="20809"/>
                            <a:pt x="30518" y="13618"/>
                            <a:pt x="26826" y="8566"/>
                          </a:cubicBezTo>
                          <a:cubicBezTo>
                            <a:pt x="23328" y="3319"/>
                            <a:pt x="17595" y="210"/>
                            <a:pt x="12834" y="16"/>
                          </a:cubicBezTo>
                          <a:cubicBezTo>
                            <a:pt x="2729" y="-373"/>
                            <a:pt x="-477" y="6623"/>
                            <a:pt x="689" y="6817"/>
                          </a:cubicBezTo>
                          <a:cubicBezTo>
                            <a:pt x="1466" y="7691"/>
                            <a:pt x="5450" y="4096"/>
                            <a:pt x="12057" y="5748"/>
                          </a:cubicBezTo>
                          <a:cubicBezTo>
                            <a:pt x="18372" y="7011"/>
                            <a:pt x="24494" y="15756"/>
                            <a:pt x="23036" y="26638"/>
                          </a:cubicBezTo>
                          <a:cubicBezTo>
                            <a:pt x="21676" y="37715"/>
                            <a:pt x="17304" y="47723"/>
                            <a:pt x="11377" y="50249"/>
                          </a:cubicBezTo>
                          <a:cubicBezTo>
                            <a:pt x="5255" y="53358"/>
                            <a:pt x="883" y="50541"/>
                            <a:pt x="203" y="51415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26" name="Freeform: Shape 825">
                    <a:extLst>
                      <a:ext uri="{FF2B5EF4-FFF2-40B4-BE49-F238E27FC236}">
                        <a16:creationId xmlns:a16="http://schemas.microsoft.com/office/drawing/2014/main" id="{E5A307B3-7397-453C-B47B-468B0FDDAA14}"/>
                      </a:ext>
                    </a:extLst>
                  </p:cNvPr>
                  <p:cNvSpPr/>
                  <p:nvPr/>
                </p:nvSpPr>
                <p:spPr>
                  <a:xfrm>
                    <a:off x="2038943" y="3522983"/>
                    <a:ext cx="104527" cy="102959"/>
                  </a:xfrm>
                  <a:custGeom>
                    <a:avLst/>
                    <a:gdLst>
                      <a:gd name="connsiteX0" fmla="*/ 15477 w 104527"/>
                      <a:gd name="connsiteY0" fmla="*/ 78806 h 102959"/>
                      <a:gd name="connsiteX1" fmla="*/ 61144 w 104527"/>
                      <a:gd name="connsiteY1" fmla="*/ 84830 h 102959"/>
                      <a:gd name="connsiteX2" fmla="*/ 97969 w 104527"/>
                      <a:gd name="connsiteY2" fmla="*/ 57139 h 102959"/>
                      <a:gd name="connsiteX3" fmla="*/ 103605 w 104527"/>
                      <a:gd name="connsiteY3" fmla="*/ 27990 h 102959"/>
                      <a:gd name="connsiteX4" fmla="*/ 73581 w 104527"/>
                      <a:gd name="connsiteY4" fmla="*/ 1950 h 102959"/>
                      <a:gd name="connsiteX5" fmla="*/ 17129 w 104527"/>
                      <a:gd name="connsiteY5" fmla="*/ 15456 h 102959"/>
                      <a:gd name="connsiteX6" fmla="*/ 2555 w 104527"/>
                      <a:gd name="connsiteY6" fmla="*/ 70839 h 102959"/>
                      <a:gd name="connsiteX7" fmla="*/ 48999 w 104527"/>
                      <a:gd name="connsiteY7" fmla="*/ 102903 h 102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4527" h="102959">
                        <a:moveTo>
                          <a:pt x="15477" y="78806"/>
                        </a:moveTo>
                        <a:cubicBezTo>
                          <a:pt x="29178" y="86579"/>
                          <a:pt x="45987" y="88814"/>
                          <a:pt x="61144" y="84830"/>
                        </a:cubicBezTo>
                        <a:cubicBezTo>
                          <a:pt x="76399" y="80847"/>
                          <a:pt x="89905" y="70644"/>
                          <a:pt x="97969" y="57139"/>
                        </a:cubicBezTo>
                        <a:cubicBezTo>
                          <a:pt x="103216" y="48394"/>
                          <a:pt x="106131" y="37803"/>
                          <a:pt x="103605" y="27990"/>
                        </a:cubicBezTo>
                        <a:cubicBezTo>
                          <a:pt x="100107" y="14484"/>
                          <a:pt x="86990" y="5448"/>
                          <a:pt x="73581" y="1950"/>
                        </a:cubicBezTo>
                        <a:cubicBezTo>
                          <a:pt x="54051" y="-3103"/>
                          <a:pt x="31898" y="1756"/>
                          <a:pt x="17129" y="15456"/>
                        </a:cubicBezTo>
                        <a:cubicBezTo>
                          <a:pt x="2361" y="29253"/>
                          <a:pt x="-3955" y="51698"/>
                          <a:pt x="2555" y="70839"/>
                        </a:cubicBezTo>
                        <a:cubicBezTo>
                          <a:pt x="9065" y="89883"/>
                          <a:pt x="28789" y="103971"/>
                          <a:pt x="48999" y="102903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7" name="Freeform: Shape 826">
                    <a:extLst>
                      <a:ext uri="{FF2B5EF4-FFF2-40B4-BE49-F238E27FC236}">
                        <a16:creationId xmlns:a16="http://schemas.microsoft.com/office/drawing/2014/main" id="{2DD978A8-7D29-4732-88E5-9EBE383D89E1}"/>
                      </a:ext>
                    </a:extLst>
                  </p:cNvPr>
                  <p:cNvSpPr/>
                  <p:nvPr/>
                </p:nvSpPr>
                <p:spPr>
                  <a:xfrm>
                    <a:off x="2011700" y="3891724"/>
                    <a:ext cx="146685" cy="197017"/>
                  </a:xfrm>
                  <a:custGeom>
                    <a:avLst/>
                    <a:gdLst>
                      <a:gd name="connsiteX0" fmla="*/ 58947 w 146685"/>
                      <a:gd name="connsiteY0" fmla="*/ 0 h 197017"/>
                      <a:gd name="connsiteX1" fmla="*/ 31159 w 146685"/>
                      <a:gd name="connsiteY1" fmla="*/ 23999 h 197017"/>
                      <a:gd name="connsiteX2" fmla="*/ 19110 w 146685"/>
                      <a:gd name="connsiteY2" fmla="*/ 57812 h 197017"/>
                      <a:gd name="connsiteX3" fmla="*/ 21345 w 146685"/>
                      <a:gd name="connsiteY3" fmla="*/ 78216 h 197017"/>
                      <a:gd name="connsiteX4" fmla="*/ 7256 w 146685"/>
                      <a:gd name="connsiteY4" fmla="*/ 102507 h 197017"/>
                      <a:gd name="connsiteX5" fmla="*/ 16390 w 146685"/>
                      <a:gd name="connsiteY5" fmla="*/ 170036 h 197017"/>
                      <a:gd name="connsiteX6" fmla="*/ 82461 w 146685"/>
                      <a:gd name="connsiteY6" fmla="*/ 196950 h 197017"/>
                      <a:gd name="connsiteX7" fmla="*/ 123075 w 146685"/>
                      <a:gd name="connsiteY7" fmla="*/ 187331 h 197017"/>
                      <a:gd name="connsiteX8" fmla="*/ 146686 w 146685"/>
                      <a:gd name="connsiteY8" fmla="*/ 133211 h 1970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6685" h="197017">
                        <a:moveTo>
                          <a:pt x="58947" y="0"/>
                        </a:moveTo>
                        <a:cubicBezTo>
                          <a:pt x="49037" y="7190"/>
                          <a:pt x="38932" y="14477"/>
                          <a:pt x="31159" y="23999"/>
                        </a:cubicBezTo>
                        <a:cubicBezTo>
                          <a:pt x="23386" y="33521"/>
                          <a:pt x="18042" y="45570"/>
                          <a:pt x="19110" y="57812"/>
                        </a:cubicBezTo>
                        <a:cubicBezTo>
                          <a:pt x="19790" y="64614"/>
                          <a:pt x="22317" y="71415"/>
                          <a:pt x="21345" y="78216"/>
                        </a:cubicBezTo>
                        <a:cubicBezTo>
                          <a:pt x="19985" y="87544"/>
                          <a:pt x="12309" y="94443"/>
                          <a:pt x="7256" y="102507"/>
                        </a:cubicBezTo>
                        <a:cubicBezTo>
                          <a:pt x="-5861" y="123106"/>
                          <a:pt x="-225" y="152061"/>
                          <a:pt x="16390" y="170036"/>
                        </a:cubicBezTo>
                        <a:cubicBezTo>
                          <a:pt x="32908" y="188011"/>
                          <a:pt x="58073" y="196076"/>
                          <a:pt x="82461" y="196950"/>
                        </a:cubicBezTo>
                        <a:cubicBezTo>
                          <a:pt x="96647" y="197436"/>
                          <a:pt x="111513" y="195395"/>
                          <a:pt x="123075" y="187331"/>
                        </a:cubicBezTo>
                        <a:cubicBezTo>
                          <a:pt x="139787" y="175574"/>
                          <a:pt x="146200" y="153712"/>
                          <a:pt x="146686" y="133211"/>
                        </a:cubicBezTo>
                      </a:path>
                    </a:pathLst>
                  </a:custGeom>
                  <a:solidFill>
                    <a:srgbClr val="263238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8" name="Freeform: Shape 827">
                    <a:extLst>
                      <a:ext uri="{FF2B5EF4-FFF2-40B4-BE49-F238E27FC236}">
                        <a16:creationId xmlns:a16="http://schemas.microsoft.com/office/drawing/2014/main" id="{A0E8E29F-CB3D-4818-883E-FC338AF3081E}"/>
                      </a:ext>
                    </a:extLst>
                  </p:cNvPr>
                  <p:cNvSpPr/>
                  <p:nvPr/>
                </p:nvSpPr>
                <p:spPr>
                  <a:xfrm>
                    <a:off x="1975509" y="3641892"/>
                    <a:ext cx="107327" cy="92220"/>
                  </a:xfrm>
                  <a:custGeom>
                    <a:avLst/>
                    <a:gdLst>
                      <a:gd name="connsiteX0" fmla="*/ 107283 w 107327"/>
                      <a:gd name="connsiteY0" fmla="*/ 25 h 92220"/>
                      <a:gd name="connsiteX1" fmla="*/ 96692 w 107327"/>
                      <a:gd name="connsiteY1" fmla="*/ 18389 h 92220"/>
                      <a:gd name="connsiteX2" fmla="*/ 62199 w 107327"/>
                      <a:gd name="connsiteY2" fmla="*/ 56088 h 92220"/>
                      <a:gd name="connsiteX3" fmla="*/ 19739 w 107327"/>
                      <a:gd name="connsiteY3" fmla="*/ 84460 h 92220"/>
                      <a:gd name="connsiteX4" fmla="*/ 15 w 107327"/>
                      <a:gd name="connsiteY4" fmla="*/ 92136 h 92220"/>
                      <a:gd name="connsiteX5" fmla="*/ 58896 w 107327"/>
                      <a:gd name="connsiteY5" fmla="*/ 52202 h 92220"/>
                      <a:gd name="connsiteX6" fmla="*/ 107283 w 107327"/>
                      <a:gd name="connsiteY6" fmla="*/ 25 h 922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7327" h="92220">
                        <a:moveTo>
                          <a:pt x="107283" y="25"/>
                        </a:moveTo>
                        <a:cubicBezTo>
                          <a:pt x="107769" y="316"/>
                          <a:pt x="104271" y="7604"/>
                          <a:pt x="96692" y="18389"/>
                        </a:cubicBezTo>
                        <a:cubicBezTo>
                          <a:pt x="89211" y="29077"/>
                          <a:pt x="77454" y="43068"/>
                          <a:pt x="62199" y="56088"/>
                        </a:cubicBezTo>
                        <a:cubicBezTo>
                          <a:pt x="46945" y="69108"/>
                          <a:pt x="31496" y="78727"/>
                          <a:pt x="19739" y="84460"/>
                        </a:cubicBezTo>
                        <a:cubicBezTo>
                          <a:pt x="7982" y="90290"/>
                          <a:pt x="209" y="92719"/>
                          <a:pt x="15" y="92136"/>
                        </a:cubicBezTo>
                        <a:cubicBezTo>
                          <a:pt x="-763" y="90678"/>
                          <a:pt x="29164" y="78047"/>
                          <a:pt x="58896" y="52202"/>
                        </a:cubicBezTo>
                        <a:cubicBezTo>
                          <a:pt x="89016" y="26648"/>
                          <a:pt x="106020" y="-947"/>
                          <a:pt x="107283" y="25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29" name="Freeform: Shape 828">
                    <a:extLst>
                      <a:ext uri="{FF2B5EF4-FFF2-40B4-BE49-F238E27FC236}">
                        <a16:creationId xmlns:a16="http://schemas.microsoft.com/office/drawing/2014/main" id="{9A4B37A9-260B-43C7-BF9C-41A95B3EC457}"/>
                      </a:ext>
                    </a:extLst>
                  </p:cNvPr>
                  <p:cNvSpPr/>
                  <p:nvPr/>
                </p:nvSpPr>
                <p:spPr>
                  <a:xfrm>
                    <a:off x="2016982" y="3640845"/>
                    <a:ext cx="84591" cy="140146"/>
                  </a:xfrm>
                  <a:custGeom>
                    <a:avLst/>
                    <a:gdLst>
                      <a:gd name="connsiteX0" fmla="*/ 84369 w 84591"/>
                      <a:gd name="connsiteY0" fmla="*/ 3 h 140146"/>
                      <a:gd name="connsiteX1" fmla="*/ 81066 w 84591"/>
                      <a:gd name="connsiteY1" fmla="*/ 24488 h 140146"/>
                      <a:gd name="connsiteX2" fmla="*/ 58329 w 84591"/>
                      <a:gd name="connsiteY2" fmla="*/ 79774 h 140146"/>
                      <a:gd name="connsiteX3" fmla="*/ 20144 w 84591"/>
                      <a:gd name="connsiteY3" fmla="*/ 125732 h 140146"/>
                      <a:gd name="connsiteX4" fmla="*/ 31 w 84591"/>
                      <a:gd name="connsiteY4" fmla="*/ 140112 h 140146"/>
                      <a:gd name="connsiteX5" fmla="*/ 54054 w 84591"/>
                      <a:gd name="connsiteY5" fmla="*/ 77151 h 140146"/>
                      <a:gd name="connsiteX6" fmla="*/ 84369 w 84591"/>
                      <a:gd name="connsiteY6" fmla="*/ 3 h 1401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4591" h="140146">
                        <a:moveTo>
                          <a:pt x="84369" y="3"/>
                        </a:moveTo>
                        <a:cubicBezTo>
                          <a:pt x="84952" y="100"/>
                          <a:pt x="84563" y="9622"/>
                          <a:pt x="81066" y="24488"/>
                        </a:cubicBezTo>
                        <a:cubicBezTo>
                          <a:pt x="77568" y="39451"/>
                          <a:pt x="70378" y="59661"/>
                          <a:pt x="58329" y="79774"/>
                        </a:cubicBezTo>
                        <a:cubicBezTo>
                          <a:pt x="46184" y="99887"/>
                          <a:pt x="31707" y="115725"/>
                          <a:pt x="20144" y="125732"/>
                        </a:cubicBezTo>
                        <a:cubicBezTo>
                          <a:pt x="8582" y="135837"/>
                          <a:pt x="323" y="140598"/>
                          <a:pt x="31" y="140112"/>
                        </a:cubicBezTo>
                        <a:cubicBezTo>
                          <a:pt x="-1135" y="138849"/>
                          <a:pt x="30443" y="116890"/>
                          <a:pt x="54054" y="77151"/>
                        </a:cubicBezTo>
                        <a:cubicBezTo>
                          <a:pt x="78151" y="37799"/>
                          <a:pt x="82717" y="-386"/>
                          <a:pt x="84369" y="3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0" name="Freeform: Shape 829">
                    <a:extLst>
                      <a:ext uri="{FF2B5EF4-FFF2-40B4-BE49-F238E27FC236}">
                        <a16:creationId xmlns:a16="http://schemas.microsoft.com/office/drawing/2014/main" id="{A5A63F1F-A5DD-4C74-A7A4-9599F3B33EC3}"/>
                      </a:ext>
                    </a:extLst>
                  </p:cNvPr>
                  <p:cNvSpPr/>
                  <p:nvPr/>
                </p:nvSpPr>
                <p:spPr>
                  <a:xfrm>
                    <a:off x="1712221" y="3721882"/>
                    <a:ext cx="21897" cy="72507"/>
                  </a:xfrm>
                  <a:custGeom>
                    <a:avLst/>
                    <a:gdLst>
                      <a:gd name="connsiteX0" fmla="*/ 768 w 21897"/>
                      <a:gd name="connsiteY0" fmla="*/ 0 h 72507"/>
                      <a:gd name="connsiteX1" fmla="*/ 9998 w 21897"/>
                      <a:gd name="connsiteY1" fmla="*/ 36631 h 72507"/>
                      <a:gd name="connsiteX2" fmla="*/ 21755 w 21897"/>
                      <a:gd name="connsiteY2" fmla="*/ 72484 h 72507"/>
                      <a:gd name="connsiteX3" fmla="*/ 5140 w 21897"/>
                      <a:gd name="connsiteY3" fmla="*/ 37991 h 72507"/>
                      <a:gd name="connsiteX4" fmla="*/ 768 w 21897"/>
                      <a:gd name="connsiteY4" fmla="*/ 0 h 725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897" h="72507">
                        <a:moveTo>
                          <a:pt x="768" y="0"/>
                        </a:moveTo>
                        <a:cubicBezTo>
                          <a:pt x="2225" y="-97"/>
                          <a:pt x="4168" y="16712"/>
                          <a:pt x="9998" y="36631"/>
                        </a:cubicBezTo>
                        <a:cubicBezTo>
                          <a:pt x="15634" y="56549"/>
                          <a:pt x="23018" y="71804"/>
                          <a:pt x="21755" y="72484"/>
                        </a:cubicBezTo>
                        <a:cubicBezTo>
                          <a:pt x="20686" y="73164"/>
                          <a:pt x="11067" y="58590"/>
                          <a:pt x="5140" y="37991"/>
                        </a:cubicBezTo>
                        <a:cubicBezTo>
                          <a:pt x="-884" y="17490"/>
                          <a:pt x="-495" y="0"/>
                          <a:pt x="768" y="0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1" name="Freeform: Shape 830">
                    <a:extLst>
                      <a:ext uri="{FF2B5EF4-FFF2-40B4-BE49-F238E27FC236}">
                        <a16:creationId xmlns:a16="http://schemas.microsoft.com/office/drawing/2014/main" id="{AA6789D8-51C2-43DE-B969-DF0675742693}"/>
                      </a:ext>
                    </a:extLst>
                  </p:cNvPr>
                  <p:cNvSpPr/>
                  <p:nvPr/>
                </p:nvSpPr>
                <p:spPr>
                  <a:xfrm>
                    <a:off x="2101439" y="3742856"/>
                    <a:ext cx="94621" cy="329536"/>
                  </a:xfrm>
                  <a:custGeom>
                    <a:avLst/>
                    <a:gdLst>
                      <a:gd name="connsiteX0" fmla="*/ 40137 w 94621"/>
                      <a:gd name="connsiteY0" fmla="*/ 322790 h 329536"/>
                      <a:gd name="connsiteX1" fmla="*/ 54906 w 94621"/>
                      <a:gd name="connsiteY1" fmla="*/ 327551 h 329536"/>
                      <a:gd name="connsiteX2" fmla="*/ 72007 w 94621"/>
                      <a:gd name="connsiteY2" fmla="*/ 322110 h 329536"/>
                      <a:gd name="connsiteX3" fmla="*/ 84930 w 94621"/>
                      <a:gd name="connsiteY3" fmla="*/ 302483 h 329536"/>
                      <a:gd name="connsiteX4" fmla="*/ 85124 w 94621"/>
                      <a:gd name="connsiteY4" fmla="*/ 273237 h 329536"/>
                      <a:gd name="connsiteX5" fmla="*/ 75311 w 94621"/>
                      <a:gd name="connsiteY5" fmla="*/ 239910 h 329536"/>
                      <a:gd name="connsiteX6" fmla="*/ 71035 w 94621"/>
                      <a:gd name="connsiteY6" fmla="*/ 200753 h 329536"/>
                      <a:gd name="connsiteX7" fmla="*/ 86970 w 94621"/>
                      <a:gd name="connsiteY7" fmla="*/ 162179 h 329536"/>
                      <a:gd name="connsiteX8" fmla="*/ 84055 w 94621"/>
                      <a:gd name="connsiteY8" fmla="*/ 123800 h 329536"/>
                      <a:gd name="connsiteX9" fmla="*/ 57432 w 94621"/>
                      <a:gd name="connsiteY9" fmla="*/ 99412 h 329536"/>
                      <a:gd name="connsiteX10" fmla="*/ 40720 w 94621"/>
                      <a:gd name="connsiteY10" fmla="*/ 92124 h 329536"/>
                      <a:gd name="connsiteX11" fmla="*/ 27409 w 94621"/>
                      <a:gd name="connsiteY11" fmla="*/ 80173 h 329536"/>
                      <a:gd name="connsiteX12" fmla="*/ 21385 w 94621"/>
                      <a:gd name="connsiteY12" fmla="*/ 49567 h 329536"/>
                      <a:gd name="connsiteX13" fmla="*/ 20413 w 94621"/>
                      <a:gd name="connsiteY13" fmla="*/ 24887 h 329536"/>
                      <a:gd name="connsiteX14" fmla="*/ 13126 w 94621"/>
                      <a:gd name="connsiteY14" fmla="*/ 8175 h 329536"/>
                      <a:gd name="connsiteX15" fmla="*/ 9 w 94621"/>
                      <a:gd name="connsiteY15" fmla="*/ 111 h 329536"/>
                      <a:gd name="connsiteX16" fmla="*/ 4284 w 94621"/>
                      <a:gd name="connsiteY16" fmla="*/ 402 h 329536"/>
                      <a:gd name="connsiteX17" fmla="*/ 14681 w 94621"/>
                      <a:gd name="connsiteY17" fmla="*/ 6912 h 329536"/>
                      <a:gd name="connsiteX18" fmla="*/ 23231 w 94621"/>
                      <a:gd name="connsiteY18" fmla="*/ 24304 h 329536"/>
                      <a:gd name="connsiteX19" fmla="*/ 25077 w 94621"/>
                      <a:gd name="connsiteY19" fmla="*/ 49664 h 329536"/>
                      <a:gd name="connsiteX20" fmla="*/ 31004 w 94621"/>
                      <a:gd name="connsiteY20" fmla="*/ 77938 h 329536"/>
                      <a:gd name="connsiteX21" fmla="*/ 59279 w 94621"/>
                      <a:gd name="connsiteY21" fmla="*/ 95136 h 329536"/>
                      <a:gd name="connsiteX22" fmla="*/ 88525 w 94621"/>
                      <a:gd name="connsiteY22" fmla="*/ 121565 h 329536"/>
                      <a:gd name="connsiteX23" fmla="*/ 91731 w 94621"/>
                      <a:gd name="connsiteY23" fmla="*/ 163831 h 329536"/>
                      <a:gd name="connsiteX24" fmla="*/ 75894 w 94621"/>
                      <a:gd name="connsiteY24" fmla="*/ 201530 h 329536"/>
                      <a:gd name="connsiteX25" fmla="*/ 79780 w 94621"/>
                      <a:gd name="connsiteY25" fmla="*/ 238550 h 329536"/>
                      <a:gd name="connsiteX26" fmla="*/ 89205 w 94621"/>
                      <a:gd name="connsiteY26" fmla="*/ 272362 h 329536"/>
                      <a:gd name="connsiteX27" fmla="*/ 88331 w 94621"/>
                      <a:gd name="connsiteY27" fmla="*/ 303455 h 329536"/>
                      <a:gd name="connsiteX28" fmla="*/ 73465 w 94621"/>
                      <a:gd name="connsiteY28" fmla="*/ 324442 h 329536"/>
                      <a:gd name="connsiteX29" fmla="*/ 54712 w 94621"/>
                      <a:gd name="connsiteY29" fmla="*/ 329494 h 329536"/>
                      <a:gd name="connsiteX30" fmla="*/ 43052 w 94621"/>
                      <a:gd name="connsiteY30" fmla="*/ 325705 h 329536"/>
                      <a:gd name="connsiteX31" fmla="*/ 40137 w 94621"/>
                      <a:gd name="connsiteY31" fmla="*/ 322790 h 3295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94621" h="329536">
                        <a:moveTo>
                          <a:pt x="40137" y="322790"/>
                        </a:moveTo>
                        <a:cubicBezTo>
                          <a:pt x="40429" y="322207"/>
                          <a:pt x="44607" y="327357"/>
                          <a:pt x="54906" y="327551"/>
                        </a:cubicBezTo>
                        <a:cubicBezTo>
                          <a:pt x="59862" y="327551"/>
                          <a:pt x="66177" y="326191"/>
                          <a:pt x="72007" y="322110"/>
                        </a:cubicBezTo>
                        <a:cubicBezTo>
                          <a:pt x="77837" y="318223"/>
                          <a:pt x="82598" y="311131"/>
                          <a:pt x="84930" y="302483"/>
                        </a:cubicBezTo>
                        <a:cubicBezTo>
                          <a:pt x="87262" y="293835"/>
                          <a:pt x="87359" y="283633"/>
                          <a:pt x="85124" y="273237"/>
                        </a:cubicBezTo>
                        <a:cubicBezTo>
                          <a:pt x="82987" y="262646"/>
                          <a:pt x="78906" y="251764"/>
                          <a:pt x="75311" y="239910"/>
                        </a:cubicBezTo>
                        <a:cubicBezTo>
                          <a:pt x="71813" y="228056"/>
                          <a:pt x="68703" y="214744"/>
                          <a:pt x="71035" y="200753"/>
                        </a:cubicBezTo>
                        <a:cubicBezTo>
                          <a:pt x="73270" y="186470"/>
                          <a:pt x="82501" y="175005"/>
                          <a:pt x="86970" y="162179"/>
                        </a:cubicBezTo>
                        <a:cubicBezTo>
                          <a:pt x="91537" y="149451"/>
                          <a:pt x="89691" y="135265"/>
                          <a:pt x="84055" y="123800"/>
                        </a:cubicBezTo>
                        <a:cubicBezTo>
                          <a:pt x="78323" y="112237"/>
                          <a:pt x="68606" y="103784"/>
                          <a:pt x="57432" y="99412"/>
                        </a:cubicBezTo>
                        <a:cubicBezTo>
                          <a:pt x="51894" y="97080"/>
                          <a:pt x="46064" y="95039"/>
                          <a:pt x="40720" y="92124"/>
                        </a:cubicBezTo>
                        <a:cubicBezTo>
                          <a:pt x="35377" y="89307"/>
                          <a:pt x="30421" y="85323"/>
                          <a:pt x="27409" y="80173"/>
                        </a:cubicBezTo>
                        <a:cubicBezTo>
                          <a:pt x="21191" y="69971"/>
                          <a:pt x="21385" y="58797"/>
                          <a:pt x="21385" y="49567"/>
                        </a:cubicBezTo>
                        <a:cubicBezTo>
                          <a:pt x="21579" y="40142"/>
                          <a:pt x="22065" y="31883"/>
                          <a:pt x="20413" y="24887"/>
                        </a:cubicBezTo>
                        <a:cubicBezTo>
                          <a:pt x="18859" y="17794"/>
                          <a:pt x="16235" y="12062"/>
                          <a:pt x="13126" y="8175"/>
                        </a:cubicBezTo>
                        <a:cubicBezTo>
                          <a:pt x="6616" y="208"/>
                          <a:pt x="-283" y="694"/>
                          <a:pt x="9" y="111"/>
                        </a:cubicBezTo>
                        <a:cubicBezTo>
                          <a:pt x="9" y="13"/>
                          <a:pt x="1466" y="-181"/>
                          <a:pt x="4284" y="402"/>
                        </a:cubicBezTo>
                        <a:cubicBezTo>
                          <a:pt x="7005" y="985"/>
                          <a:pt x="10988" y="2831"/>
                          <a:pt x="14681" y="6912"/>
                        </a:cubicBezTo>
                        <a:cubicBezTo>
                          <a:pt x="18276" y="10896"/>
                          <a:pt x="21385" y="16920"/>
                          <a:pt x="23231" y="24304"/>
                        </a:cubicBezTo>
                        <a:cubicBezTo>
                          <a:pt x="25271" y="31689"/>
                          <a:pt x="24980" y="40531"/>
                          <a:pt x="25077" y="49664"/>
                        </a:cubicBezTo>
                        <a:cubicBezTo>
                          <a:pt x="25271" y="58797"/>
                          <a:pt x="25466" y="69291"/>
                          <a:pt x="31004" y="77938"/>
                        </a:cubicBezTo>
                        <a:cubicBezTo>
                          <a:pt x="36445" y="86877"/>
                          <a:pt x="47716" y="90570"/>
                          <a:pt x="59279" y="95136"/>
                        </a:cubicBezTo>
                        <a:cubicBezTo>
                          <a:pt x="71133" y="99509"/>
                          <a:pt x="82404" y="109031"/>
                          <a:pt x="88525" y="121565"/>
                        </a:cubicBezTo>
                        <a:cubicBezTo>
                          <a:pt x="94743" y="134002"/>
                          <a:pt x="96881" y="149548"/>
                          <a:pt x="91731" y="163831"/>
                        </a:cubicBezTo>
                        <a:cubicBezTo>
                          <a:pt x="86679" y="177725"/>
                          <a:pt x="77837" y="188899"/>
                          <a:pt x="75894" y="201530"/>
                        </a:cubicBezTo>
                        <a:cubicBezTo>
                          <a:pt x="73756" y="214162"/>
                          <a:pt x="76477" y="226890"/>
                          <a:pt x="79780" y="238550"/>
                        </a:cubicBezTo>
                        <a:cubicBezTo>
                          <a:pt x="83181" y="250209"/>
                          <a:pt x="87164" y="261383"/>
                          <a:pt x="89205" y="272362"/>
                        </a:cubicBezTo>
                        <a:cubicBezTo>
                          <a:pt x="91343" y="283342"/>
                          <a:pt x="91148" y="294127"/>
                          <a:pt x="88331" y="303455"/>
                        </a:cubicBezTo>
                        <a:cubicBezTo>
                          <a:pt x="85513" y="312685"/>
                          <a:pt x="80169" y="320264"/>
                          <a:pt x="73465" y="324442"/>
                        </a:cubicBezTo>
                        <a:cubicBezTo>
                          <a:pt x="66857" y="328620"/>
                          <a:pt x="60056" y="329786"/>
                          <a:pt x="54712" y="329494"/>
                        </a:cubicBezTo>
                        <a:cubicBezTo>
                          <a:pt x="49271" y="329203"/>
                          <a:pt x="45384" y="327260"/>
                          <a:pt x="43052" y="325705"/>
                        </a:cubicBezTo>
                        <a:cubicBezTo>
                          <a:pt x="40818" y="324053"/>
                          <a:pt x="40137" y="322790"/>
                          <a:pt x="40137" y="322790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2" name="Freeform: Shape 831">
                    <a:extLst>
                      <a:ext uri="{FF2B5EF4-FFF2-40B4-BE49-F238E27FC236}">
                        <a16:creationId xmlns:a16="http://schemas.microsoft.com/office/drawing/2014/main" id="{2E2B83AB-65F2-4435-A8B7-E0C8F5AF9EC2}"/>
                      </a:ext>
                    </a:extLst>
                  </p:cNvPr>
                  <p:cNvSpPr/>
                  <p:nvPr/>
                </p:nvSpPr>
                <p:spPr>
                  <a:xfrm>
                    <a:off x="2071368" y="3892305"/>
                    <a:ext cx="34732" cy="175377"/>
                  </a:xfrm>
                  <a:custGeom>
                    <a:avLst/>
                    <a:gdLst>
                      <a:gd name="connsiteX0" fmla="*/ 57 w 34732"/>
                      <a:gd name="connsiteY0" fmla="*/ 166443 h 175377"/>
                      <a:gd name="connsiteX1" fmla="*/ 6081 w 34732"/>
                      <a:gd name="connsiteY1" fmla="*/ 171690 h 175377"/>
                      <a:gd name="connsiteX2" fmla="*/ 24931 w 34732"/>
                      <a:gd name="connsiteY2" fmla="*/ 166541 h 175377"/>
                      <a:gd name="connsiteX3" fmla="*/ 23376 w 34732"/>
                      <a:gd name="connsiteY3" fmla="*/ 136129 h 175377"/>
                      <a:gd name="connsiteX4" fmla="*/ 4041 w 34732"/>
                      <a:gd name="connsiteY4" fmla="*/ 98332 h 175377"/>
                      <a:gd name="connsiteX5" fmla="*/ 9482 w 34732"/>
                      <a:gd name="connsiteY5" fmla="*/ 75887 h 175377"/>
                      <a:gd name="connsiteX6" fmla="*/ 23473 w 34732"/>
                      <a:gd name="connsiteY6" fmla="*/ 61313 h 175377"/>
                      <a:gd name="connsiteX7" fmla="*/ 30275 w 34732"/>
                      <a:gd name="connsiteY7" fmla="*/ 30318 h 175377"/>
                      <a:gd name="connsiteX8" fmla="*/ 24736 w 34732"/>
                      <a:gd name="connsiteY8" fmla="*/ 8262 h 175377"/>
                      <a:gd name="connsiteX9" fmla="*/ 22502 w 34732"/>
                      <a:gd name="connsiteY9" fmla="*/ 3 h 175377"/>
                      <a:gd name="connsiteX10" fmla="*/ 26583 w 34732"/>
                      <a:gd name="connsiteY10" fmla="*/ 7484 h 175377"/>
                      <a:gd name="connsiteX11" fmla="*/ 33870 w 34732"/>
                      <a:gd name="connsiteY11" fmla="*/ 29735 h 175377"/>
                      <a:gd name="connsiteX12" fmla="*/ 27263 w 34732"/>
                      <a:gd name="connsiteY12" fmla="*/ 64130 h 175377"/>
                      <a:gd name="connsiteX13" fmla="*/ 13465 w 34732"/>
                      <a:gd name="connsiteY13" fmla="*/ 78899 h 175377"/>
                      <a:gd name="connsiteX14" fmla="*/ 9190 w 34732"/>
                      <a:gd name="connsiteY14" fmla="*/ 97457 h 175377"/>
                      <a:gd name="connsiteX15" fmla="*/ 27651 w 34732"/>
                      <a:gd name="connsiteY15" fmla="*/ 133894 h 175377"/>
                      <a:gd name="connsiteX16" fmla="*/ 27943 w 34732"/>
                      <a:gd name="connsiteY16" fmla="*/ 168581 h 175377"/>
                      <a:gd name="connsiteX17" fmla="*/ 15603 w 34732"/>
                      <a:gd name="connsiteY17" fmla="*/ 175285 h 175377"/>
                      <a:gd name="connsiteX18" fmla="*/ 5304 w 34732"/>
                      <a:gd name="connsiteY18" fmla="*/ 173342 h 175377"/>
                      <a:gd name="connsiteX19" fmla="*/ 57 w 34732"/>
                      <a:gd name="connsiteY19" fmla="*/ 166443 h 1753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4732" h="175377">
                        <a:moveTo>
                          <a:pt x="57" y="166443"/>
                        </a:moveTo>
                        <a:cubicBezTo>
                          <a:pt x="543" y="166152"/>
                          <a:pt x="1320" y="169553"/>
                          <a:pt x="6081" y="171690"/>
                        </a:cubicBezTo>
                        <a:cubicBezTo>
                          <a:pt x="10356" y="173731"/>
                          <a:pt x="19781" y="173828"/>
                          <a:pt x="24931" y="166541"/>
                        </a:cubicBezTo>
                        <a:cubicBezTo>
                          <a:pt x="30178" y="159156"/>
                          <a:pt x="29400" y="146816"/>
                          <a:pt x="23376" y="136129"/>
                        </a:cubicBezTo>
                        <a:cubicBezTo>
                          <a:pt x="17838" y="125149"/>
                          <a:pt x="6858" y="114364"/>
                          <a:pt x="4041" y="98332"/>
                        </a:cubicBezTo>
                        <a:cubicBezTo>
                          <a:pt x="2583" y="90559"/>
                          <a:pt x="4429" y="81717"/>
                          <a:pt x="9482" y="75887"/>
                        </a:cubicBezTo>
                        <a:cubicBezTo>
                          <a:pt x="14243" y="70057"/>
                          <a:pt x="19781" y="66074"/>
                          <a:pt x="23473" y="61313"/>
                        </a:cubicBezTo>
                        <a:cubicBezTo>
                          <a:pt x="30760" y="51596"/>
                          <a:pt x="31441" y="39451"/>
                          <a:pt x="30275" y="30318"/>
                        </a:cubicBezTo>
                        <a:cubicBezTo>
                          <a:pt x="29012" y="20893"/>
                          <a:pt x="26291" y="13411"/>
                          <a:pt x="24736" y="8262"/>
                        </a:cubicBezTo>
                        <a:cubicBezTo>
                          <a:pt x="22987" y="3112"/>
                          <a:pt x="22113" y="197"/>
                          <a:pt x="22502" y="3"/>
                        </a:cubicBezTo>
                        <a:cubicBezTo>
                          <a:pt x="22793" y="-95"/>
                          <a:pt x="24251" y="2529"/>
                          <a:pt x="26583" y="7484"/>
                        </a:cubicBezTo>
                        <a:cubicBezTo>
                          <a:pt x="28817" y="12440"/>
                          <a:pt x="32024" y="19824"/>
                          <a:pt x="33870" y="29735"/>
                        </a:cubicBezTo>
                        <a:cubicBezTo>
                          <a:pt x="35522" y="39354"/>
                          <a:pt x="35522" y="52665"/>
                          <a:pt x="27263" y="64130"/>
                        </a:cubicBezTo>
                        <a:cubicBezTo>
                          <a:pt x="23085" y="69669"/>
                          <a:pt x="17449" y="73847"/>
                          <a:pt x="13465" y="78899"/>
                        </a:cubicBezTo>
                        <a:cubicBezTo>
                          <a:pt x="9287" y="83855"/>
                          <a:pt x="7927" y="90559"/>
                          <a:pt x="9190" y="97457"/>
                        </a:cubicBezTo>
                        <a:cubicBezTo>
                          <a:pt x="11522" y="111449"/>
                          <a:pt x="21821" y="122040"/>
                          <a:pt x="27651" y="133894"/>
                        </a:cubicBezTo>
                        <a:cubicBezTo>
                          <a:pt x="33967" y="145553"/>
                          <a:pt x="34744" y="159836"/>
                          <a:pt x="27943" y="168581"/>
                        </a:cubicBezTo>
                        <a:cubicBezTo>
                          <a:pt x="24639" y="173051"/>
                          <a:pt x="19684" y="174897"/>
                          <a:pt x="15603" y="175285"/>
                        </a:cubicBezTo>
                        <a:cubicBezTo>
                          <a:pt x="11425" y="175674"/>
                          <a:pt x="7830" y="174799"/>
                          <a:pt x="5304" y="173342"/>
                        </a:cubicBezTo>
                        <a:cubicBezTo>
                          <a:pt x="-137" y="170330"/>
                          <a:pt x="-137" y="166346"/>
                          <a:pt x="57" y="166443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3" name="Freeform: Shape 832">
                    <a:extLst>
                      <a:ext uri="{FF2B5EF4-FFF2-40B4-BE49-F238E27FC236}">
                        <a16:creationId xmlns:a16="http://schemas.microsoft.com/office/drawing/2014/main" id="{D0DF4180-97B8-448C-9324-661CB1E092FE}"/>
                      </a:ext>
                    </a:extLst>
                  </p:cNvPr>
                  <p:cNvSpPr/>
                  <p:nvPr/>
                </p:nvSpPr>
                <p:spPr>
                  <a:xfrm>
                    <a:off x="1661671" y="3787752"/>
                    <a:ext cx="50996" cy="245645"/>
                  </a:xfrm>
                  <a:custGeom>
                    <a:avLst/>
                    <a:gdLst>
                      <a:gd name="connsiteX0" fmla="*/ 28873 w 50996"/>
                      <a:gd name="connsiteY0" fmla="*/ 245636 h 245645"/>
                      <a:gd name="connsiteX1" fmla="*/ 21003 w 50996"/>
                      <a:gd name="connsiteY1" fmla="*/ 237766 h 245645"/>
                      <a:gd name="connsiteX2" fmla="*/ 4096 w 50996"/>
                      <a:gd name="connsiteY2" fmla="*/ 212212 h 245645"/>
                      <a:gd name="connsiteX3" fmla="*/ 15 w 50996"/>
                      <a:gd name="connsiteY3" fmla="*/ 191030 h 245645"/>
                      <a:gd name="connsiteX4" fmla="*/ 8566 w 50996"/>
                      <a:gd name="connsiteY4" fmla="*/ 167517 h 245645"/>
                      <a:gd name="connsiteX5" fmla="*/ 28582 w 50996"/>
                      <a:gd name="connsiteY5" fmla="*/ 150416 h 245645"/>
                      <a:gd name="connsiteX6" fmla="*/ 32565 w 50996"/>
                      <a:gd name="connsiteY6" fmla="*/ 125445 h 245645"/>
                      <a:gd name="connsiteX7" fmla="*/ 21877 w 50996"/>
                      <a:gd name="connsiteY7" fmla="*/ 99794 h 245645"/>
                      <a:gd name="connsiteX8" fmla="*/ 12452 w 50996"/>
                      <a:gd name="connsiteY8" fmla="*/ 74337 h 245645"/>
                      <a:gd name="connsiteX9" fmla="*/ 17505 w 50996"/>
                      <a:gd name="connsiteY9" fmla="*/ 49852 h 245645"/>
                      <a:gd name="connsiteX10" fmla="*/ 32274 w 50996"/>
                      <a:gd name="connsiteY10" fmla="*/ 34403 h 245645"/>
                      <a:gd name="connsiteX11" fmla="*/ 48889 w 50996"/>
                      <a:gd name="connsiteY11" fmla="*/ 10695 h 245645"/>
                      <a:gd name="connsiteX12" fmla="*/ 48500 w 50996"/>
                      <a:gd name="connsiteY12" fmla="*/ 7 h 245645"/>
                      <a:gd name="connsiteX13" fmla="*/ 49957 w 50996"/>
                      <a:gd name="connsiteY13" fmla="*/ 2534 h 245645"/>
                      <a:gd name="connsiteX14" fmla="*/ 50832 w 50996"/>
                      <a:gd name="connsiteY14" fmla="*/ 10987 h 245645"/>
                      <a:gd name="connsiteX15" fmla="*/ 34703 w 50996"/>
                      <a:gd name="connsiteY15" fmla="*/ 37027 h 245645"/>
                      <a:gd name="connsiteX16" fmla="*/ 21003 w 50996"/>
                      <a:gd name="connsiteY16" fmla="*/ 52087 h 245645"/>
                      <a:gd name="connsiteX17" fmla="*/ 17116 w 50996"/>
                      <a:gd name="connsiteY17" fmla="*/ 73560 h 245645"/>
                      <a:gd name="connsiteX18" fmla="*/ 26347 w 50996"/>
                      <a:gd name="connsiteY18" fmla="*/ 97559 h 245645"/>
                      <a:gd name="connsiteX19" fmla="*/ 37521 w 50996"/>
                      <a:gd name="connsiteY19" fmla="*/ 124376 h 245645"/>
                      <a:gd name="connsiteX20" fmla="*/ 32371 w 50996"/>
                      <a:gd name="connsiteY20" fmla="*/ 153622 h 245645"/>
                      <a:gd name="connsiteX21" fmla="*/ 11967 w 50996"/>
                      <a:gd name="connsiteY21" fmla="*/ 170723 h 245645"/>
                      <a:gd name="connsiteX22" fmla="*/ 4096 w 50996"/>
                      <a:gd name="connsiteY22" fmla="*/ 191322 h 245645"/>
                      <a:gd name="connsiteX23" fmla="*/ 7303 w 50996"/>
                      <a:gd name="connsiteY23" fmla="*/ 211046 h 245645"/>
                      <a:gd name="connsiteX24" fmla="*/ 22460 w 50996"/>
                      <a:gd name="connsiteY24" fmla="*/ 236697 h 245645"/>
                      <a:gd name="connsiteX25" fmla="*/ 28873 w 50996"/>
                      <a:gd name="connsiteY25" fmla="*/ 245636 h 245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50996" h="245645">
                        <a:moveTo>
                          <a:pt x="28873" y="245636"/>
                        </a:moveTo>
                        <a:cubicBezTo>
                          <a:pt x="28582" y="245831"/>
                          <a:pt x="25764" y="243110"/>
                          <a:pt x="21003" y="237766"/>
                        </a:cubicBezTo>
                        <a:cubicBezTo>
                          <a:pt x="16339" y="232325"/>
                          <a:pt x="9246" y="224357"/>
                          <a:pt x="4096" y="212212"/>
                        </a:cubicBezTo>
                        <a:cubicBezTo>
                          <a:pt x="1473" y="206188"/>
                          <a:pt x="-179" y="198901"/>
                          <a:pt x="15" y="191030"/>
                        </a:cubicBezTo>
                        <a:cubicBezTo>
                          <a:pt x="210" y="183257"/>
                          <a:pt x="2542" y="174415"/>
                          <a:pt x="8566" y="167517"/>
                        </a:cubicBezTo>
                        <a:cubicBezTo>
                          <a:pt x="14590" y="160521"/>
                          <a:pt x="23335" y="156926"/>
                          <a:pt x="28582" y="150416"/>
                        </a:cubicBezTo>
                        <a:cubicBezTo>
                          <a:pt x="34023" y="143906"/>
                          <a:pt x="34703" y="134481"/>
                          <a:pt x="32565" y="125445"/>
                        </a:cubicBezTo>
                        <a:cubicBezTo>
                          <a:pt x="30428" y="116215"/>
                          <a:pt x="26250" y="107956"/>
                          <a:pt x="21877" y="99794"/>
                        </a:cubicBezTo>
                        <a:cubicBezTo>
                          <a:pt x="17699" y="91535"/>
                          <a:pt x="13813" y="83179"/>
                          <a:pt x="12452" y="74337"/>
                        </a:cubicBezTo>
                        <a:cubicBezTo>
                          <a:pt x="10898" y="65593"/>
                          <a:pt x="12841" y="56362"/>
                          <a:pt x="17505" y="49852"/>
                        </a:cubicBezTo>
                        <a:cubicBezTo>
                          <a:pt x="21974" y="43245"/>
                          <a:pt x="27610" y="38678"/>
                          <a:pt x="32274" y="34403"/>
                        </a:cubicBezTo>
                        <a:cubicBezTo>
                          <a:pt x="42087" y="26338"/>
                          <a:pt x="47626" y="17594"/>
                          <a:pt x="48889" y="10695"/>
                        </a:cubicBezTo>
                        <a:cubicBezTo>
                          <a:pt x="50249" y="3894"/>
                          <a:pt x="47917" y="104"/>
                          <a:pt x="48500" y="7"/>
                        </a:cubicBezTo>
                        <a:cubicBezTo>
                          <a:pt x="48597" y="-90"/>
                          <a:pt x="49277" y="785"/>
                          <a:pt x="49957" y="2534"/>
                        </a:cubicBezTo>
                        <a:cubicBezTo>
                          <a:pt x="50638" y="4282"/>
                          <a:pt x="51318" y="7295"/>
                          <a:pt x="50832" y="10987"/>
                        </a:cubicBezTo>
                        <a:cubicBezTo>
                          <a:pt x="50152" y="18468"/>
                          <a:pt x="44419" y="28476"/>
                          <a:pt x="34703" y="37027"/>
                        </a:cubicBezTo>
                        <a:cubicBezTo>
                          <a:pt x="30136" y="41496"/>
                          <a:pt x="24792" y="46063"/>
                          <a:pt x="21003" y="52087"/>
                        </a:cubicBezTo>
                        <a:cubicBezTo>
                          <a:pt x="17116" y="58014"/>
                          <a:pt x="15659" y="65690"/>
                          <a:pt x="17116" y="73560"/>
                        </a:cubicBezTo>
                        <a:cubicBezTo>
                          <a:pt x="18477" y="81527"/>
                          <a:pt x="22169" y="89495"/>
                          <a:pt x="26347" y="97559"/>
                        </a:cubicBezTo>
                        <a:cubicBezTo>
                          <a:pt x="30622" y="105527"/>
                          <a:pt x="35286" y="114466"/>
                          <a:pt x="37521" y="124376"/>
                        </a:cubicBezTo>
                        <a:cubicBezTo>
                          <a:pt x="39852" y="134093"/>
                          <a:pt x="39172" y="145655"/>
                          <a:pt x="32371" y="153622"/>
                        </a:cubicBezTo>
                        <a:cubicBezTo>
                          <a:pt x="25764" y="161396"/>
                          <a:pt x="17116" y="164796"/>
                          <a:pt x="11967" y="170723"/>
                        </a:cubicBezTo>
                        <a:cubicBezTo>
                          <a:pt x="6720" y="176553"/>
                          <a:pt x="4388" y="184229"/>
                          <a:pt x="4096" y="191322"/>
                        </a:cubicBezTo>
                        <a:cubicBezTo>
                          <a:pt x="3708" y="198512"/>
                          <a:pt x="5068" y="205216"/>
                          <a:pt x="7303" y="211046"/>
                        </a:cubicBezTo>
                        <a:cubicBezTo>
                          <a:pt x="11772" y="222706"/>
                          <a:pt x="18282" y="230965"/>
                          <a:pt x="22460" y="236697"/>
                        </a:cubicBezTo>
                        <a:cubicBezTo>
                          <a:pt x="26735" y="242236"/>
                          <a:pt x="29164" y="245442"/>
                          <a:pt x="28873" y="245636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4" name="Freeform: Shape 833">
                    <a:extLst>
                      <a:ext uri="{FF2B5EF4-FFF2-40B4-BE49-F238E27FC236}">
                        <a16:creationId xmlns:a16="http://schemas.microsoft.com/office/drawing/2014/main" id="{B374B4ED-3FAC-44F7-8A14-31BC4F087A1D}"/>
                      </a:ext>
                    </a:extLst>
                  </p:cNvPr>
                  <p:cNvSpPr/>
                  <p:nvPr/>
                </p:nvSpPr>
                <p:spPr>
                  <a:xfrm>
                    <a:off x="2040814" y="3572342"/>
                    <a:ext cx="55085" cy="42100"/>
                  </a:xfrm>
                  <a:custGeom>
                    <a:avLst/>
                    <a:gdLst>
                      <a:gd name="connsiteX0" fmla="*/ 54901 w 55085"/>
                      <a:gd name="connsiteY0" fmla="*/ 42078 h 42100"/>
                      <a:gd name="connsiteX1" fmla="*/ 31193 w 55085"/>
                      <a:gd name="connsiteY1" fmla="*/ 16330 h 42100"/>
                      <a:gd name="connsiteX2" fmla="*/ 4 w 55085"/>
                      <a:gd name="connsiteY2" fmla="*/ 493 h 42100"/>
                      <a:gd name="connsiteX3" fmla="*/ 34303 w 55085"/>
                      <a:gd name="connsiteY3" fmla="*/ 12249 h 42100"/>
                      <a:gd name="connsiteX4" fmla="*/ 54901 w 55085"/>
                      <a:gd name="connsiteY4" fmla="*/ 42078 h 42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5085" h="42100">
                        <a:moveTo>
                          <a:pt x="54901" y="42078"/>
                        </a:moveTo>
                        <a:cubicBezTo>
                          <a:pt x="53541" y="42759"/>
                          <a:pt x="46739" y="27893"/>
                          <a:pt x="31193" y="16330"/>
                        </a:cubicBezTo>
                        <a:cubicBezTo>
                          <a:pt x="15842" y="4476"/>
                          <a:pt x="-288" y="2047"/>
                          <a:pt x="4" y="493"/>
                        </a:cubicBezTo>
                        <a:cubicBezTo>
                          <a:pt x="-190" y="-770"/>
                          <a:pt x="17590" y="-479"/>
                          <a:pt x="34303" y="12249"/>
                        </a:cubicBezTo>
                        <a:cubicBezTo>
                          <a:pt x="51112" y="24881"/>
                          <a:pt x="56164" y="41981"/>
                          <a:pt x="54901" y="42078"/>
                        </a:cubicBezTo>
                        <a:close/>
                      </a:path>
                    </a:pathLst>
                  </a:custGeom>
                  <a:solidFill>
                    <a:srgbClr val="E8505B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35" name="Freeform: Shape 834">
                    <a:extLst>
                      <a:ext uri="{FF2B5EF4-FFF2-40B4-BE49-F238E27FC236}">
                        <a16:creationId xmlns:a16="http://schemas.microsoft.com/office/drawing/2014/main" id="{8CC4EB08-CDF7-4A3A-A4AC-7F707FCB6FAB}"/>
                      </a:ext>
                    </a:extLst>
                  </p:cNvPr>
                  <p:cNvSpPr/>
                  <p:nvPr/>
                </p:nvSpPr>
                <p:spPr>
                  <a:xfrm>
                    <a:off x="2089276" y="3521419"/>
                    <a:ext cx="29592" cy="74138"/>
                  </a:xfrm>
                  <a:custGeom>
                    <a:avLst/>
                    <a:gdLst>
                      <a:gd name="connsiteX0" fmla="*/ 20431 w 29592"/>
                      <a:gd name="connsiteY0" fmla="*/ 16 h 74138"/>
                      <a:gd name="connsiteX1" fmla="*/ 26843 w 29592"/>
                      <a:gd name="connsiteY1" fmla="*/ 10995 h 74138"/>
                      <a:gd name="connsiteX2" fmla="*/ 27718 w 29592"/>
                      <a:gd name="connsiteY2" fmla="*/ 41796 h 74138"/>
                      <a:gd name="connsiteX3" fmla="*/ 11200 w 29592"/>
                      <a:gd name="connsiteY3" fmla="*/ 67836 h 74138"/>
                      <a:gd name="connsiteX4" fmla="*/ 26 w 29592"/>
                      <a:gd name="connsiteY4" fmla="*/ 74054 h 74138"/>
                      <a:gd name="connsiteX5" fmla="*/ 8674 w 29592"/>
                      <a:gd name="connsiteY5" fmla="*/ 65309 h 74138"/>
                      <a:gd name="connsiteX6" fmla="*/ 22860 w 29592"/>
                      <a:gd name="connsiteY6" fmla="*/ 40533 h 74138"/>
                      <a:gd name="connsiteX7" fmla="*/ 23443 w 29592"/>
                      <a:gd name="connsiteY7" fmla="*/ 12064 h 74138"/>
                      <a:gd name="connsiteX8" fmla="*/ 20431 w 29592"/>
                      <a:gd name="connsiteY8" fmla="*/ 16 h 74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9592" h="74138">
                        <a:moveTo>
                          <a:pt x="20431" y="16"/>
                        </a:moveTo>
                        <a:cubicBezTo>
                          <a:pt x="20916" y="-276"/>
                          <a:pt x="24220" y="3514"/>
                          <a:pt x="26843" y="10995"/>
                        </a:cubicBezTo>
                        <a:cubicBezTo>
                          <a:pt x="29467" y="18477"/>
                          <a:pt x="31021" y="29845"/>
                          <a:pt x="27718" y="41796"/>
                        </a:cubicBezTo>
                        <a:cubicBezTo>
                          <a:pt x="24414" y="53747"/>
                          <a:pt x="17224" y="62783"/>
                          <a:pt x="11200" y="67836"/>
                        </a:cubicBezTo>
                        <a:cubicBezTo>
                          <a:pt x="5079" y="72985"/>
                          <a:pt x="318" y="74540"/>
                          <a:pt x="26" y="74054"/>
                        </a:cubicBezTo>
                        <a:cubicBezTo>
                          <a:pt x="-362" y="73374"/>
                          <a:pt x="3621" y="70751"/>
                          <a:pt x="8674" y="65309"/>
                        </a:cubicBezTo>
                        <a:cubicBezTo>
                          <a:pt x="13824" y="59965"/>
                          <a:pt x="19848" y="51318"/>
                          <a:pt x="22860" y="40533"/>
                        </a:cubicBezTo>
                        <a:cubicBezTo>
                          <a:pt x="25872" y="29748"/>
                          <a:pt x="25094" y="19254"/>
                          <a:pt x="23443" y="12064"/>
                        </a:cubicBezTo>
                        <a:cubicBezTo>
                          <a:pt x="21791" y="4679"/>
                          <a:pt x="19750" y="404"/>
                          <a:pt x="20431" y="16"/>
                        </a:cubicBezTo>
                        <a:close/>
                      </a:path>
                    </a:pathLst>
                  </a:custGeom>
                  <a:solidFill>
                    <a:srgbClr val="455A64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836" name="Freeform: Shape 835">
                  <a:extLst>
                    <a:ext uri="{FF2B5EF4-FFF2-40B4-BE49-F238E27FC236}">
                      <a16:creationId xmlns:a16="http://schemas.microsoft.com/office/drawing/2014/main" id="{E620D30F-A863-4096-85E3-338549820E65}"/>
                    </a:ext>
                  </a:extLst>
                </p:cNvPr>
                <p:cNvSpPr/>
                <p:nvPr/>
              </p:nvSpPr>
              <p:spPr>
                <a:xfrm>
                  <a:off x="1616311" y="4662521"/>
                  <a:ext cx="574332" cy="246861"/>
                </a:xfrm>
                <a:custGeom>
                  <a:avLst/>
                  <a:gdLst>
                    <a:gd name="connsiteX0" fmla="*/ 0 w 574332"/>
                    <a:gd name="connsiteY0" fmla="*/ 54120 h 246861"/>
                    <a:gd name="connsiteX1" fmla="*/ 384864 w 574332"/>
                    <a:gd name="connsiteY1" fmla="*/ 241840 h 246861"/>
                    <a:gd name="connsiteX2" fmla="*/ 570835 w 574332"/>
                    <a:gd name="connsiteY2" fmla="*/ 92694 h 246861"/>
                    <a:gd name="connsiteX3" fmla="*/ 574333 w 574332"/>
                    <a:gd name="connsiteY3" fmla="*/ 54120 h 246861"/>
                    <a:gd name="connsiteX4" fmla="*/ 559952 w 574332"/>
                    <a:gd name="connsiteY4" fmla="*/ 44695 h 246861"/>
                    <a:gd name="connsiteX5" fmla="*/ 7482 w 574332"/>
                    <a:gd name="connsiteY5" fmla="*/ 0 h 246861"/>
                    <a:gd name="connsiteX6" fmla="*/ 0 w 574332"/>
                    <a:gd name="connsiteY6" fmla="*/ 54120 h 24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4332" h="246861">
                      <a:moveTo>
                        <a:pt x="0" y="54120"/>
                      </a:moveTo>
                      <a:cubicBezTo>
                        <a:pt x="0" y="54120"/>
                        <a:pt x="241354" y="283328"/>
                        <a:pt x="384864" y="241840"/>
                      </a:cubicBezTo>
                      <a:cubicBezTo>
                        <a:pt x="528374" y="200351"/>
                        <a:pt x="570835" y="92694"/>
                        <a:pt x="570835" y="92694"/>
                      </a:cubicBezTo>
                      <a:lnTo>
                        <a:pt x="574333" y="54120"/>
                      </a:lnTo>
                      <a:lnTo>
                        <a:pt x="559952" y="44695"/>
                      </a:lnTo>
                      <a:lnTo>
                        <a:pt x="7482" y="0"/>
                      </a:lnTo>
                      <a:lnTo>
                        <a:pt x="0" y="54120"/>
                      </a:lnTo>
                      <a:close/>
                    </a:path>
                  </a:pathLst>
                </a:custGeom>
                <a:solidFill>
                  <a:srgbClr val="000000">
                    <a:alpha val="30000"/>
                  </a:srgbClr>
                </a:solidFill>
                <a:ln w="971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37" name="Graphic 13">
                  <a:extLst>
                    <a:ext uri="{FF2B5EF4-FFF2-40B4-BE49-F238E27FC236}">
                      <a16:creationId xmlns:a16="http://schemas.microsoft.com/office/drawing/2014/main" id="{D7A654C6-84A2-481F-94B6-C7AFD36B6D28}"/>
                    </a:ext>
                  </a:extLst>
                </p:cNvPr>
                <p:cNvGrpSpPr/>
                <p:nvPr/>
              </p:nvGrpSpPr>
              <p:grpSpPr>
                <a:xfrm>
                  <a:off x="1315105" y="4091298"/>
                  <a:ext cx="1002686" cy="834907"/>
                  <a:chOff x="1315105" y="4091298"/>
                  <a:chExt cx="1002686" cy="834907"/>
                </a:xfrm>
              </p:grpSpPr>
              <p:grpSp>
                <p:nvGrpSpPr>
                  <p:cNvPr id="838" name="Graphic 13">
                    <a:extLst>
                      <a:ext uri="{FF2B5EF4-FFF2-40B4-BE49-F238E27FC236}">
                        <a16:creationId xmlns:a16="http://schemas.microsoft.com/office/drawing/2014/main" id="{0B79466F-C02D-4EF8-9CB7-E9BB744B7018}"/>
                      </a:ext>
                    </a:extLst>
                  </p:cNvPr>
                  <p:cNvGrpSpPr/>
                  <p:nvPr/>
                </p:nvGrpSpPr>
                <p:grpSpPr>
                  <a:xfrm>
                    <a:off x="1465319" y="4113998"/>
                    <a:ext cx="852472" cy="812207"/>
                    <a:chOff x="1465319" y="4113998"/>
                    <a:chExt cx="852472" cy="812207"/>
                  </a:xfrm>
                </p:grpSpPr>
                <p:sp>
                  <p:nvSpPr>
                    <p:cNvPr id="839" name="Freeform: Shape 838">
                      <a:extLst>
                        <a:ext uri="{FF2B5EF4-FFF2-40B4-BE49-F238E27FC236}">
                          <a16:creationId xmlns:a16="http://schemas.microsoft.com/office/drawing/2014/main" id="{DB53D080-F5D2-476C-8299-AF1A9691F8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3578" y="4382496"/>
                      <a:ext cx="213370" cy="334144"/>
                    </a:xfrm>
                    <a:custGeom>
                      <a:avLst/>
                      <a:gdLst>
                        <a:gd name="connsiteX0" fmla="*/ 0 w 213370"/>
                        <a:gd name="connsiteY0" fmla="*/ 119414 h 334144"/>
                        <a:gd name="connsiteX1" fmla="*/ 46541 w 213370"/>
                        <a:gd name="connsiteY1" fmla="*/ 0 h 334144"/>
                        <a:gd name="connsiteX2" fmla="*/ 213371 w 213370"/>
                        <a:gd name="connsiteY2" fmla="*/ 104839 h 334144"/>
                        <a:gd name="connsiteX3" fmla="*/ 64711 w 213370"/>
                        <a:gd name="connsiteY3" fmla="*/ 334145 h 334144"/>
                        <a:gd name="connsiteX4" fmla="*/ 0 w 213370"/>
                        <a:gd name="connsiteY4" fmla="*/ 119414 h 334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13370" h="334144">
                          <a:moveTo>
                            <a:pt x="0" y="119414"/>
                          </a:moveTo>
                          <a:lnTo>
                            <a:pt x="46541" y="0"/>
                          </a:lnTo>
                          <a:lnTo>
                            <a:pt x="213371" y="104839"/>
                          </a:lnTo>
                          <a:lnTo>
                            <a:pt x="64711" y="334145"/>
                          </a:lnTo>
                          <a:cubicBezTo>
                            <a:pt x="64711" y="334145"/>
                            <a:pt x="4178" y="255637"/>
                            <a:pt x="0" y="119414"/>
                          </a:cubicBezTo>
                          <a:close/>
                        </a:path>
                      </a:pathLst>
                    </a:custGeom>
                    <a:solidFill>
                      <a:srgbClr val="EB996E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0" name="Freeform: Shape 839">
                      <a:extLst>
                        <a:ext uri="{FF2B5EF4-FFF2-40B4-BE49-F238E27FC236}">
                          <a16:creationId xmlns:a16="http://schemas.microsoft.com/office/drawing/2014/main" id="{01B3888F-08C2-4464-8111-AF348488A8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5319" y="4113998"/>
                      <a:ext cx="852472" cy="812207"/>
                    </a:xfrm>
                    <a:custGeom>
                      <a:avLst/>
                      <a:gdLst>
                        <a:gd name="connsiteX0" fmla="*/ 196464 w 852472"/>
                        <a:gd name="connsiteY0" fmla="*/ 58140 h 812207"/>
                        <a:gd name="connsiteX1" fmla="*/ 374662 w 852472"/>
                        <a:gd name="connsiteY1" fmla="*/ 5866 h 812207"/>
                        <a:gd name="connsiteX2" fmla="*/ 374662 w 852472"/>
                        <a:gd name="connsiteY2" fmla="*/ 5866 h 812207"/>
                        <a:gd name="connsiteX3" fmla="*/ 551499 w 852472"/>
                        <a:gd name="connsiteY3" fmla="*/ 31809 h 812207"/>
                        <a:gd name="connsiteX4" fmla="*/ 598429 w 852472"/>
                        <a:gd name="connsiteY4" fmla="*/ 36 h 812207"/>
                        <a:gd name="connsiteX5" fmla="*/ 618056 w 852472"/>
                        <a:gd name="connsiteY5" fmla="*/ 813 h 812207"/>
                        <a:gd name="connsiteX6" fmla="*/ 840171 w 852472"/>
                        <a:gd name="connsiteY6" fmla="*/ 200581 h 812207"/>
                        <a:gd name="connsiteX7" fmla="*/ 851928 w 852472"/>
                        <a:gd name="connsiteY7" fmla="*/ 326797 h 812207"/>
                        <a:gd name="connsiteX8" fmla="*/ 735915 w 852472"/>
                        <a:gd name="connsiteY8" fmla="*/ 442518 h 812207"/>
                        <a:gd name="connsiteX9" fmla="*/ 722798 w 852472"/>
                        <a:gd name="connsiteY9" fmla="*/ 632181 h 812207"/>
                        <a:gd name="connsiteX10" fmla="*/ 722798 w 852472"/>
                        <a:gd name="connsiteY10" fmla="*/ 632181 h 812207"/>
                        <a:gd name="connsiteX11" fmla="*/ 626704 w 852472"/>
                        <a:gd name="connsiteY11" fmla="*/ 769278 h 812207"/>
                        <a:gd name="connsiteX12" fmla="*/ 504181 w 852472"/>
                        <a:gd name="connsiteY12" fmla="*/ 807075 h 812207"/>
                        <a:gd name="connsiteX13" fmla="*/ 139041 w 852472"/>
                        <a:gd name="connsiteY13" fmla="*/ 680665 h 812207"/>
                        <a:gd name="connsiteX14" fmla="*/ 170522 w 852472"/>
                        <a:gd name="connsiteY14" fmla="*/ 442810 h 812207"/>
                        <a:gd name="connsiteX15" fmla="*/ 170716 w 852472"/>
                        <a:gd name="connsiteY15" fmla="*/ 440866 h 812207"/>
                        <a:gd name="connsiteX16" fmla="*/ 61796 w 852472"/>
                        <a:gd name="connsiteY16" fmla="*/ 344189 h 812207"/>
                        <a:gd name="connsiteX17" fmla="*/ 0 w 852472"/>
                        <a:gd name="connsiteY17" fmla="*/ 292304 h 812207"/>
                        <a:gd name="connsiteX18" fmla="*/ 196464 w 852472"/>
                        <a:gd name="connsiteY18" fmla="*/ 58140 h 8122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852472" h="812207">
                          <a:moveTo>
                            <a:pt x="196464" y="58140"/>
                          </a:moveTo>
                          <a:cubicBezTo>
                            <a:pt x="274098" y="17623"/>
                            <a:pt x="374662" y="5866"/>
                            <a:pt x="374662" y="5866"/>
                          </a:cubicBezTo>
                          <a:lnTo>
                            <a:pt x="374662" y="5866"/>
                          </a:lnTo>
                          <a:cubicBezTo>
                            <a:pt x="403811" y="64261"/>
                            <a:pt x="495825" y="71646"/>
                            <a:pt x="551499" y="31809"/>
                          </a:cubicBezTo>
                          <a:lnTo>
                            <a:pt x="598429" y="36"/>
                          </a:lnTo>
                          <a:cubicBezTo>
                            <a:pt x="598429" y="36"/>
                            <a:pt x="605716" y="-255"/>
                            <a:pt x="618056" y="813"/>
                          </a:cubicBezTo>
                          <a:cubicBezTo>
                            <a:pt x="727851" y="10530"/>
                            <a:pt x="817824" y="92536"/>
                            <a:pt x="840171" y="200581"/>
                          </a:cubicBezTo>
                          <a:cubicBezTo>
                            <a:pt x="848333" y="239933"/>
                            <a:pt x="854357" y="285016"/>
                            <a:pt x="851928" y="326797"/>
                          </a:cubicBezTo>
                          <a:cubicBezTo>
                            <a:pt x="845807" y="432899"/>
                            <a:pt x="735915" y="442518"/>
                            <a:pt x="735915" y="442518"/>
                          </a:cubicBezTo>
                          <a:cubicBezTo>
                            <a:pt x="735915" y="442518"/>
                            <a:pt x="730280" y="547455"/>
                            <a:pt x="722798" y="632181"/>
                          </a:cubicBezTo>
                          <a:lnTo>
                            <a:pt x="722798" y="632181"/>
                          </a:lnTo>
                          <a:cubicBezTo>
                            <a:pt x="717260" y="695531"/>
                            <a:pt x="684419" y="742753"/>
                            <a:pt x="626704" y="769278"/>
                          </a:cubicBezTo>
                          <a:cubicBezTo>
                            <a:pt x="583660" y="789002"/>
                            <a:pt x="559952" y="798136"/>
                            <a:pt x="504181" y="807075"/>
                          </a:cubicBezTo>
                          <a:cubicBezTo>
                            <a:pt x="363391" y="829617"/>
                            <a:pt x="228140" y="776177"/>
                            <a:pt x="139041" y="680665"/>
                          </a:cubicBezTo>
                          <a:cubicBezTo>
                            <a:pt x="155753" y="579518"/>
                            <a:pt x="171688" y="448639"/>
                            <a:pt x="170522" y="442810"/>
                          </a:cubicBezTo>
                          <a:cubicBezTo>
                            <a:pt x="170327" y="441547"/>
                            <a:pt x="170716" y="440866"/>
                            <a:pt x="170716" y="440866"/>
                          </a:cubicBezTo>
                          <a:lnTo>
                            <a:pt x="61796" y="344189"/>
                          </a:lnTo>
                          <a:lnTo>
                            <a:pt x="0" y="292304"/>
                          </a:lnTo>
                          <a:cubicBezTo>
                            <a:pt x="0" y="292304"/>
                            <a:pt x="135543" y="91176"/>
                            <a:pt x="196464" y="58140"/>
                          </a:cubicBezTo>
                        </a:path>
                      </a:pathLst>
                    </a:custGeom>
                    <a:solidFill>
                      <a:srgbClr val="95B7A9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41" name="Freeform: Shape 840">
                    <a:extLst>
                      <a:ext uri="{FF2B5EF4-FFF2-40B4-BE49-F238E27FC236}">
                        <a16:creationId xmlns:a16="http://schemas.microsoft.com/office/drawing/2014/main" id="{1F5F819B-2BF4-492E-830F-C3899DAEF62A}"/>
                      </a:ext>
                    </a:extLst>
                  </p:cNvPr>
                  <p:cNvSpPr/>
                  <p:nvPr/>
                </p:nvSpPr>
                <p:spPr>
                  <a:xfrm>
                    <a:off x="1626864" y="4226410"/>
                    <a:ext cx="169990" cy="38572"/>
                  </a:xfrm>
                  <a:custGeom>
                    <a:avLst/>
                    <a:gdLst>
                      <a:gd name="connsiteX0" fmla="*/ 169977 w 169990"/>
                      <a:gd name="connsiteY0" fmla="*/ 11119 h 38572"/>
                      <a:gd name="connsiteX1" fmla="*/ 143062 w 169990"/>
                      <a:gd name="connsiteY1" fmla="*/ 3637 h 38572"/>
                      <a:gd name="connsiteX2" fmla="*/ 115274 w 169990"/>
                      <a:gd name="connsiteY2" fmla="*/ 13256 h 38572"/>
                      <a:gd name="connsiteX3" fmla="*/ 102934 w 169990"/>
                      <a:gd name="connsiteY3" fmla="*/ 26567 h 38572"/>
                      <a:gd name="connsiteX4" fmla="*/ 85347 w 169990"/>
                      <a:gd name="connsiteY4" fmla="*/ 38227 h 38572"/>
                      <a:gd name="connsiteX5" fmla="*/ 64846 w 169990"/>
                      <a:gd name="connsiteY5" fmla="*/ 32689 h 38572"/>
                      <a:gd name="connsiteX6" fmla="*/ 49591 w 169990"/>
                      <a:gd name="connsiteY6" fmla="*/ 22390 h 38572"/>
                      <a:gd name="connsiteX7" fmla="*/ 21122 w 169990"/>
                      <a:gd name="connsiteY7" fmla="*/ 19863 h 38572"/>
                      <a:gd name="connsiteX8" fmla="*/ 4605 w 169990"/>
                      <a:gd name="connsiteY8" fmla="*/ 31328 h 38572"/>
                      <a:gd name="connsiteX9" fmla="*/ 38 w 169990"/>
                      <a:gd name="connsiteY9" fmla="*/ 37547 h 38572"/>
                      <a:gd name="connsiteX10" fmla="*/ 3050 w 169990"/>
                      <a:gd name="connsiteY10" fmla="*/ 30162 h 38572"/>
                      <a:gd name="connsiteX11" fmla="*/ 19956 w 169990"/>
                      <a:gd name="connsiteY11" fmla="*/ 16560 h 38572"/>
                      <a:gd name="connsiteX12" fmla="*/ 52020 w 169990"/>
                      <a:gd name="connsiteY12" fmla="*/ 18309 h 38572"/>
                      <a:gd name="connsiteX13" fmla="*/ 67664 w 169990"/>
                      <a:gd name="connsiteY13" fmla="*/ 28511 h 38572"/>
                      <a:gd name="connsiteX14" fmla="*/ 84667 w 169990"/>
                      <a:gd name="connsiteY14" fmla="*/ 33272 h 38572"/>
                      <a:gd name="connsiteX15" fmla="*/ 99533 w 169990"/>
                      <a:gd name="connsiteY15" fmla="*/ 23264 h 38572"/>
                      <a:gd name="connsiteX16" fmla="*/ 112650 w 169990"/>
                      <a:gd name="connsiteY16" fmla="*/ 9661 h 38572"/>
                      <a:gd name="connsiteX17" fmla="*/ 143451 w 169990"/>
                      <a:gd name="connsiteY17" fmla="*/ 42 h 38572"/>
                      <a:gd name="connsiteX18" fmla="*/ 164244 w 169990"/>
                      <a:gd name="connsiteY18" fmla="*/ 5969 h 38572"/>
                      <a:gd name="connsiteX19" fmla="*/ 169977 w 169990"/>
                      <a:gd name="connsiteY19" fmla="*/ 11119 h 38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69990" h="38572">
                        <a:moveTo>
                          <a:pt x="169977" y="11119"/>
                        </a:moveTo>
                        <a:cubicBezTo>
                          <a:pt x="169588" y="12090"/>
                          <a:pt x="160649" y="3637"/>
                          <a:pt x="143062" y="3637"/>
                        </a:cubicBezTo>
                        <a:cubicBezTo>
                          <a:pt x="134512" y="3637"/>
                          <a:pt x="123921" y="6163"/>
                          <a:pt x="115274" y="13256"/>
                        </a:cubicBezTo>
                        <a:cubicBezTo>
                          <a:pt x="110999" y="16754"/>
                          <a:pt x="107306" y="21612"/>
                          <a:pt x="102934" y="26567"/>
                        </a:cubicBezTo>
                        <a:cubicBezTo>
                          <a:pt x="98659" y="31328"/>
                          <a:pt x="93120" y="36867"/>
                          <a:pt x="85347" y="38227"/>
                        </a:cubicBezTo>
                        <a:cubicBezTo>
                          <a:pt x="77477" y="39685"/>
                          <a:pt x="70287" y="36284"/>
                          <a:pt x="64846" y="32689"/>
                        </a:cubicBezTo>
                        <a:cubicBezTo>
                          <a:pt x="59210" y="29094"/>
                          <a:pt x="54449" y="25207"/>
                          <a:pt x="49591" y="22390"/>
                        </a:cubicBezTo>
                        <a:cubicBezTo>
                          <a:pt x="39972" y="16462"/>
                          <a:pt x="29090" y="17046"/>
                          <a:pt x="21122" y="19863"/>
                        </a:cubicBezTo>
                        <a:cubicBezTo>
                          <a:pt x="12961" y="22681"/>
                          <a:pt x="7617" y="27539"/>
                          <a:pt x="4605" y="31328"/>
                        </a:cubicBezTo>
                        <a:cubicBezTo>
                          <a:pt x="1593" y="35118"/>
                          <a:pt x="427" y="37644"/>
                          <a:pt x="38" y="37547"/>
                        </a:cubicBezTo>
                        <a:cubicBezTo>
                          <a:pt x="-156" y="37450"/>
                          <a:pt x="329" y="34632"/>
                          <a:pt x="3050" y="30162"/>
                        </a:cubicBezTo>
                        <a:cubicBezTo>
                          <a:pt x="5771" y="25887"/>
                          <a:pt x="11212" y="20155"/>
                          <a:pt x="19956" y="16560"/>
                        </a:cubicBezTo>
                        <a:cubicBezTo>
                          <a:pt x="28410" y="12965"/>
                          <a:pt x="40944" y="11896"/>
                          <a:pt x="52020" y="18309"/>
                        </a:cubicBezTo>
                        <a:cubicBezTo>
                          <a:pt x="57462" y="21321"/>
                          <a:pt x="62320" y="25207"/>
                          <a:pt x="67664" y="28511"/>
                        </a:cubicBezTo>
                        <a:cubicBezTo>
                          <a:pt x="72910" y="31814"/>
                          <a:pt x="78740" y="34341"/>
                          <a:pt x="84667" y="33272"/>
                        </a:cubicBezTo>
                        <a:cubicBezTo>
                          <a:pt x="90594" y="32203"/>
                          <a:pt x="95355" y="27831"/>
                          <a:pt x="99533" y="23264"/>
                        </a:cubicBezTo>
                        <a:cubicBezTo>
                          <a:pt x="103808" y="18600"/>
                          <a:pt x="107695" y="13548"/>
                          <a:pt x="112650" y="9661"/>
                        </a:cubicBezTo>
                        <a:cubicBezTo>
                          <a:pt x="122561" y="1888"/>
                          <a:pt x="134220" y="-347"/>
                          <a:pt x="143451" y="42"/>
                        </a:cubicBezTo>
                        <a:cubicBezTo>
                          <a:pt x="152779" y="431"/>
                          <a:pt x="159872" y="3346"/>
                          <a:pt x="164244" y="5969"/>
                        </a:cubicBezTo>
                        <a:cubicBezTo>
                          <a:pt x="168325" y="8689"/>
                          <a:pt x="170171" y="10924"/>
                          <a:pt x="169977" y="11119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2" name="Freeform: Shape 841">
                    <a:extLst>
                      <a:ext uri="{FF2B5EF4-FFF2-40B4-BE49-F238E27FC236}">
                        <a16:creationId xmlns:a16="http://schemas.microsoft.com/office/drawing/2014/main" id="{89B87ED6-6393-4533-9E3F-744182F2C09F}"/>
                      </a:ext>
                    </a:extLst>
                  </p:cNvPr>
                  <p:cNvSpPr/>
                  <p:nvPr/>
                </p:nvSpPr>
                <p:spPr>
                  <a:xfrm>
                    <a:off x="1737845" y="4339748"/>
                    <a:ext cx="169688" cy="42885"/>
                  </a:xfrm>
                  <a:custGeom>
                    <a:avLst/>
                    <a:gdLst>
                      <a:gd name="connsiteX0" fmla="*/ 169665 w 169688"/>
                      <a:gd name="connsiteY0" fmla="*/ 42846 h 42885"/>
                      <a:gd name="connsiteX1" fmla="*/ 146540 w 169688"/>
                      <a:gd name="connsiteY1" fmla="*/ 27203 h 42885"/>
                      <a:gd name="connsiteX2" fmla="*/ 117100 w 169688"/>
                      <a:gd name="connsiteY2" fmla="*/ 27494 h 42885"/>
                      <a:gd name="connsiteX3" fmla="*/ 101165 w 169688"/>
                      <a:gd name="connsiteY3" fmla="*/ 36141 h 42885"/>
                      <a:gd name="connsiteX4" fmla="*/ 80761 w 169688"/>
                      <a:gd name="connsiteY4" fmla="*/ 41583 h 42885"/>
                      <a:gd name="connsiteX5" fmla="*/ 63077 w 169688"/>
                      <a:gd name="connsiteY5" fmla="*/ 29826 h 42885"/>
                      <a:gd name="connsiteX6" fmla="*/ 51903 w 169688"/>
                      <a:gd name="connsiteY6" fmla="*/ 15154 h 42885"/>
                      <a:gd name="connsiteX7" fmla="*/ 25669 w 169688"/>
                      <a:gd name="connsiteY7" fmla="*/ 3689 h 42885"/>
                      <a:gd name="connsiteX8" fmla="*/ 6334 w 169688"/>
                      <a:gd name="connsiteY8" fmla="*/ 9227 h 42885"/>
                      <a:gd name="connsiteX9" fmla="*/ 18 w 169688"/>
                      <a:gd name="connsiteY9" fmla="*/ 13600 h 42885"/>
                      <a:gd name="connsiteX10" fmla="*/ 5168 w 169688"/>
                      <a:gd name="connsiteY10" fmla="*/ 7575 h 42885"/>
                      <a:gd name="connsiteX11" fmla="*/ 25475 w 169688"/>
                      <a:gd name="connsiteY11" fmla="*/ 94 h 42885"/>
                      <a:gd name="connsiteX12" fmla="*/ 55304 w 169688"/>
                      <a:gd name="connsiteY12" fmla="*/ 12045 h 42885"/>
                      <a:gd name="connsiteX13" fmla="*/ 66866 w 169688"/>
                      <a:gd name="connsiteY13" fmla="*/ 26717 h 42885"/>
                      <a:gd name="connsiteX14" fmla="*/ 81441 w 169688"/>
                      <a:gd name="connsiteY14" fmla="*/ 36627 h 42885"/>
                      <a:gd name="connsiteX15" fmla="*/ 98736 w 169688"/>
                      <a:gd name="connsiteY15" fmla="*/ 31866 h 42885"/>
                      <a:gd name="connsiteX16" fmla="*/ 115545 w 169688"/>
                      <a:gd name="connsiteY16" fmla="*/ 23219 h 42885"/>
                      <a:gd name="connsiteX17" fmla="*/ 147706 w 169688"/>
                      <a:gd name="connsiteY17" fmla="*/ 23996 h 42885"/>
                      <a:gd name="connsiteX18" fmla="*/ 165487 w 169688"/>
                      <a:gd name="connsiteY18" fmla="*/ 36239 h 42885"/>
                      <a:gd name="connsiteX19" fmla="*/ 169665 w 169688"/>
                      <a:gd name="connsiteY19" fmla="*/ 42846 h 42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69688" h="42885">
                        <a:moveTo>
                          <a:pt x="169665" y="42846"/>
                        </a:moveTo>
                        <a:cubicBezTo>
                          <a:pt x="168985" y="43623"/>
                          <a:pt x="163252" y="32838"/>
                          <a:pt x="146540" y="27203"/>
                        </a:cubicBezTo>
                        <a:cubicBezTo>
                          <a:pt x="138476" y="24482"/>
                          <a:pt x="127691" y="23510"/>
                          <a:pt x="117100" y="27494"/>
                        </a:cubicBezTo>
                        <a:cubicBezTo>
                          <a:pt x="111853" y="29437"/>
                          <a:pt x="106800" y="32838"/>
                          <a:pt x="101165" y="36141"/>
                        </a:cubicBezTo>
                        <a:cubicBezTo>
                          <a:pt x="95627" y="39348"/>
                          <a:pt x="88631" y="42749"/>
                          <a:pt x="80761" y="41583"/>
                        </a:cubicBezTo>
                        <a:cubicBezTo>
                          <a:pt x="72890" y="40514"/>
                          <a:pt x="67061" y="34879"/>
                          <a:pt x="63077" y="29826"/>
                        </a:cubicBezTo>
                        <a:cubicBezTo>
                          <a:pt x="58899" y="24676"/>
                          <a:pt x="55595" y="19429"/>
                          <a:pt x="51903" y="15154"/>
                        </a:cubicBezTo>
                        <a:cubicBezTo>
                          <a:pt x="44713" y="6507"/>
                          <a:pt x="34122" y="3495"/>
                          <a:pt x="25669" y="3689"/>
                        </a:cubicBezTo>
                        <a:cubicBezTo>
                          <a:pt x="17022" y="3786"/>
                          <a:pt x="10414" y="6701"/>
                          <a:pt x="6334" y="9227"/>
                        </a:cubicBezTo>
                        <a:cubicBezTo>
                          <a:pt x="2253" y="11851"/>
                          <a:pt x="309" y="13891"/>
                          <a:pt x="18" y="13600"/>
                        </a:cubicBezTo>
                        <a:cubicBezTo>
                          <a:pt x="-176" y="13503"/>
                          <a:pt x="1184" y="10879"/>
                          <a:pt x="5168" y="7575"/>
                        </a:cubicBezTo>
                        <a:cubicBezTo>
                          <a:pt x="9151" y="4369"/>
                          <a:pt x="16147" y="677"/>
                          <a:pt x="25475" y="94"/>
                        </a:cubicBezTo>
                        <a:cubicBezTo>
                          <a:pt x="34608" y="-586"/>
                          <a:pt x="46851" y="2329"/>
                          <a:pt x="55304" y="12045"/>
                        </a:cubicBezTo>
                        <a:cubicBezTo>
                          <a:pt x="59482" y="16612"/>
                          <a:pt x="62883" y="21858"/>
                          <a:pt x="66866" y="26717"/>
                        </a:cubicBezTo>
                        <a:cubicBezTo>
                          <a:pt x="70753" y="31478"/>
                          <a:pt x="75514" y="35850"/>
                          <a:pt x="81441" y="36627"/>
                        </a:cubicBezTo>
                        <a:cubicBezTo>
                          <a:pt x="87368" y="37502"/>
                          <a:pt x="93295" y="34879"/>
                          <a:pt x="98736" y="31866"/>
                        </a:cubicBezTo>
                        <a:cubicBezTo>
                          <a:pt x="104274" y="28854"/>
                          <a:pt x="109521" y="25259"/>
                          <a:pt x="115545" y="23219"/>
                        </a:cubicBezTo>
                        <a:cubicBezTo>
                          <a:pt x="127496" y="19041"/>
                          <a:pt x="139156" y="20596"/>
                          <a:pt x="147706" y="23996"/>
                        </a:cubicBezTo>
                        <a:cubicBezTo>
                          <a:pt x="156354" y="27397"/>
                          <a:pt x="162281" y="32352"/>
                          <a:pt x="165487" y="36239"/>
                        </a:cubicBezTo>
                        <a:cubicBezTo>
                          <a:pt x="168888" y="40028"/>
                          <a:pt x="169860" y="42652"/>
                          <a:pt x="169665" y="42846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3" name="Freeform: Shape 842">
                    <a:extLst>
                      <a:ext uri="{FF2B5EF4-FFF2-40B4-BE49-F238E27FC236}">
                        <a16:creationId xmlns:a16="http://schemas.microsoft.com/office/drawing/2014/main" id="{D75C7B1F-EF5B-4A1A-8EE5-6C743E2E93B8}"/>
                      </a:ext>
                    </a:extLst>
                  </p:cNvPr>
                  <p:cNvSpPr/>
                  <p:nvPr/>
                </p:nvSpPr>
                <p:spPr>
                  <a:xfrm>
                    <a:off x="1992696" y="4164435"/>
                    <a:ext cx="160736" cy="67654"/>
                  </a:xfrm>
                  <a:custGeom>
                    <a:avLst/>
                    <a:gdLst>
                      <a:gd name="connsiteX0" fmla="*/ 160734 w 160736"/>
                      <a:gd name="connsiteY0" fmla="*/ 5759 h 67654"/>
                      <a:gd name="connsiteX1" fmla="*/ 132848 w 160736"/>
                      <a:gd name="connsiteY1" fmla="*/ 4204 h 67654"/>
                      <a:gd name="connsiteX2" fmla="*/ 107780 w 160736"/>
                      <a:gd name="connsiteY2" fmla="*/ 19459 h 67654"/>
                      <a:gd name="connsiteX3" fmla="*/ 98549 w 160736"/>
                      <a:gd name="connsiteY3" fmla="*/ 35102 h 67654"/>
                      <a:gd name="connsiteX4" fmla="*/ 83781 w 160736"/>
                      <a:gd name="connsiteY4" fmla="*/ 50260 h 67654"/>
                      <a:gd name="connsiteX5" fmla="*/ 62599 w 160736"/>
                      <a:gd name="connsiteY5" fmla="*/ 49191 h 67654"/>
                      <a:gd name="connsiteX6" fmla="*/ 45498 w 160736"/>
                      <a:gd name="connsiteY6" fmla="*/ 42389 h 67654"/>
                      <a:gd name="connsiteX7" fmla="*/ 17126 w 160736"/>
                      <a:gd name="connsiteY7" fmla="*/ 45984 h 67654"/>
                      <a:gd name="connsiteX8" fmla="*/ 3329 w 160736"/>
                      <a:gd name="connsiteY8" fmla="*/ 60656 h 67654"/>
                      <a:gd name="connsiteX9" fmla="*/ 123 w 160736"/>
                      <a:gd name="connsiteY9" fmla="*/ 67652 h 67654"/>
                      <a:gd name="connsiteX10" fmla="*/ 1483 w 160736"/>
                      <a:gd name="connsiteY10" fmla="*/ 59879 h 67654"/>
                      <a:gd name="connsiteX11" fmla="*/ 15086 w 160736"/>
                      <a:gd name="connsiteY11" fmla="*/ 42972 h 67654"/>
                      <a:gd name="connsiteX12" fmla="*/ 46761 w 160736"/>
                      <a:gd name="connsiteY12" fmla="*/ 37920 h 67654"/>
                      <a:gd name="connsiteX13" fmla="*/ 64154 w 160736"/>
                      <a:gd name="connsiteY13" fmla="*/ 44527 h 67654"/>
                      <a:gd name="connsiteX14" fmla="*/ 81740 w 160736"/>
                      <a:gd name="connsiteY14" fmla="*/ 45499 h 67654"/>
                      <a:gd name="connsiteX15" fmla="*/ 94177 w 160736"/>
                      <a:gd name="connsiteY15" fmla="*/ 32576 h 67654"/>
                      <a:gd name="connsiteX16" fmla="*/ 104088 w 160736"/>
                      <a:gd name="connsiteY16" fmla="*/ 16544 h 67654"/>
                      <a:gd name="connsiteX17" fmla="*/ 132071 w 160736"/>
                      <a:gd name="connsiteY17" fmla="*/ 706 h 67654"/>
                      <a:gd name="connsiteX18" fmla="*/ 153641 w 160736"/>
                      <a:gd name="connsiteY18" fmla="*/ 2067 h 67654"/>
                      <a:gd name="connsiteX19" fmla="*/ 160734 w 160736"/>
                      <a:gd name="connsiteY19" fmla="*/ 5759 h 676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60736" h="67654">
                        <a:moveTo>
                          <a:pt x="160734" y="5759"/>
                        </a:moveTo>
                        <a:cubicBezTo>
                          <a:pt x="160540" y="6828"/>
                          <a:pt x="150046" y="415"/>
                          <a:pt x="132848" y="4204"/>
                        </a:cubicBezTo>
                        <a:cubicBezTo>
                          <a:pt x="124492" y="6050"/>
                          <a:pt x="114678" y="10714"/>
                          <a:pt x="107780" y="19459"/>
                        </a:cubicBezTo>
                        <a:cubicBezTo>
                          <a:pt x="104282" y="23734"/>
                          <a:pt x="101756" y="29370"/>
                          <a:pt x="98549" y="35102"/>
                        </a:cubicBezTo>
                        <a:cubicBezTo>
                          <a:pt x="95440" y="40641"/>
                          <a:pt x="91165" y="47248"/>
                          <a:pt x="83781" y="50260"/>
                        </a:cubicBezTo>
                        <a:cubicBezTo>
                          <a:pt x="76396" y="53369"/>
                          <a:pt x="68623" y="51523"/>
                          <a:pt x="62599" y="49191"/>
                        </a:cubicBezTo>
                        <a:cubicBezTo>
                          <a:pt x="56380" y="46859"/>
                          <a:pt x="50842" y="44041"/>
                          <a:pt x="45498" y="42389"/>
                        </a:cubicBezTo>
                        <a:cubicBezTo>
                          <a:pt x="34907" y="38697"/>
                          <a:pt x="24317" y="41515"/>
                          <a:pt x="17126" y="45984"/>
                        </a:cubicBezTo>
                        <a:cubicBezTo>
                          <a:pt x="9839" y="50454"/>
                          <a:pt x="5564" y="56381"/>
                          <a:pt x="3329" y="60656"/>
                        </a:cubicBezTo>
                        <a:cubicBezTo>
                          <a:pt x="1192" y="65029"/>
                          <a:pt x="609" y="67749"/>
                          <a:pt x="123" y="67652"/>
                        </a:cubicBezTo>
                        <a:cubicBezTo>
                          <a:pt x="-71" y="67652"/>
                          <a:pt x="-266" y="64737"/>
                          <a:pt x="1483" y="59879"/>
                        </a:cubicBezTo>
                        <a:cubicBezTo>
                          <a:pt x="3232" y="55118"/>
                          <a:pt x="7313" y="48317"/>
                          <a:pt x="15086" y="42972"/>
                        </a:cubicBezTo>
                        <a:cubicBezTo>
                          <a:pt x="22568" y="37726"/>
                          <a:pt x="34616" y="33936"/>
                          <a:pt x="46761" y="37920"/>
                        </a:cubicBezTo>
                        <a:cubicBezTo>
                          <a:pt x="52688" y="39669"/>
                          <a:pt x="58324" y="42487"/>
                          <a:pt x="64154" y="44527"/>
                        </a:cubicBezTo>
                        <a:cubicBezTo>
                          <a:pt x="69983" y="46665"/>
                          <a:pt x="76202" y="47928"/>
                          <a:pt x="81740" y="45499"/>
                        </a:cubicBezTo>
                        <a:cubicBezTo>
                          <a:pt x="87278" y="43264"/>
                          <a:pt x="91068" y="37920"/>
                          <a:pt x="94177" y="32576"/>
                        </a:cubicBezTo>
                        <a:cubicBezTo>
                          <a:pt x="97383" y="27135"/>
                          <a:pt x="100104" y="21402"/>
                          <a:pt x="104088" y="16544"/>
                        </a:cubicBezTo>
                        <a:cubicBezTo>
                          <a:pt x="112152" y="6828"/>
                          <a:pt x="123034" y="2164"/>
                          <a:pt x="132071" y="706"/>
                        </a:cubicBezTo>
                        <a:cubicBezTo>
                          <a:pt x="141204" y="-848"/>
                          <a:pt x="148880" y="415"/>
                          <a:pt x="153641" y="2067"/>
                        </a:cubicBezTo>
                        <a:cubicBezTo>
                          <a:pt x="158596" y="3719"/>
                          <a:pt x="160831" y="5564"/>
                          <a:pt x="160734" y="5759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4" name="Freeform: Shape 843">
                    <a:extLst>
                      <a:ext uri="{FF2B5EF4-FFF2-40B4-BE49-F238E27FC236}">
                        <a16:creationId xmlns:a16="http://schemas.microsoft.com/office/drawing/2014/main" id="{7E57630C-61A0-49A9-9A9E-F6EB712A9F09}"/>
                      </a:ext>
                    </a:extLst>
                  </p:cNvPr>
                  <p:cNvSpPr/>
                  <p:nvPr/>
                </p:nvSpPr>
                <p:spPr>
                  <a:xfrm>
                    <a:off x="1910014" y="4291142"/>
                    <a:ext cx="129995" cy="38439"/>
                  </a:xfrm>
                  <a:custGeom>
                    <a:avLst/>
                    <a:gdLst>
                      <a:gd name="connsiteX0" fmla="*/ 129930 w 129995"/>
                      <a:gd name="connsiteY0" fmla="*/ 38401 h 38439"/>
                      <a:gd name="connsiteX1" fmla="*/ 112440 w 129995"/>
                      <a:gd name="connsiteY1" fmla="*/ 25866 h 38439"/>
                      <a:gd name="connsiteX2" fmla="*/ 90092 w 129995"/>
                      <a:gd name="connsiteY2" fmla="*/ 25186 h 38439"/>
                      <a:gd name="connsiteX3" fmla="*/ 77558 w 129995"/>
                      <a:gd name="connsiteY3" fmla="*/ 31308 h 38439"/>
                      <a:gd name="connsiteX4" fmla="*/ 61235 w 129995"/>
                      <a:gd name="connsiteY4" fmla="*/ 34903 h 38439"/>
                      <a:gd name="connsiteX5" fmla="*/ 47632 w 129995"/>
                      <a:gd name="connsiteY5" fmla="*/ 24992 h 38439"/>
                      <a:gd name="connsiteX6" fmla="*/ 39568 w 129995"/>
                      <a:gd name="connsiteY6" fmla="*/ 13333 h 38439"/>
                      <a:gd name="connsiteX7" fmla="*/ 20135 w 129995"/>
                      <a:gd name="connsiteY7" fmla="*/ 3616 h 38439"/>
                      <a:gd name="connsiteX8" fmla="*/ 22 w 129995"/>
                      <a:gd name="connsiteY8" fmla="*/ 9932 h 38439"/>
                      <a:gd name="connsiteX9" fmla="*/ 4103 w 129995"/>
                      <a:gd name="connsiteY9" fmla="*/ 5268 h 38439"/>
                      <a:gd name="connsiteX10" fmla="*/ 20135 w 129995"/>
                      <a:gd name="connsiteY10" fmla="*/ 21 h 38439"/>
                      <a:gd name="connsiteX11" fmla="*/ 43065 w 129995"/>
                      <a:gd name="connsiteY11" fmla="*/ 10320 h 38439"/>
                      <a:gd name="connsiteX12" fmla="*/ 51519 w 129995"/>
                      <a:gd name="connsiteY12" fmla="*/ 21980 h 38439"/>
                      <a:gd name="connsiteX13" fmla="*/ 62109 w 129995"/>
                      <a:gd name="connsiteY13" fmla="*/ 29850 h 38439"/>
                      <a:gd name="connsiteX14" fmla="*/ 88538 w 129995"/>
                      <a:gd name="connsiteY14" fmla="*/ 20717 h 38439"/>
                      <a:gd name="connsiteX15" fmla="*/ 113606 w 129995"/>
                      <a:gd name="connsiteY15" fmla="*/ 22563 h 38439"/>
                      <a:gd name="connsiteX16" fmla="*/ 129930 w 129995"/>
                      <a:gd name="connsiteY16" fmla="*/ 38401 h 384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9995" h="38439">
                        <a:moveTo>
                          <a:pt x="129930" y="38401"/>
                        </a:moveTo>
                        <a:cubicBezTo>
                          <a:pt x="129249" y="39081"/>
                          <a:pt x="125071" y="30628"/>
                          <a:pt x="112440" y="25866"/>
                        </a:cubicBezTo>
                        <a:cubicBezTo>
                          <a:pt x="106319" y="23535"/>
                          <a:pt x="98157" y="22466"/>
                          <a:pt x="90092" y="25186"/>
                        </a:cubicBezTo>
                        <a:cubicBezTo>
                          <a:pt x="86109" y="26449"/>
                          <a:pt x="82125" y="28976"/>
                          <a:pt x="77558" y="31308"/>
                        </a:cubicBezTo>
                        <a:cubicBezTo>
                          <a:pt x="73089" y="33542"/>
                          <a:pt x="67551" y="36069"/>
                          <a:pt x="61235" y="34903"/>
                        </a:cubicBezTo>
                        <a:cubicBezTo>
                          <a:pt x="54919" y="33737"/>
                          <a:pt x="50644" y="29073"/>
                          <a:pt x="47632" y="24992"/>
                        </a:cubicBezTo>
                        <a:cubicBezTo>
                          <a:pt x="44620" y="20814"/>
                          <a:pt x="42288" y="16636"/>
                          <a:pt x="39568" y="13333"/>
                        </a:cubicBezTo>
                        <a:cubicBezTo>
                          <a:pt x="34418" y="6531"/>
                          <a:pt x="26645" y="3908"/>
                          <a:pt x="20135" y="3616"/>
                        </a:cubicBezTo>
                        <a:cubicBezTo>
                          <a:pt x="6726" y="3227"/>
                          <a:pt x="508" y="10806"/>
                          <a:pt x="22" y="9932"/>
                        </a:cubicBezTo>
                        <a:cubicBezTo>
                          <a:pt x="-172" y="9737"/>
                          <a:pt x="897" y="7794"/>
                          <a:pt x="4103" y="5268"/>
                        </a:cubicBezTo>
                        <a:cubicBezTo>
                          <a:pt x="7309" y="2839"/>
                          <a:pt x="12848" y="118"/>
                          <a:pt x="20135" y="21"/>
                        </a:cubicBezTo>
                        <a:cubicBezTo>
                          <a:pt x="27325" y="-271"/>
                          <a:pt x="36847" y="2450"/>
                          <a:pt x="43065" y="10320"/>
                        </a:cubicBezTo>
                        <a:cubicBezTo>
                          <a:pt x="46175" y="14012"/>
                          <a:pt x="48604" y="18191"/>
                          <a:pt x="51519" y="21980"/>
                        </a:cubicBezTo>
                        <a:cubicBezTo>
                          <a:pt x="54336" y="25769"/>
                          <a:pt x="57737" y="29073"/>
                          <a:pt x="62109" y="29850"/>
                        </a:cubicBezTo>
                        <a:cubicBezTo>
                          <a:pt x="71048" y="31405"/>
                          <a:pt x="79210" y="23340"/>
                          <a:pt x="88538" y="20717"/>
                        </a:cubicBezTo>
                        <a:cubicBezTo>
                          <a:pt x="98060" y="17899"/>
                          <a:pt x="107096" y="19648"/>
                          <a:pt x="113606" y="22563"/>
                        </a:cubicBezTo>
                        <a:cubicBezTo>
                          <a:pt x="127403" y="28878"/>
                          <a:pt x="130512" y="38595"/>
                          <a:pt x="129930" y="38401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5" name="Freeform: Shape 844">
                    <a:extLst>
                      <a:ext uri="{FF2B5EF4-FFF2-40B4-BE49-F238E27FC236}">
                        <a16:creationId xmlns:a16="http://schemas.microsoft.com/office/drawing/2014/main" id="{85BC16B5-FB66-424E-B287-B7AF87859FF5}"/>
                      </a:ext>
                    </a:extLst>
                  </p:cNvPr>
                  <p:cNvSpPr/>
                  <p:nvPr/>
                </p:nvSpPr>
                <p:spPr>
                  <a:xfrm>
                    <a:off x="1659818" y="4425421"/>
                    <a:ext cx="129976" cy="38439"/>
                  </a:xfrm>
                  <a:custGeom>
                    <a:avLst/>
                    <a:gdLst>
                      <a:gd name="connsiteX0" fmla="*/ 129929 w 129976"/>
                      <a:gd name="connsiteY0" fmla="*/ 38401 h 38439"/>
                      <a:gd name="connsiteX1" fmla="*/ 112440 w 129976"/>
                      <a:gd name="connsiteY1" fmla="*/ 25866 h 38439"/>
                      <a:gd name="connsiteX2" fmla="*/ 90092 w 129976"/>
                      <a:gd name="connsiteY2" fmla="*/ 25186 h 38439"/>
                      <a:gd name="connsiteX3" fmla="*/ 77558 w 129976"/>
                      <a:gd name="connsiteY3" fmla="*/ 31308 h 38439"/>
                      <a:gd name="connsiteX4" fmla="*/ 61235 w 129976"/>
                      <a:gd name="connsiteY4" fmla="*/ 34903 h 38439"/>
                      <a:gd name="connsiteX5" fmla="*/ 47632 w 129976"/>
                      <a:gd name="connsiteY5" fmla="*/ 24992 h 38439"/>
                      <a:gd name="connsiteX6" fmla="*/ 39568 w 129976"/>
                      <a:gd name="connsiteY6" fmla="*/ 13332 h 38439"/>
                      <a:gd name="connsiteX7" fmla="*/ 20135 w 129976"/>
                      <a:gd name="connsiteY7" fmla="*/ 3616 h 38439"/>
                      <a:gd name="connsiteX8" fmla="*/ 22 w 129976"/>
                      <a:gd name="connsiteY8" fmla="*/ 9932 h 38439"/>
                      <a:gd name="connsiteX9" fmla="*/ 4103 w 129976"/>
                      <a:gd name="connsiteY9" fmla="*/ 5268 h 38439"/>
                      <a:gd name="connsiteX10" fmla="*/ 20135 w 129976"/>
                      <a:gd name="connsiteY10" fmla="*/ 21 h 38439"/>
                      <a:gd name="connsiteX11" fmla="*/ 43065 w 129976"/>
                      <a:gd name="connsiteY11" fmla="*/ 10320 h 38439"/>
                      <a:gd name="connsiteX12" fmla="*/ 51519 w 129976"/>
                      <a:gd name="connsiteY12" fmla="*/ 21980 h 38439"/>
                      <a:gd name="connsiteX13" fmla="*/ 62109 w 129976"/>
                      <a:gd name="connsiteY13" fmla="*/ 29850 h 38439"/>
                      <a:gd name="connsiteX14" fmla="*/ 88538 w 129976"/>
                      <a:gd name="connsiteY14" fmla="*/ 20717 h 38439"/>
                      <a:gd name="connsiteX15" fmla="*/ 113606 w 129976"/>
                      <a:gd name="connsiteY15" fmla="*/ 22563 h 38439"/>
                      <a:gd name="connsiteX16" fmla="*/ 129929 w 129976"/>
                      <a:gd name="connsiteY16" fmla="*/ 38401 h 384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9976" h="38439">
                        <a:moveTo>
                          <a:pt x="129929" y="38401"/>
                        </a:moveTo>
                        <a:cubicBezTo>
                          <a:pt x="129249" y="39081"/>
                          <a:pt x="125071" y="30627"/>
                          <a:pt x="112440" y="25866"/>
                        </a:cubicBezTo>
                        <a:cubicBezTo>
                          <a:pt x="106319" y="23535"/>
                          <a:pt x="98157" y="22466"/>
                          <a:pt x="90092" y="25186"/>
                        </a:cubicBezTo>
                        <a:cubicBezTo>
                          <a:pt x="86109" y="26449"/>
                          <a:pt x="82125" y="28976"/>
                          <a:pt x="77558" y="31308"/>
                        </a:cubicBezTo>
                        <a:cubicBezTo>
                          <a:pt x="73089" y="33542"/>
                          <a:pt x="67551" y="36068"/>
                          <a:pt x="61235" y="34903"/>
                        </a:cubicBezTo>
                        <a:cubicBezTo>
                          <a:pt x="54919" y="33737"/>
                          <a:pt x="50644" y="29073"/>
                          <a:pt x="47632" y="24992"/>
                        </a:cubicBezTo>
                        <a:cubicBezTo>
                          <a:pt x="44620" y="20814"/>
                          <a:pt x="42288" y="16636"/>
                          <a:pt x="39568" y="13332"/>
                        </a:cubicBezTo>
                        <a:cubicBezTo>
                          <a:pt x="34418" y="6531"/>
                          <a:pt x="26645" y="3907"/>
                          <a:pt x="20135" y="3616"/>
                        </a:cubicBezTo>
                        <a:cubicBezTo>
                          <a:pt x="6726" y="3227"/>
                          <a:pt x="411" y="10806"/>
                          <a:pt x="22" y="9932"/>
                        </a:cubicBezTo>
                        <a:cubicBezTo>
                          <a:pt x="-172" y="9737"/>
                          <a:pt x="896" y="7794"/>
                          <a:pt x="4103" y="5268"/>
                        </a:cubicBezTo>
                        <a:cubicBezTo>
                          <a:pt x="7309" y="2839"/>
                          <a:pt x="12848" y="118"/>
                          <a:pt x="20135" y="21"/>
                        </a:cubicBezTo>
                        <a:cubicBezTo>
                          <a:pt x="27325" y="-271"/>
                          <a:pt x="36847" y="2450"/>
                          <a:pt x="43065" y="10320"/>
                        </a:cubicBezTo>
                        <a:cubicBezTo>
                          <a:pt x="46175" y="14012"/>
                          <a:pt x="48604" y="18190"/>
                          <a:pt x="51519" y="21980"/>
                        </a:cubicBezTo>
                        <a:cubicBezTo>
                          <a:pt x="54336" y="25769"/>
                          <a:pt x="57737" y="29073"/>
                          <a:pt x="62109" y="29850"/>
                        </a:cubicBezTo>
                        <a:cubicBezTo>
                          <a:pt x="71048" y="31405"/>
                          <a:pt x="79210" y="23340"/>
                          <a:pt x="88538" y="20717"/>
                        </a:cubicBezTo>
                        <a:cubicBezTo>
                          <a:pt x="98060" y="17899"/>
                          <a:pt x="107096" y="19648"/>
                          <a:pt x="113606" y="22563"/>
                        </a:cubicBezTo>
                        <a:cubicBezTo>
                          <a:pt x="127306" y="28878"/>
                          <a:pt x="130415" y="38595"/>
                          <a:pt x="129929" y="38401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6" name="Freeform: Shape 845">
                    <a:extLst>
                      <a:ext uri="{FF2B5EF4-FFF2-40B4-BE49-F238E27FC236}">
                        <a16:creationId xmlns:a16="http://schemas.microsoft.com/office/drawing/2014/main" id="{3E651EB6-BD7F-4154-8A90-A155FA5A7010}"/>
                      </a:ext>
                    </a:extLst>
                  </p:cNvPr>
                  <p:cNvSpPr/>
                  <p:nvPr/>
                </p:nvSpPr>
                <p:spPr>
                  <a:xfrm>
                    <a:off x="1891401" y="4457054"/>
                    <a:ext cx="132256" cy="28884"/>
                  </a:xfrm>
                  <a:custGeom>
                    <a:avLst/>
                    <a:gdLst>
                      <a:gd name="connsiteX0" fmla="*/ 132219 w 132256"/>
                      <a:gd name="connsiteY0" fmla="*/ 9877 h 28884"/>
                      <a:gd name="connsiteX1" fmla="*/ 111621 w 132256"/>
                      <a:gd name="connsiteY1" fmla="*/ 3658 h 28884"/>
                      <a:gd name="connsiteX2" fmla="*/ 90245 w 132256"/>
                      <a:gd name="connsiteY2" fmla="*/ 10265 h 28884"/>
                      <a:gd name="connsiteX3" fmla="*/ 80334 w 132256"/>
                      <a:gd name="connsiteY3" fmla="*/ 20079 h 28884"/>
                      <a:gd name="connsiteX4" fmla="*/ 66051 w 132256"/>
                      <a:gd name="connsiteY4" fmla="*/ 28726 h 28884"/>
                      <a:gd name="connsiteX5" fmla="*/ 50019 w 132256"/>
                      <a:gd name="connsiteY5" fmla="*/ 23771 h 28884"/>
                      <a:gd name="connsiteX6" fmla="*/ 38554 w 132256"/>
                      <a:gd name="connsiteY6" fmla="*/ 15318 h 28884"/>
                      <a:gd name="connsiteX7" fmla="*/ 17081 w 132256"/>
                      <a:gd name="connsiteY7" fmla="*/ 12403 h 28884"/>
                      <a:gd name="connsiteX8" fmla="*/ 77 w 132256"/>
                      <a:gd name="connsiteY8" fmla="*/ 24937 h 28884"/>
                      <a:gd name="connsiteX9" fmla="*/ 2409 w 132256"/>
                      <a:gd name="connsiteY9" fmla="*/ 19205 h 28884"/>
                      <a:gd name="connsiteX10" fmla="*/ 15915 w 132256"/>
                      <a:gd name="connsiteY10" fmla="*/ 9002 h 28884"/>
                      <a:gd name="connsiteX11" fmla="*/ 40983 w 132256"/>
                      <a:gd name="connsiteY11" fmla="*/ 11334 h 28884"/>
                      <a:gd name="connsiteX12" fmla="*/ 52740 w 132256"/>
                      <a:gd name="connsiteY12" fmla="*/ 19690 h 28884"/>
                      <a:gd name="connsiteX13" fmla="*/ 65274 w 132256"/>
                      <a:gd name="connsiteY13" fmla="*/ 23771 h 28884"/>
                      <a:gd name="connsiteX14" fmla="*/ 87330 w 132256"/>
                      <a:gd name="connsiteY14" fmla="*/ 6573 h 28884"/>
                      <a:gd name="connsiteX15" fmla="*/ 111718 w 132256"/>
                      <a:gd name="connsiteY15" fmla="*/ 161 h 28884"/>
                      <a:gd name="connsiteX16" fmla="*/ 132219 w 132256"/>
                      <a:gd name="connsiteY16" fmla="*/ 9877 h 288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32256" h="28884">
                        <a:moveTo>
                          <a:pt x="132219" y="9877"/>
                        </a:moveTo>
                        <a:cubicBezTo>
                          <a:pt x="131733" y="10751"/>
                          <a:pt x="125126" y="4144"/>
                          <a:pt x="111621" y="3658"/>
                        </a:cubicBezTo>
                        <a:cubicBezTo>
                          <a:pt x="105111" y="3464"/>
                          <a:pt x="97046" y="5116"/>
                          <a:pt x="90245" y="10265"/>
                        </a:cubicBezTo>
                        <a:cubicBezTo>
                          <a:pt x="86844" y="12792"/>
                          <a:pt x="83929" y="16387"/>
                          <a:pt x="80334" y="20079"/>
                        </a:cubicBezTo>
                        <a:cubicBezTo>
                          <a:pt x="76836" y="23674"/>
                          <a:pt x="72366" y="27852"/>
                          <a:pt x="66051" y="28726"/>
                        </a:cubicBezTo>
                        <a:cubicBezTo>
                          <a:pt x="59735" y="29601"/>
                          <a:pt x="54100" y="26686"/>
                          <a:pt x="50019" y="23771"/>
                        </a:cubicBezTo>
                        <a:cubicBezTo>
                          <a:pt x="45744" y="20759"/>
                          <a:pt x="42246" y="17650"/>
                          <a:pt x="38554" y="15318"/>
                        </a:cubicBezTo>
                        <a:cubicBezTo>
                          <a:pt x="31461" y="10557"/>
                          <a:pt x="23202" y="10557"/>
                          <a:pt x="17081" y="12403"/>
                        </a:cubicBezTo>
                        <a:cubicBezTo>
                          <a:pt x="4255" y="16387"/>
                          <a:pt x="757" y="25617"/>
                          <a:pt x="77" y="24937"/>
                        </a:cubicBezTo>
                        <a:cubicBezTo>
                          <a:pt x="-215" y="24840"/>
                          <a:pt x="271" y="22605"/>
                          <a:pt x="2409" y="19205"/>
                        </a:cubicBezTo>
                        <a:cubicBezTo>
                          <a:pt x="4644" y="15901"/>
                          <a:pt x="9016" y="11529"/>
                          <a:pt x="15915" y="9002"/>
                        </a:cubicBezTo>
                        <a:cubicBezTo>
                          <a:pt x="22619" y="6379"/>
                          <a:pt x="32530" y="5893"/>
                          <a:pt x="40983" y="11334"/>
                        </a:cubicBezTo>
                        <a:cubicBezTo>
                          <a:pt x="45161" y="13860"/>
                          <a:pt x="48853" y="16970"/>
                          <a:pt x="52740" y="19690"/>
                        </a:cubicBezTo>
                        <a:cubicBezTo>
                          <a:pt x="56626" y="22411"/>
                          <a:pt x="60901" y="24451"/>
                          <a:pt x="65274" y="23771"/>
                        </a:cubicBezTo>
                        <a:cubicBezTo>
                          <a:pt x="74213" y="22314"/>
                          <a:pt x="79362" y="12111"/>
                          <a:pt x="87330" y="6573"/>
                        </a:cubicBezTo>
                        <a:cubicBezTo>
                          <a:pt x="95394" y="840"/>
                          <a:pt x="104528" y="-520"/>
                          <a:pt x="111718" y="161"/>
                        </a:cubicBezTo>
                        <a:cubicBezTo>
                          <a:pt x="126681" y="1618"/>
                          <a:pt x="132802" y="9780"/>
                          <a:pt x="132219" y="9877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7" name="Freeform: Shape 846">
                    <a:extLst>
                      <a:ext uri="{FF2B5EF4-FFF2-40B4-BE49-F238E27FC236}">
                        <a16:creationId xmlns:a16="http://schemas.microsoft.com/office/drawing/2014/main" id="{C559BD8D-29B4-4940-BF21-BFC9524BFE34}"/>
                      </a:ext>
                    </a:extLst>
                  </p:cNvPr>
                  <p:cNvSpPr/>
                  <p:nvPr/>
                </p:nvSpPr>
                <p:spPr>
                  <a:xfrm>
                    <a:off x="1814148" y="4563740"/>
                    <a:ext cx="132253" cy="28884"/>
                  </a:xfrm>
                  <a:custGeom>
                    <a:avLst/>
                    <a:gdLst>
                      <a:gd name="connsiteX0" fmla="*/ 132227 w 132253"/>
                      <a:gd name="connsiteY0" fmla="*/ 9877 h 28884"/>
                      <a:gd name="connsiteX1" fmla="*/ 111628 w 132253"/>
                      <a:gd name="connsiteY1" fmla="*/ 3659 h 28884"/>
                      <a:gd name="connsiteX2" fmla="*/ 90252 w 132253"/>
                      <a:gd name="connsiteY2" fmla="*/ 10266 h 28884"/>
                      <a:gd name="connsiteX3" fmla="*/ 80342 w 132253"/>
                      <a:gd name="connsiteY3" fmla="*/ 20079 h 28884"/>
                      <a:gd name="connsiteX4" fmla="*/ 66059 w 132253"/>
                      <a:gd name="connsiteY4" fmla="*/ 28727 h 28884"/>
                      <a:gd name="connsiteX5" fmla="*/ 50027 w 132253"/>
                      <a:gd name="connsiteY5" fmla="*/ 23771 h 28884"/>
                      <a:gd name="connsiteX6" fmla="*/ 38561 w 132253"/>
                      <a:gd name="connsiteY6" fmla="*/ 15318 h 28884"/>
                      <a:gd name="connsiteX7" fmla="*/ 17088 w 132253"/>
                      <a:gd name="connsiteY7" fmla="*/ 12403 h 28884"/>
                      <a:gd name="connsiteX8" fmla="*/ 85 w 132253"/>
                      <a:gd name="connsiteY8" fmla="*/ 24937 h 28884"/>
                      <a:gd name="connsiteX9" fmla="*/ 2417 w 132253"/>
                      <a:gd name="connsiteY9" fmla="*/ 19204 h 28884"/>
                      <a:gd name="connsiteX10" fmla="*/ 15922 w 132253"/>
                      <a:gd name="connsiteY10" fmla="*/ 9002 h 28884"/>
                      <a:gd name="connsiteX11" fmla="*/ 40990 w 132253"/>
                      <a:gd name="connsiteY11" fmla="*/ 11334 h 28884"/>
                      <a:gd name="connsiteX12" fmla="*/ 52747 w 132253"/>
                      <a:gd name="connsiteY12" fmla="*/ 19690 h 28884"/>
                      <a:gd name="connsiteX13" fmla="*/ 65281 w 132253"/>
                      <a:gd name="connsiteY13" fmla="*/ 23771 h 28884"/>
                      <a:gd name="connsiteX14" fmla="*/ 87337 w 132253"/>
                      <a:gd name="connsiteY14" fmla="*/ 6573 h 28884"/>
                      <a:gd name="connsiteX15" fmla="*/ 111725 w 132253"/>
                      <a:gd name="connsiteY15" fmla="*/ 161 h 28884"/>
                      <a:gd name="connsiteX16" fmla="*/ 132227 w 132253"/>
                      <a:gd name="connsiteY16" fmla="*/ 9877 h 288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32253" h="28884">
                        <a:moveTo>
                          <a:pt x="132227" y="9877"/>
                        </a:moveTo>
                        <a:cubicBezTo>
                          <a:pt x="131741" y="10751"/>
                          <a:pt x="125134" y="4144"/>
                          <a:pt x="111628" y="3659"/>
                        </a:cubicBezTo>
                        <a:cubicBezTo>
                          <a:pt x="105118" y="3464"/>
                          <a:pt x="97054" y="5116"/>
                          <a:pt x="90252" y="10266"/>
                        </a:cubicBezTo>
                        <a:cubicBezTo>
                          <a:pt x="86851" y="12792"/>
                          <a:pt x="83937" y="16387"/>
                          <a:pt x="80342" y="20079"/>
                        </a:cubicBezTo>
                        <a:cubicBezTo>
                          <a:pt x="76844" y="23674"/>
                          <a:pt x="72374" y="27852"/>
                          <a:pt x="66059" y="28727"/>
                        </a:cubicBezTo>
                        <a:cubicBezTo>
                          <a:pt x="59743" y="29601"/>
                          <a:pt x="54107" y="26686"/>
                          <a:pt x="50027" y="23771"/>
                        </a:cubicBezTo>
                        <a:cubicBezTo>
                          <a:pt x="45751" y="20759"/>
                          <a:pt x="42254" y="17650"/>
                          <a:pt x="38561" y="15318"/>
                        </a:cubicBezTo>
                        <a:cubicBezTo>
                          <a:pt x="31468" y="10557"/>
                          <a:pt x="23209" y="10557"/>
                          <a:pt x="17088" y="12403"/>
                        </a:cubicBezTo>
                        <a:cubicBezTo>
                          <a:pt x="4263" y="16387"/>
                          <a:pt x="765" y="25617"/>
                          <a:pt x="85" y="24937"/>
                        </a:cubicBezTo>
                        <a:cubicBezTo>
                          <a:pt x="-207" y="24840"/>
                          <a:pt x="182" y="22605"/>
                          <a:pt x="2417" y="19204"/>
                        </a:cubicBezTo>
                        <a:cubicBezTo>
                          <a:pt x="4651" y="15901"/>
                          <a:pt x="9024" y="11529"/>
                          <a:pt x="15922" y="9002"/>
                        </a:cubicBezTo>
                        <a:cubicBezTo>
                          <a:pt x="22627" y="6379"/>
                          <a:pt x="32537" y="5893"/>
                          <a:pt x="40990" y="11334"/>
                        </a:cubicBezTo>
                        <a:cubicBezTo>
                          <a:pt x="45168" y="13861"/>
                          <a:pt x="48861" y="16970"/>
                          <a:pt x="52747" y="19690"/>
                        </a:cubicBezTo>
                        <a:cubicBezTo>
                          <a:pt x="56634" y="22411"/>
                          <a:pt x="60909" y="24451"/>
                          <a:pt x="65281" y="23771"/>
                        </a:cubicBezTo>
                        <a:cubicBezTo>
                          <a:pt x="74220" y="22411"/>
                          <a:pt x="79370" y="12112"/>
                          <a:pt x="87337" y="6573"/>
                        </a:cubicBezTo>
                        <a:cubicBezTo>
                          <a:pt x="95402" y="841"/>
                          <a:pt x="104535" y="-520"/>
                          <a:pt x="111725" y="161"/>
                        </a:cubicBezTo>
                        <a:cubicBezTo>
                          <a:pt x="126688" y="1618"/>
                          <a:pt x="132713" y="9780"/>
                          <a:pt x="132227" y="9877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8" name="Freeform: Shape 847">
                    <a:extLst>
                      <a:ext uri="{FF2B5EF4-FFF2-40B4-BE49-F238E27FC236}">
                        <a16:creationId xmlns:a16="http://schemas.microsoft.com/office/drawing/2014/main" id="{A0059CB3-F593-4083-9B81-4A8F5B6D785C}"/>
                      </a:ext>
                    </a:extLst>
                  </p:cNvPr>
                  <p:cNvSpPr/>
                  <p:nvPr/>
                </p:nvSpPr>
                <p:spPr>
                  <a:xfrm>
                    <a:off x="1653114" y="4801622"/>
                    <a:ext cx="130168" cy="36901"/>
                  </a:xfrm>
                  <a:custGeom>
                    <a:avLst/>
                    <a:gdLst>
                      <a:gd name="connsiteX0" fmla="*/ 130124 w 130168"/>
                      <a:gd name="connsiteY0" fmla="*/ 36862 h 36901"/>
                      <a:gd name="connsiteX1" fmla="*/ 112537 w 130168"/>
                      <a:gd name="connsiteY1" fmla="*/ 24619 h 36901"/>
                      <a:gd name="connsiteX2" fmla="*/ 90190 w 130168"/>
                      <a:gd name="connsiteY2" fmla="*/ 24231 h 36901"/>
                      <a:gd name="connsiteX3" fmla="*/ 77753 w 130168"/>
                      <a:gd name="connsiteY3" fmla="*/ 30547 h 36901"/>
                      <a:gd name="connsiteX4" fmla="*/ 61527 w 130168"/>
                      <a:gd name="connsiteY4" fmla="*/ 34336 h 36901"/>
                      <a:gd name="connsiteX5" fmla="*/ 47826 w 130168"/>
                      <a:gd name="connsiteY5" fmla="*/ 24619 h 36901"/>
                      <a:gd name="connsiteX6" fmla="*/ 39568 w 130168"/>
                      <a:gd name="connsiteY6" fmla="*/ 13057 h 36901"/>
                      <a:gd name="connsiteX7" fmla="*/ 20038 w 130168"/>
                      <a:gd name="connsiteY7" fmla="*/ 3632 h 36901"/>
                      <a:gd name="connsiteX8" fmla="*/ 22 w 130168"/>
                      <a:gd name="connsiteY8" fmla="*/ 10239 h 36901"/>
                      <a:gd name="connsiteX9" fmla="*/ 4006 w 130168"/>
                      <a:gd name="connsiteY9" fmla="*/ 5575 h 36901"/>
                      <a:gd name="connsiteX10" fmla="*/ 20038 w 130168"/>
                      <a:gd name="connsiteY10" fmla="*/ 37 h 36901"/>
                      <a:gd name="connsiteX11" fmla="*/ 43163 w 130168"/>
                      <a:gd name="connsiteY11" fmla="*/ 10045 h 36901"/>
                      <a:gd name="connsiteX12" fmla="*/ 51810 w 130168"/>
                      <a:gd name="connsiteY12" fmla="*/ 21607 h 36901"/>
                      <a:gd name="connsiteX13" fmla="*/ 62498 w 130168"/>
                      <a:gd name="connsiteY13" fmla="*/ 29380 h 36901"/>
                      <a:gd name="connsiteX14" fmla="*/ 88829 w 130168"/>
                      <a:gd name="connsiteY14" fmla="*/ 19858 h 36901"/>
                      <a:gd name="connsiteX15" fmla="*/ 113995 w 130168"/>
                      <a:gd name="connsiteY15" fmla="*/ 21316 h 36901"/>
                      <a:gd name="connsiteX16" fmla="*/ 130124 w 130168"/>
                      <a:gd name="connsiteY16" fmla="*/ 36862 h 369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30168" h="36901">
                        <a:moveTo>
                          <a:pt x="130124" y="36862"/>
                        </a:moveTo>
                        <a:cubicBezTo>
                          <a:pt x="129444" y="37542"/>
                          <a:pt x="125168" y="29186"/>
                          <a:pt x="112537" y="24619"/>
                        </a:cubicBezTo>
                        <a:cubicBezTo>
                          <a:pt x="106416" y="22385"/>
                          <a:pt x="98254" y="21413"/>
                          <a:pt x="90190" y="24231"/>
                        </a:cubicBezTo>
                        <a:cubicBezTo>
                          <a:pt x="86206" y="25591"/>
                          <a:pt x="82222" y="28117"/>
                          <a:pt x="77753" y="30547"/>
                        </a:cubicBezTo>
                        <a:cubicBezTo>
                          <a:pt x="73380" y="32878"/>
                          <a:pt x="67745" y="35405"/>
                          <a:pt x="61527" y="34336"/>
                        </a:cubicBezTo>
                        <a:cubicBezTo>
                          <a:pt x="55211" y="33267"/>
                          <a:pt x="50838" y="28603"/>
                          <a:pt x="47826" y="24619"/>
                        </a:cubicBezTo>
                        <a:cubicBezTo>
                          <a:pt x="44717" y="20441"/>
                          <a:pt x="42288" y="16360"/>
                          <a:pt x="39568" y="13057"/>
                        </a:cubicBezTo>
                        <a:cubicBezTo>
                          <a:pt x="34321" y="6353"/>
                          <a:pt x="26451" y="3827"/>
                          <a:pt x="20038" y="3632"/>
                        </a:cubicBezTo>
                        <a:cubicBezTo>
                          <a:pt x="6532" y="3438"/>
                          <a:pt x="508" y="11114"/>
                          <a:pt x="22" y="10239"/>
                        </a:cubicBezTo>
                        <a:cubicBezTo>
                          <a:pt x="-172" y="10045"/>
                          <a:pt x="897" y="8102"/>
                          <a:pt x="4006" y="5575"/>
                        </a:cubicBezTo>
                        <a:cubicBezTo>
                          <a:pt x="7115" y="3146"/>
                          <a:pt x="12653" y="329"/>
                          <a:pt x="20038" y="37"/>
                        </a:cubicBezTo>
                        <a:cubicBezTo>
                          <a:pt x="27131" y="-352"/>
                          <a:pt x="36750" y="2272"/>
                          <a:pt x="43163" y="10045"/>
                        </a:cubicBezTo>
                        <a:cubicBezTo>
                          <a:pt x="46369" y="13737"/>
                          <a:pt x="48895" y="17818"/>
                          <a:pt x="51810" y="21607"/>
                        </a:cubicBezTo>
                        <a:cubicBezTo>
                          <a:pt x="54725" y="25397"/>
                          <a:pt x="58126" y="28603"/>
                          <a:pt x="62498" y="29380"/>
                        </a:cubicBezTo>
                        <a:cubicBezTo>
                          <a:pt x="71437" y="30838"/>
                          <a:pt x="79502" y="22676"/>
                          <a:pt x="88829" y="19858"/>
                        </a:cubicBezTo>
                        <a:cubicBezTo>
                          <a:pt x="98254" y="16846"/>
                          <a:pt x="107388" y="18498"/>
                          <a:pt x="113995" y="21316"/>
                        </a:cubicBezTo>
                        <a:cubicBezTo>
                          <a:pt x="127306" y="27340"/>
                          <a:pt x="130610" y="36959"/>
                          <a:pt x="130124" y="36862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49" name="Freeform: Shape 848">
                    <a:extLst>
                      <a:ext uri="{FF2B5EF4-FFF2-40B4-BE49-F238E27FC236}">
                        <a16:creationId xmlns:a16="http://schemas.microsoft.com/office/drawing/2014/main" id="{389571E5-88C8-43E6-941B-828102885505}"/>
                      </a:ext>
                    </a:extLst>
                  </p:cNvPr>
                  <p:cNvSpPr/>
                  <p:nvPr/>
                </p:nvSpPr>
                <p:spPr>
                  <a:xfrm>
                    <a:off x="1841848" y="4884517"/>
                    <a:ext cx="132343" cy="28446"/>
                  </a:xfrm>
                  <a:custGeom>
                    <a:avLst/>
                    <a:gdLst>
                      <a:gd name="connsiteX0" fmla="*/ 132316 w 132343"/>
                      <a:gd name="connsiteY0" fmla="*/ 10321 h 28446"/>
                      <a:gd name="connsiteX1" fmla="*/ 111814 w 132343"/>
                      <a:gd name="connsiteY1" fmla="*/ 3811 h 28446"/>
                      <a:gd name="connsiteX2" fmla="*/ 90341 w 132343"/>
                      <a:gd name="connsiteY2" fmla="*/ 10127 h 28446"/>
                      <a:gd name="connsiteX3" fmla="*/ 80333 w 132343"/>
                      <a:gd name="connsiteY3" fmla="*/ 19843 h 28446"/>
                      <a:gd name="connsiteX4" fmla="*/ 65953 w 132343"/>
                      <a:gd name="connsiteY4" fmla="*/ 28296 h 28446"/>
                      <a:gd name="connsiteX5" fmla="*/ 50018 w 132343"/>
                      <a:gd name="connsiteY5" fmla="*/ 23049 h 28446"/>
                      <a:gd name="connsiteX6" fmla="*/ 38747 w 132343"/>
                      <a:gd name="connsiteY6" fmla="*/ 14402 h 28446"/>
                      <a:gd name="connsiteX7" fmla="*/ 17274 w 132343"/>
                      <a:gd name="connsiteY7" fmla="*/ 11195 h 28446"/>
                      <a:gd name="connsiteX8" fmla="*/ 76 w 132343"/>
                      <a:gd name="connsiteY8" fmla="*/ 23438 h 28446"/>
                      <a:gd name="connsiteX9" fmla="*/ 2506 w 132343"/>
                      <a:gd name="connsiteY9" fmla="*/ 17803 h 28446"/>
                      <a:gd name="connsiteX10" fmla="*/ 16108 w 132343"/>
                      <a:gd name="connsiteY10" fmla="*/ 7795 h 28446"/>
                      <a:gd name="connsiteX11" fmla="*/ 41177 w 132343"/>
                      <a:gd name="connsiteY11" fmla="*/ 10418 h 28446"/>
                      <a:gd name="connsiteX12" fmla="*/ 52836 w 132343"/>
                      <a:gd name="connsiteY12" fmla="*/ 18871 h 28446"/>
                      <a:gd name="connsiteX13" fmla="*/ 65370 w 132343"/>
                      <a:gd name="connsiteY13" fmla="*/ 23147 h 28446"/>
                      <a:gd name="connsiteX14" fmla="*/ 87718 w 132343"/>
                      <a:gd name="connsiteY14" fmla="*/ 6240 h 28446"/>
                      <a:gd name="connsiteX15" fmla="*/ 112106 w 132343"/>
                      <a:gd name="connsiteY15" fmla="*/ 216 h 28446"/>
                      <a:gd name="connsiteX16" fmla="*/ 132316 w 132343"/>
                      <a:gd name="connsiteY16" fmla="*/ 10321 h 284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32343" h="28446">
                        <a:moveTo>
                          <a:pt x="132316" y="10321"/>
                        </a:moveTo>
                        <a:cubicBezTo>
                          <a:pt x="131830" y="11195"/>
                          <a:pt x="125320" y="4491"/>
                          <a:pt x="111814" y="3811"/>
                        </a:cubicBezTo>
                        <a:cubicBezTo>
                          <a:pt x="105304" y="3520"/>
                          <a:pt x="97143" y="4977"/>
                          <a:pt x="90341" y="10127"/>
                        </a:cubicBezTo>
                        <a:cubicBezTo>
                          <a:pt x="86941" y="12556"/>
                          <a:pt x="83929" y="16151"/>
                          <a:pt x="80333" y="19843"/>
                        </a:cubicBezTo>
                        <a:cubicBezTo>
                          <a:pt x="76835" y="23341"/>
                          <a:pt x="72269" y="27422"/>
                          <a:pt x="65953" y="28296"/>
                        </a:cubicBezTo>
                        <a:cubicBezTo>
                          <a:pt x="59638" y="29171"/>
                          <a:pt x="54002" y="26061"/>
                          <a:pt x="50018" y="23049"/>
                        </a:cubicBezTo>
                        <a:cubicBezTo>
                          <a:pt x="45840" y="20037"/>
                          <a:pt x="42343" y="16831"/>
                          <a:pt x="38747" y="14402"/>
                        </a:cubicBezTo>
                        <a:cubicBezTo>
                          <a:pt x="31752" y="9544"/>
                          <a:pt x="23493" y="9447"/>
                          <a:pt x="17274" y="11195"/>
                        </a:cubicBezTo>
                        <a:cubicBezTo>
                          <a:pt x="4352" y="14985"/>
                          <a:pt x="854" y="24215"/>
                          <a:pt x="76" y="23438"/>
                        </a:cubicBezTo>
                        <a:cubicBezTo>
                          <a:pt x="-215" y="23341"/>
                          <a:pt x="271" y="21106"/>
                          <a:pt x="2506" y="17803"/>
                        </a:cubicBezTo>
                        <a:cubicBezTo>
                          <a:pt x="4740" y="14499"/>
                          <a:pt x="9210" y="10224"/>
                          <a:pt x="16108" y="7795"/>
                        </a:cubicBezTo>
                        <a:cubicBezTo>
                          <a:pt x="22813" y="5269"/>
                          <a:pt x="32723" y="4977"/>
                          <a:pt x="41177" y="10418"/>
                        </a:cubicBezTo>
                        <a:cubicBezTo>
                          <a:pt x="45257" y="12945"/>
                          <a:pt x="48950" y="16151"/>
                          <a:pt x="52836" y="18871"/>
                        </a:cubicBezTo>
                        <a:cubicBezTo>
                          <a:pt x="56723" y="21592"/>
                          <a:pt x="60998" y="23730"/>
                          <a:pt x="65370" y="23147"/>
                        </a:cubicBezTo>
                        <a:cubicBezTo>
                          <a:pt x="74309" y="21883"/>
                          <a:pt x="79653" y="11681"/>
                          <a:pt x="87718" y="6240"/>
                        </a:cubicBezTo>
                        <a:cubicBezTo>
                          <a:pt x="95880" y="605"/>
                          <a:pt x="105013" y="-561"/>
                          <a:pt x="112106" y="216"/>
                        </a:cubicBezTo>
                        <a:cubicBezTo>
                          <a:pt x="126875" y="1965"/>
                          <a:pt x="132802" y="10224"/>
                          <a:pt x="132316" y="10321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850" name="Graphic 13">
                    <a:extLst>
                      <a:ext uri="{FF2B5EF4-FFF2-40B4-BE49-F238E27FC236}">
                        <a16:creationId xmlns:a16="http://schemas.microsoft.com/office/drawing/2014/main" id="{2DCB0FB7-33D3-4C34-82E7-AF7DB577E3ED}"/>
                      </a:ext>
                    </a:extLst>
                  </p:cNvPr>
                  <p:cNvGrpSpPr/>
                  <p:nvPr/>
                </p:nvGrpSpPr>
                <p:grpSpPr>
                  <a:xfrm>
                    <a:off x="1315105" y="4091298"/>
                    <a:ext cx="999707" cy="792128"/>
                    <a:chOff x="1315105" y="4091298"/>
                    <a:chExt cx="999707" cy="792128"/>
                  </a:xfrm>
                </p:grpSpPr>
                <p:grpSp>
                  <p:nvGrpSpPr>
                    <p:cNvPr id="851" name="Graphic 13">
                      <a:extLst>
                        <a:ext uri="{FF2B5EF4-FFF2-40B4-BE49-F238E27FC236}">
                          <a16:creationId xmlns:a16="http://schemas.microsoft.com/office/drawing/2014/main" id="{9DF990C1-89BE-451B-A450-1195EFA644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105" y="4091298"/>
                      <a:ext cx="979468" cy="792128"/>
                      <a:chOff x="1315105" y="4091298"/>
                      <a:chExt cx="979468" cy="792128"/>
                    </a:xfrm>
                  </p:grpSpPr>
                  <p:sp>
                    <p:nvSpPr>
                      <p:cNvPr id="852" name="Freeform: Shape 851">
                        <a:extLst>
                          <a:ext uri="{FF2B5EF4-FFF2-40B4-BE49-F238E27FC236}">
                            <a16:creationId xmlns:a16="http://schemas.microsoft.com/office/drawing/2014/main" id="{DC140AFD-94AF-48E1-9CC0-CAA338965B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105" y="4091298"/>
                        <a:ext cx="249321" cy="309562"/>
                      </a:xfrm>
                      <a:custGeom>
                        <a:avLst/>
                        <a:gdLst>
                          <a:gd name="connsiteX0" fmla="*/ 29829 w 249321"/>
                          <a:gd name="connsiteY0" fmla="*/ 0 h 309562"/>
                          <a:gd name="connsiteX1" fmla="*/ 249321 w 249321"/>
                          <a:gd name="connsiteY1" fmla="*/ 292559 h 309562"/>
                          <a:gd name="connsiteX2" fmla="*/ 219200 w 249321"/>
                          <a:gd name="connsiteY2" fmla="*/ 309562 h 309562"/>
                          <a:gd name="connsiteX3" fmla="*/ 0 w 249321"/>
                          <a:gd name="connsiteY3" fmla="*/ 27594 h 309562"/>
                          <a:gd name="connsiteX4" fmla="*/ 29829 w 249321"/>
                          <a:gd name="connsiteY4" fmla="*/ 0 h 30956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49321" h="309562">
                            <a:moveTo>
                              <a:pt x="29829" y="0"/>
                            </a:moveTo>
                            <a:cubicBezTo>
                              <a:pt x="35756" y="6996"/>
                              <a:pt x="249321" y="292559"/>
                              <a:pt x="249321" y="292559"/>
                            </a:cubicBezTo>
                            <a:lnTo>
                              <a:pt x="219200" y="309562"/>
                            </a:lnTo>
                            <a:lnTo>
                              <a:pt x="0" y="27594"/>
                            </a:lnTo>
                            <a:lnTo>
                              <a:pt x="29829" y="0"/>
                            </a:ln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53" name="Freeform: Shape 852">
                        <a:extLst>
                          <a:ext uri="{FF2B5EF4-FFF2-40B4-BE49-F238E27FC236}">
                            <a16:creationId xmlns:a16="http://schemas.microsoft.com/office/drawing/2014/main" id="{C80A131F-2DBB-4FFD-8C25-EC3D02655E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3046" y="4225992"/>
                        <a:ext cx="911527" cy="657433"/>
                      </a:xfrm>
                      <a:custGeom>
                        <a:avLst/>
                        <a:gdLst>
                          <a:gd name="connsiteX0" fmla="*/ 795646 w 911527"/>
                          <a:gd name="connsiteY0" fmla="*/ 69057 h 657433"/>
                          <a:gd name="connsiteX1" fmla="*/ 581693 w 911527"/>
                          <a:gd name="connsiteY1" fmla="*/ 420983 h 657433"/>
                          <a:gd name="connsiteX2" fmla="*/ 218205 w 911527"/>
                          <a:gd name="connsiteY2" fmla="*/ 142415 h 657433"/>
                          <a:gd name="connsiteX3" fmla="*/ 189444 w 911527"/>
                          <a:gd name="connsiteY3" fmla="*/ 102967 h 657433"/>
                          <a:gd name="connsiteX4" fmla="*/ 139308 w 911527"/>
                          <a:gd name="connsiteY4" fmla="*/ 460 h 657433"/>
                          <a:gd name="connsiteX5" fmla="*/ 136587 w 911527"/>
                          <a:gd name="connsiteY5" fmla="*/ 99080 h 657433"/>
                          <a:gd name="connsiteX6" fmla="*/ 39424 w 911527"/>
                          <a:gd name="connsiteY6" fmla="*/ 31649 h 657433"/>
                          <a:gd name="connsiteX7" fmla="*/ 19506 w 911527"/>
                          <a:gd name="connsiteY7" fmla="*/ 5609 h 657433"/>
                          <a:gd name="connsiteX8" fmla="*/ 73 w 911527"/>
                          <a:gd name="connsiteY8" fmla="*/ 89558 h 657433"/>
                          <a:gd name="connsiteX9" fmla="*/ 79552 w 911527"/>
                          <a:gd name="connsiteY9" fmla="*/ 262898 h 657433"/>
                          <a:gd name="connsiteX10" fmla="*/ 614534 w 911527"/>
                          <a:gd name="connsiteY10" fmla="*/ 657381 h 657433"/>
                          <a:gd name="connsiteX11" fmla="*/ 886591 w 911527"/>
                          <a:gd name="connsiteY11" fmla="*/ 328774 h 657433"/>
                          <a:gd name="connsiteX12" fmla="*/ 833151 w 911527"/>
                          <a:gd name="connsiteY12" fmla="*/ 99275 h 657433"/>
                          <a:gd name="connsiteX13" fmla="*/ 795646 w 911527"/>
                          <a:gd name="connsiteY13" fmla="*/ 69057 h 65743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911527" h="657433">
                            <a:moveTo>
                              <a:pt x="795646" y="69057"/>
                            </a:moveTo>
                            <a:cubicBezTo>
                              <a:pt x="795646" y="69057"/>
                              <a:pt x="595295" y="414570"/>
                              <a:pt x="581693" y="420983"/>
                            </a:cubicBezTo>
                            <a:cubicBezTo>
                              <a:pt x="554973" y="433516"/>
                              <a:pt x="247548" y="167775"/>
                              <a:pt x="218205" y="142415"/>
                            </a:cubicBezTo>
                            <a:cubicBezTo>
                              <a:pt x="214124" y="136974"/>
                              <a:pt x="205865" y="125606"/>
                              <a:pt x="189444" y="102967"/>
                            </a:cubicBezTo>
                            <a:cubicBezTo>
                              <a:pt x="189444" y="102967"/>
                              <a:pt x="165153" y="-7994"/>
                              <a:pt x="139308" y="460"/>
                            </a:cubicBezTo>
                            <a:cubicBezTo>
                              <a:pt x="113462" y="9010"/>
                              <a:pt x="153494" y="56911"/>
                              <a:pt x="136587" y="99080"/>
                            </a:cubicBezTo>
                            <a:cubicBezTo>
                              <a:pt x="119681" y="141249"/>
                              <a:pt x="42533" y="40685"/>
                              <a:pt x="39424" y="31649"/>
                            </a:cubicBezTo>
                            <a:lnTo>
                              <a:pt x="19506" y="5609"/>
                            </a:lnTo>
                            <a:cubicBezTo>
                              <a:pt x="19506" y="5609"/>
                              <a:pt x="-1385" y="64782"/>
                              <a:pt x="73" y="89558"/>
                            </a:cubicBezTo>
                            <a:cubicBezTo>
                              <a:pt x="4640" y="168746"/>
                              <a:pt x="79552" y="262898"/>
                              <a:pt x="79552" y="262898"/>
                            </a:cubicBezTo>
                            <a:cubicBezTo>
                              <a:pt x="79552" y="262898"/>
                              <a:pt x="383965" y="644361"/>
                              <a:pt x="614534" y="657381"/>
                            </a:cubicBezTo>
                            <a:cubicBezTo>
                              <a:pt x="680896" y="661073"/>
                              <a:pt x="807695" y="469953"/>
                              <a:pt x="886591" y="328774"/>
                            </a:cubicBezTo>
                            <a:cubicBezTo>
                              <a:pt x="934201" y="243465"/>
                              <a:pt x="912145" y="156795"/>
                              <a:pt x="833151" y="99275"/>
                            </a:cubicBezTo>
                            <a:lnTo>
                              <a:pt x="795646" y="69057"/>
                            </a:lnTo>
                            <a:close/>
                          </a:path>
                        </a:pathLst>
                      </a:custGeom>
                      <a:solidFill>
                        <a:srgbClr val="FFBE9D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54" name="Freeform: Shape 853">
                        <a:extLst>
                          <a:ext uri="{FF2B5EF4-FFF2-40B4-BE49-F238E27FC236}">
                            <a16:creationId xmlns:a16="http://schemas.microsoft.com/office/drawing/2014/main" id="{0DC54751-45EF-4629-AF26-1CB35AA4BC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070" y="4270948"/>
                        <a:ext cx="29084" cy="58603"/>
                      </a:xfrm>
                      <a:custGeom>
                        <a:avLst/>
                        <a:gdLst>
                          <a:gd name="connsiteX0" fmla="*/ 29040 w 29084"/>
                          <a:gd name="connsiteY0" fmla="*/ 58594 h 58603"/>
                          <a:gd name="connsiteX1" fmla="*/ 11939 w 29084"/>
                          <a:gd name="connsiteY1" fmla="*/ 30611 h 58603"/>
                          <a:gd name="connsiteX2" fmla="*/ 86 w 29084"/>
                          <a:gd name="connsiteY2" fmla="*/ 5 h 58603"/>
                          <a:gd name="connsiteX3" fmla="*/ 14660 w 29084"/>
                          <a:gd name="connsiteY3" fmla="*/ 29251 h 58603"/>
                          <a:gd name="connsiteX4" fmla="*/ 29040 w 29084"/>
                          <a:gd name="connsiteY4" fmla="*/ 58594 h 586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9084" h="58603">
                            <a:moveTo>
                              <a:pt x="29040" y="58594"/>
                            </a:moveTo>
                            <a:cubicBezTo>
                              <a:pt x="28360" y="58983"/>
                              <a:pt x="19907" y="46934"/>
                              <a:pt x="11939" y="30611"/>
                            </a:cubicBezTo>
                            <a:cubicBezTo>
                              <a:pt x="3875" y="14385"/>
                              <a:pt x="-692" y="296"/>
                              <a:pt x="86" y="5"/>
                            </a:cubicBezTo>
                            <a:cubicBezTo>
                              <a:pt x="863" y="-287"/>
                              <a:pt x="6693" y="13122"/>
                              <a:pt x="14660" y="29251"/>
                            </a:cubicBezTo>
                            <a:cubicBezTo>
                              <a:pt x="22530" y="45477"/>
                              <a:pt x="29720" y="58205"/>
                              <a:pt x="29040" y="58594"/>
                            </a:cubicBezTo>
                            <a:close/>
                          </a:path>
                        </a:pathLst>
                      </a:custGeom>
                      <a:solidFill>
                        <a:srgbClr val="EB996E"/>
                      </a:solidFill>
                      <a:ln w="971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855" name="Freeform: Shape 854">
                      <a:extLst>
                        <a:ext uri="{FF2B5EF4-FFF2-40B4-BE49-F238E27FC236}">
                          <a16:creationId xmlns:a16="http://schemas.microsoft.com/office/drawing/2014/main" id="{4F465170-5B49-48D0-BC75-2AE0DED987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975038" y="4198955"/>
                      <a:ext cx="339773" cy="538576"/>
                    </a:xfrm>
                    <a:custGeom>
                      <a:avLst/>
                      <a:gdLst>
                        <a:gd name="connsiteX0" fmla="*/ 194230 w 339773"/>
                        <a:gd name="connsiteY0" fmla="*/ 0 h 538576"/>
                        <a:gd name="connsiteX1" fmla="*/ 0 w 339773"/>
                        <a:gd name="connsiteY1" fmla="*/ 350662 h 538576"/>
                        <a:gd name="connsiteX2" fmla="*/ 239799 w 339773"/>
                        <a:gd name="connsiteY2" fmla="*/ 538576 h 538576"/>
                        <a:gd name="connsiteX3" fmla="*/ 335116 w 339773"/>
                        <a:gd name="connsiteY3" fmla="*/ 259912 h 538576"/>
                        <a:gd name="connsiteX4" fmla="*/ 326857 w 339773"/>
                        <a:gd name="connsiteY4" fmla="*/ 100370 h 538576"/>
                        <a:gd name="connsiteX5" fmla="*/ 241451 w 339773"/>
                        <a:gd name="connsiteY5" fmla="*/ 34007 h 538576"/>
                        <a:gd name="connsiteX6" fmla="*/ 194230 w 339773"/>
                        <a:gd name="connsiteY6" fmla="*/ 0 h 5385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339773" h="538576">
                          <a:moveTo>
                            <a:pt x="194230" y="0"/>
                          </a:moveTo>
                          <a:cubicBezTo>
                            <a:pt x="186359" y="4761"/>
                            <a:pt x="0" y="350662"/>
                            <a:pt x="0" y="350662"/>
                          </a:cubicBezTo>
                          <a:lnTo>
                            <a:pt x="239799" y="538576"/>
                          </a:lnTo>
                          <a:cubicBezTo>
                            <a:pt x="239799" y="538576"/>
                            <a:pt x="302178" y="384864"/>
                            <a:pt x="335116" y="259912"/>
                          </a:cubicBezTo>
                          <a:cubicBezTo>
                            <a:pt x="344055" y="226002"/>
                            <a:pt x="339489" y="135348"/>
                            <a:pt x="326857" y="100370"/>
                          </a:cubicBezTo>
                          <a:cubicBezTo>
                            <a:pt x="308979" y="50719"/>
                            <a:pt x="281968" y="63059"/>
                            <a:pt x="241451" y="34007"/>
                          </a:cubicBezTo>
                          <a:lnTo>
                            <a:pt x="194230" y="0"/>
                          </a:lnTo>
                          <a:close/>
                        </a:path>
                      </a:pathLst>
                    </a:custGeom>
                    <a:solidFill>
                      <a:srgbClr val="95B7A9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6" name="Freeform: Shape 855">
                      <a:extLst>
                        <a:ext uri="{FF2B5EF4-FFF2-40B4-BE49-F238E27FC236}">
                          <a16:creationId xmlns:a16="http://schemas.microsoft.com/office/drawing/2014/main" id="{070F1D96-7F9D-4D09-9176-9ECF10E6A7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971929" y="4189026"/>
                      <a:ext cx="276150" cy="538698"/>
                    </a:xfrm>
                    <a:custGeom>
                      <a:avLst/>
                      <a:gdLst>
                        <a:gd name="connsiteX0" fmla="*/ 276138 w 276150"/>
                        <a:gd name="connsiteY0" fmla="*/ 9929 h 538698"/>
                        <a:gd name="connsiteX1" fmla="*/ 269337 w 276150"/>
                        <a:gd name="connsiteY1" fmla="*/ 6334 h 538698"/>
                        <a:gd name="connsiteX2" fmla="*/ 248252 w 276150"/>
                        <a:gd name="connsiteY2" fmla="*/ 1865 h 538698"/>
                        <a:gd name="connsiteX3" fmla="*/ 216966 w 276150"/>
                        <a:gd name="connsiteY3" fmla="*/ 14885 h 538698"/>
                        <a:gd name="connsiteX4" fmla="*/ 185776 w 276150"/>
                        <a:gd name="connsiteY4" fmla="*/ 48503 h 538698"/>
                        <a:gd name="connsiteX5" fmla="*/ 157016 w 276150"/>
                        <a:gd name="connsiteY5" fmla="*/ 96696 h 538698"/>
                        <a:gd name="connsiteX6" fmla="*/ 124952 w 276150"/>
                        <a:gd name="connsiteY6" fmla="*/ 152954 h 538698"/>
                        <a:gd name="connsiteX7" fmla="*/ 51205 w 276150"/>
                        <a:gd name="connsiteY7" fmla="*/ 281695 h 538698"/>
                        <a:gd name="connsiteX8" fmla="*/ 5247 w 276150"/>
                        <a:gd name="connsiteY8" fmla="*/ 361661 h 538698"/>
                        <a:gd name="connsiteX9" fmla="*/ 4664 w 276150"/>
                        <a:gd name="connsiteY9" fmla="*/ 358551 h 538698"/>
                        <a:gd name="connsiteX10" fmla="*/ 166927 w 276150"/>
                        <a:gd name="connsiteY10" fmla="*/ 486807 h 538698"/>
                        <a:gd name="connsiteX11" fmla="*/ 214051 w 276150"/>
                        <a:gd name="connsiteY11" fmla="*/ 524603 h 538698"/>
                        <a:gd name="connsiteX12" fmla="*/ 226488 w 276150"/>
                        <a:gd name="connsiteY12" fmla="*/ 534903 h 538698"/>
                        <a:gd name="connsiteX13" fmla="*/ 230666 w 276150"/>
                        <a:gd name="connsiteY13" fmla="*/ 538692 h 538698"/>
                        <a:gd name="connsiteX14" fmla="*/ 226002 w 276150"/>
                        <a:gd name="connsiteY14" fmla="*/ 535583 h 538698"/>
                        <a:gd name="connsiteX15" fmla="*/ 212982 w 276150"/>
                        <a:gd name="connsiteY15" fmla="*/ 525964 h 538698"/>
                        <a:gd name="connsiteX16" fmla="*/ 164983 w 276150"/>
                        <a:gd name="connsiteY16" fmla="*/ 489333 h 538698"/>
                        <a:gd name="connsiteX17" fmla="*/ 1652 w 276150"/>
                        <a:gd name="connsiteY17" fmla="*/ 362535 h 538698"/>
                        <a:gd name="connsiteX18" fmla="*/ 0 w 276150"/>
                        <a:gd name="connsiteY18" fmla="*/ 361272 h 538698"/>
                        <a:gd name="connsiteX19" fmla="*/ 1069 w 276150"/>
                        <a:gd name="connsiteY19" fmla="*/ 359426 h 538698"/>
                        <a:gd name="connsiteX20" fmla="*/ 46930 w 276150"/>
                        <a:gd name="connsiteY20" fmla="*/ 279460 h 538698"/>
                        <a:gd name="connsiteX21" fmla="*/ 120968 w 276150"/>
                        <a:gd name="connsiteY21" fmla="*/ 150913 h 538698"/>
                        <a:gd name="connsiteX22" fmla="*/ 153421 w 276150"/>
                        <a:gd name="connsiteY22" fmla="*/ 94850 h 538698"/>
                        <a:gd name="connsiteX23" fmla="*/ 182958 w 276150"/>
                        <a:gd name="connsiteY23" fmla="*/ 46560 h 538698"/>
                        <a:gd name="connsiteX24" fmla="*/ 215411 w 276150"/>
                        <a:gd name="connsiteY24" fmla="*/ 12747 h 538698"/>
                        <a:gd name="connsiteX25" fmla="*/ 248349 w 276150"/>
                        <a:gd name="connsiteY25" fmla="*/ 19 h 538698"/>
                        <a:gd name="connsiteX26" fmla="*/ 270017 w 276150"/>
                        <a:gd name="connsiteY26" fmla="*/ 5557 h 538698"/>
                        <a:gd name="connsiteX27" fmla="*/ 274875 w 276150"/>
                        <a:gd name="connsiteY27" fmla="*/ 8763 h 538698"/>
                        <a:gd name="connsiteX28" fmla="*/ 276138 w 276150"/>
                        <a:gd name="connsiteY28" fmla="*/ 9929 h 5386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</a:cxnLst>
                      <a:rect l="l" t="t" r="r" b="b"/>
                      <a:pathLst>
                        <a:path w="276150" h="538698">
                          <a:moveTo>
                            <a:pt x="276138" y="9929"/>
                          </a:moveTo>
                          <a:cubicBezTo>
                            <a:pt x="276041" y="10123"/>
                            <a:pt x="273806" y="8569"/>
                            <a:pt x="269337" y="6334"/>
                          </a:cubicBezTo>
                          <a:cubicBezTo>
                            <a:pt x="264964" y="4099"/>
                            <a:pt x="257677" y="1282"/>
                            <a:pt x="248252" y="1865"/>
                          </a:cubicBezTo>
                          <a:cubicBezTo>
                            <a:pt x="238827" y="2156"/>
                            <a:pt x="227654" y="6820"/>
                            <a:pt x="216966" y="14885"/>
                          </a:cubicBezTo>
                          <a:cubicBezTo>
                            <a:pt x="206181" y="23046"/>
                            <a:pt x="195687" y="34609"/>
                            <a:pt x="185776" y="48503"/>
                          </a:cubicBezTo>
                          <a:cubicBezTo>
                            <a:pt x="175671" y="62300"/>
                            <a:pt x="167315" y="79207"/>
                            <a:pt x="157016" y="96696"/>
                          </a:cubicBezTo>
                          <a:cubicBezTo>
                            <a:pt x="147008" y="114380"/>
                            <a:pt x="136223" y="133132"/>
                            <a:pt x="124952" y="152954"/>
                          </a:cubicBezTo>
                          <a:cubicBezTo>
                            <a:pt x="102313" y="192596"/>
                            <a:pt x="77342" y="236028"/>
                            <a:pt x="51205" y="281695"/>
                          </a:cubicBezTo>
                          <a:cubicBezTo>
                            <a:pt x="35270" y="309387"/>
                            <a:pt x="19821" y="336301"/>
                            <a:pt x="5247" y="361661"/>
                          </a:cubicBezTo>
                          <a:lnTo>
                            <a:pt x="4664" y="358551"/>
                          </a:lnTo>
                          <a:cubicBezTo>
                            <a:pt x="69666" y="409853"/>
                            <a:pt x="126215" y="454549"/>
                            <a:pt x="166927" y="486807"/>
                          </a:cubicBezTo>
                          <a:cubicBezTo>
                            <a:pt x="186651" y="502644"/>
                            <a:pt x="202585" y="515470"/>
                            <a:pt x="214051" y="524603"/>
                          </a:cubicBezTo>
                          <a:cubicBezTo>
                            <a:pt x="219200" y="528879"/>
                            <a:pt x="223378" y="532279"/>
                            <a:pt x="226488" y="534903"/>
                          </a:cubicBezTo>
                          <a:cubicBezTo>
                            <a:pt x="229305" y="537234"/>
                            <a:pt x="230763" y="538595"/>
                            <a:pt x="230666" y="538692"/>
                          </a:cubicBezTo>
                          <a:cubicBezTo>
                            <a:pt x="230569" y="538789"/>
                            <a:pt x="229014" y="537720"/>
                            <a:pt x="226002" y="535583"/>
                          </a:cubicBezTo>
                          <a:cubicBezTo>
                            <a:pt x="222698" y="533154"/>
                            <a:pt x="218423" y="529947"/>
                            <a:pt x="212982" y="525964"/>
                          </a:cubicBezTo>
                          <a:cubicBezTo>
                            <a:pt x="201322" y="517122"/>
                            <a:pt x="185096" y="504685"/>
                            <a:pt x="164983" y="489333"/>
                          </a:cubicBezTo>
                          <a:cubicBezTo>
                            <a:pt x="123980" y="457463"/>
                            <a:pt x="67043" y="413254"/>
                            <a:pt x="1652" y="362535"/>
                          </a:cubicBezTo>
                          <a:lnTo>
                            <a:pt x="0" y="361272"/>
                          </a:lnTo>
                          <a:lnTo>
                            <a:pt x="1069" y="359426"/>
                          </a:lnTo>
                          <a:cubicBezTo>
                            <a:pt x="15546" y="334066"/>
                            <a:pt x="30995" y="307152"/>
                            <a:pt x="46930" y="279460"/>
                          </a:cubicBezTo>
                          <a:cubicBezTo>
                            <a:pt x="73164" y="233890"/>
                            <a:pt x="98135" y="190459"/>
                            <a:pt x="120968" y="150913"/>
                          </a:cubicBezTo>
                          <a:cubicBezTo>
                            <a:pt x="132336" y="131189"/>
                            <a:pt x="143219" y="112436"/>
                            <a:pt x="153421" y="94850"/>
                          </a:cubicBezTo>
                          <a:cubicBezTo>
                            <a:pt x="163720" y="77458"/>
                            <a:pt x="172465" y="60454"/>
                            <a:pt x="182958" y="46560"/>
                          </a:cubicBezTo>
                          <a:cubicBezTo>
                            <a:pt x="193258" y="32568"/>
                            <a:pt x="204140" y="20909"/>
                            <a:pt x="215411" y="12747"/>
                          </a:cubicBezTo>
                          <a:cubicBezTo>
                            <a:pt x="226585" y="4585"/>
                            <a:pt x="238342" y="19"/>
                            <a:pt x="248349" y="19"/>
                          </a:cubicBezTo>
                          <a:cubicBezTo>
                            <a:pt x="258260" y="-273"/>
                            <a:pt x="265645" y="2933"/>
                            <a:pt x="270017" y="5557"/>
                          </a:cubicBezTo>
                          <a:cubicBezTo>
                            <a:pt x="272349" y="6723"/>
                            <a:pt x="273806" y="8083"/>
                            <a:pt x="274875" y="8763"/>
                          </a:cubicBezTo>
                          <a:cubicBezTo>
                            <a:pt x="275749" y="9443"/>
                            <a:pt x="276235" y="9832"/>
                            <a:pt x="276138" y="9929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71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57" name="Freeform: Shape 856">
                    <a:extLst>
                      <a:ext uri="{FF2B5EF4-FFF2-40B4-BE49-F238E27FC236}">
                        <a16:creationId xmlns:a16="http://schemas.microsoft.com/office/drawing/2014/main" id="{108E2842-920C-4166-A0D3-2A9BCDBCD21A}"/>
                      </a:ext>
                    </a:extLst>
                  </p:cNvPr>
                  <p:cNvSpPr/>
                  <p:nvPr/>
                </p:nvSpPr>
                <p:spPr>
                  <a:xfrm>
                    <a:off x="2046529" y="4484885"/>
                    <a:ext cx="129995" cy="38439"/>
                  </a:xfrm>
                  <a:custGeom>
                    <a:avLst/>
                    <a:gdLst>
                      <a:gd name="connsiteX0" fmla="*/ 129929 w 129995"/>
                      <a:gd name="connsiteY0" fmla="*/ 38401 h 38439"/>
                      <a:gd name="connsiteX1" fmla="*/ 112440 w 129995"/>
                      <a:gd name="connsiteY1" fmla="*/ 25866 h 38439"/>
                      <a:gd name="connsiteX2" fmla="*/ 90093 w 129995"/>
                      <a:gd name="connsiteY2" fmla="*/ 25186 h 38439"/>
                      <a:gd name="connsiteX3" fmla="*/ 77558 w 129995"/>
                      <a:gd name="connsiteY3" fmla="*/ 31308 h 38439"/>
                      <a:gd name="connsiteX4" fmla="*/ 61235 w 129995"/>
                      <a:gd name="connsiteY4" fmla="*/ 34903 h 38439"/>
                      <a:gd name="connsiteX5" fmla="*/ 47632 w 129995"/>
                      <a:gd name="connsiteY5" fmla="*/ 24992 h 38439"/>
                      <a:gd name="connsiteX6" fmla="*/ 39568 w 129995"/>
                      <a:gd name="connsiteY6" fmla="*/ 13332 h 38439"/>
                      <a:gd name="connsiteX7" fmla="*/ 20135 w 129995"/>
                      <a:gd name="connsiteY7" fmla="*/ 3616 h 38439"/>
                      <a:gd name="connsiteX8" fmla="*/ 22 w 129995"/>
                      <a:gd name="connsiteY8" fmla="*/ 9932 h 38439"/>
                      <a:gd name="connsiteX9" fmla="*/ 4103 w 129995"/>
                      <a:gd name="connsiteY9" fmla="*/ 5268 h 38439"/>
                      <a:gd name="connsiteX10" fmla="*/ 20135 w 129995"/>
                      <a:gd name="connsiteY10" fmla="*/ 21 h 38439"/>
                      <a:gd name="connsiteX11" fmla="*/ 43065 w 129995"/>
                      <a:gd name="connsiteY11" fmla="*/ 10320 h 38439"/>
                      <a:gd name="connsiteX12" fmla="*/ 51519 w 129995"/>
                      <a:gd name="connsiteY12" fmla="*/ 21980 h 38439"/>
                      <a:gd name="connsiteX13" fmla="*/ 62109 w 129995"/>
                      <a:gd name="connsiteY13" fmla="*/ 29850 h 38439"/>
                      <a:gd name="connsiteX14" fmla="*/ 88538 w 129995"/>
                      <a:gd name="connsiteY14" fmla="*/ 20717 h 38439"/>
                      <a:gd name="connsiteX15" fmla="*/ 113606 w 129995"/>
                      <a:gd name="connsiteY15" fmla="*/ 22563 h 38439"/>
                      <a:gd name="connsiteX16" fmla="*/ 129929 w 129995"/>
                      <a:gd name="connsiteY16" fmla="*/ 38401 h 384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9995" h="38439">
                        <a:moveTo>
                          <a:pt x="129929" y="38401"/>
                        </a:moveTo>
                        <a:cubicBezTo>
                          <a:pt x="129249" y="39081"/>
                          <a:pt x="125071" y="30628"/>
                          <a:pt x="112440" y="25866"/>
                        </a:cubicBezTo>
                        <a:cubicBezTo>
                          <a:pt x="106319" y="23535"/>
                          <a:pt x="98157" y="22466"/>
                          <a:pt x="90093" y="25186"/>
                        </a:cubicBezTo>
                        <a:cubicBezTo>
                          <a:pt x="86109" y="26449"/>
                          <a:pt x="82125" y="28976"/>
                          <a:pt x="77558" y="31308"/>
                        </a:cubicBezTo>
                        <a:cubicBezTo>
                          <a:pt x="73089" y="33542"/>
                          <a:pt x="67551" y="36069"/>
                          <a:pt x="61235" y="34903"/>
                        </a:cubicBezTo>
                        <a:cubicBezTo>
                          <a:pt x="54919" y="33737"/>
                          <a:pt x="50644" y="29073"/>
                          <a:pt x="47632" y="24992"/>
                        </a:cubicBezTo>
                        <a:cubicBezTo>
                          <a:pt x="44620" y="20814"/>
                          <a:pt x="42288" y="16636"/>
                          <a:pt x="39568" y="13332"/>
                        </a:cubicBezTo>
                        <a:cubicBezTo>
                          <a:pt x="34418" y="6531"/>
                          <a:pt x="26645" y="3908"/>
                          <a:pt x="20135" y="3616"/>
                        </a:cubicBezTo>
                        <a:cubicBezTo>
                          <a:pt x="6726" y="3227"/>
                          <a:pt x="411" y="10806"/>
                          <a:pt x="22" y="9932"/>
                        </a:cubicBezTo>
                        <a:cubicBezTo>
                          <a:pt x="-172" y="9737"/>
                          <a:pt x="896" y="7794"/>
                          <a:pt x="4103" y="5268"/>
                        </a:cubicBezTo>
                        <a:cubicBezTo>
                          <a:pt x="7309" y="2839"/>
                          <a:pt x="12848" y="118"/>
                          <a:pt x="20135" y="21"/>
                        </a:cubicBezTo>
                        <a:cubicBezTo>
                          <a:pt x="27325" y="-271"/>
                          <a:pt x="36847" y="2450"/>
                          <a:pt x="43065" y="10320"/>
                        </a:cubicBezTo>
                        <a:cubicBezTo>
                          <a:pt x="46175" y="14012"/>
                          <a:pt x="48604" y="18190"/>
                          <a:pt x="51519" y="21980"/>
                        </a:cubicBezTo>
                        <a:cubicBezTo>
                          <a:pt x="54336" y="25769"/>
                          <a:pt x="57737" y="29073"/>
                          <a:pt x="62109" y="29850"/>
                        </a:cubicBezTo>
                        <a:cubicBezTo>
                          <a:pt x="71048" y="31405"/>
                          <a:pt x="79210" y="23340"/>
                          <a:pt x="88538" y="20717"/>
                        </a:cubicBezTo>
                        <a:cubicBezTo>
                          <a:pt x="98060" y="17899"/>
                          <a:pt x="107096" y="19648"/>
                          <a:pt x="113606" y="22563"/>
                        </a:cubicBezTo>
                        <a:cubicBezTo>
                          <a:pt x="127403" y="28781"/>
                          <a:pt x="130512" y="38498"/>
                          <a:pt x="129929" y="38401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8" name="Freeform: Shape 857">
                    <a:extLst>
                      <a:ext uri="{FF2B5EF4-FFF2-40B4-BE49-F238E27FC236}">
                        <a16:creationId xmlns:a16="http://schemas.microsoft.com/office/drawing/2014/main" id="{E99F66A5-B555-49A6-9CA9-F5E10E7F4F27}"/>
                      </a:ext>
                    </a:extLst>
                  </p:cNvPr>
                  <p:cNvSpPr/>
                  <p:nvPr/>
                </p:nvSpPr>
                <p:spPr>
                  <a:xfrm>
                    <a:off x="2168670" y="4411127"/>
                    <a:ext cx="117514" cy="67482"/>
                  </a:xfrm>
                  <a:custGeom>
                    <a:avLst/>
                    <a:gdLst>
                      <a:gd name="connsiteX0" fmla="*/ 117389 w 117514"/>
                      <a:gd name="connsiteY0" fmla="*/ 67464 h 67482"/>
                      <a:gd name="connsiteX1" fmla="*/ 103980 w 117514"/>
                      <a:gd name="connsiteY1" fmla="*/ 50752 h 67482"/>
                      <a:gd name="connsiteX2" fmla="*/ 82604 w 117514"/>
                      <a:gd name="connsiteY2" fmla="*/ 44048 h 67482"/>
                      <a:gd name="connsiteX3" fmla="*/ 68904 w 117514"/>
                      <a:gd name="connsiteY3" fmla="*/ 46574 h 67482"/>
                      <a:gd name="connsiteX4" fmla="*/ 52192 w 117514"/>
                      <a:gd name="connsiteY4" fmla="*/ 45602 h 67482"/>
                      <a:gd name="connsiteX5" fmla="*/ 41795 w 117514"/>
                      <a:gd name="connsiteY5" fmla="*/ 32388 h 67482"/>
                      <a:gd name="connsiteX6" fmla="*/ 37132 w 117514"/>
                      <a:gd name="connsiteY6" fmla="*/ 18980 h 67482"/>
                      <a:gd name="connsiteX7" fmla="*/ 21100 w 117514"/>
                      <a:gd name="connsiteY7" fmla="*/ 4405 h 67482"/>
                      <a:gd name="connsiteX8" fmla="*/ 15 w 117514"/>
                      <a:gd name="connsiteY8" fmla="*/ 5085 h 67482"/>
                      <a:gd name="connsiteX9" fmla="*/ 5165 w 117514"/>
                      <a:gd name="connsiteY9" fmla="*/ 1684 h 67482"/>
                      <a:gd name="connsiteX10" fmla="*/ 22071 w 117514"/>
                      <a:gd name="connsiteY10" fmla="*/ 907 h 67482"/>
                      <a:gd name="connsiteX11" fmla="*/ 41407 w 117514"/>
                      <a:gd name="connsiteY11" fmla="*/ 17036 h 67482"/>
                      <a:gd name="connsiteX12" fmla="*/ 46362 w 117514"/>
                      <a:gd name="connsiteY12" fmla="*/ 30542 h 67482"/>
                      <a:gd name="connsiteX13" fmla="*/ 54427 w 117514"/>
                      <a:gd name="connsiteY13" fmla="*/ 41036 h 67482"/>
                      <a:gd name="connsiteX14" fmla="*/ 82410 w 117514"/>
                      <a:gd name="connsiteY14" fmla="*/ 39384 h 67482"/>
                      <a:gd name="connsiteX15" fmla="*/ 106118 w 117514"/>
                      <a:gd name="connsiteY15" fmla="*/ 47934 h 67482"/>
                      <a:gd name="connsiteX16" fmla="*/ 117389 w 117514"/>
                      <a:gd name="connsiteY16" fmla="*/ 67464 h 674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7514" h="67482">
                        <a:moveTo>
                          <a:pt x="117389" y="67464"/>
                        </a:moveTo>
                        <a:cubicBezTo>
                          <a:pt x="116514" y="67950"/>
                          <a:pt x="114765" y="58719"/>
                          <a:pt x="103980" y="50752"/>
                        </a:cubicBezTo>
                        <a:cubicBezTo>
                          <a:pt x="98733" y="46865"/>
                          <a:pt x="91154" y="43659"/>
                          <a:pt x="82604" y="44048"/>
                        </a:cubicBezTo>
                        <a:cubicBezTo>
                          <a:pt x="78426" y="44242"/>
                          <a:pt x="73859" y="45505"/>
                          <a:pt x="68904" y="46574"/>
                        </a:cubicBezTo>
                        <a:cubicBezTo>
                          <a:pt x="64046" y="47546"/>
                          <a:pt x="57925" y="48420"/>
                          <a:pt x="52192" y="45602"/>
                        </a:cubicBezTo>
                        <a:cubicBezTo>
                          <a:pt x="46459" y="42784"/>
                          <a:pt x="43544" y="37149"/>
                          <a:pt x="41795" y="32388"/>
                        </a:cubicBezTo>
                        <a:cubicBezTo>
                          <a:pt x="39949" y="27530"/>
                          <a:pt x="38881" y="22866"/>
                          <a:pt x="37132" y="18980"/>
                        </a:cubicBezTo>
                        <a:cubicBezTo>
                          <a:pt x="34022" y="11012"/>
                          <a:pt x="27221" y="6348"/>
                          <a:pt x="21100" y="4405"/>
                        </a:cubicBezTo>
                        <a:cubicBezTo>
                          <a:pt x="8274" y="421"/>
                          <a:pt x="210" y="6057"/>
                          <a:pt x="15" y="5085"/>
                        </a:cubicBezTo>
                        <a:cubicBezTo>
                          <a:pt x="-179" y="4891"/>
                          <a:pt x="1473" y="3239"/>
                          <a:pt x="5165" y="1684"/>
                        </a:cubicBezTo>
                        <a:cubicBezTo>
                          <a:pt x="8857" y="227"/>
                          <a:pt x="14881" y="-842"/>
                          <a:pt x="22071" y="907"/>
                        </a:cubicBezTo>
                        <a:cubicBezTo>
                          <a:pt x="29067" y="2559"/>
                          <a:pt x="37520" y="7806"/>
                          <a:pt x="41407" y="17036"/>
                        </a:cubicBezTo>
                        <a:cubicBezTo>
                          <a:pt x="43447" y="21409"/>
                          <a:pt x="44613" y="26170"/>
                          <a:pt x="46362" y="30542"/>
                        </a:cubicBezTo>
                        <a:cubicBezTo>
                          <a:pt x="48014" y="35011"/>
                          <a:pt x="50443" y="39092"/>
                          <a:pt x="54427" y="41036"/>
                        </a:cubicBezTo>
                        <a:cubicBezTo>
                          <a:pt x="62588" y="44922"/>
                          <a:pt x="72693" y="39384"/>
                          <a:pt x="82410" y="39384"/>
                        </a:cubicBezTo>
                        <a:cubicBezTo>
                          <a:pt x="92320" y="39189"/>
                          <a:pt x="100579" y="43367"/>
                          <a:pt x="106118" y="47934"/>
                        </a:cubicBezTo>
                        <a:cubicBezTo>
                          <a:pt x="117486" y="57456"/>
                          <a:pt x="117874" y="67658"/>
                          <a:pt x="117389" y="67464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59" name="Freeform: Shape 858">
                    <a:extLst>
                      <a:ext uri="{FF2B5EF4-FFF2-40B4-BE49-F238E27FC236}">
                        <a16:creationId xmlns:a16="http://schemas.microsoft.com/office/drawing/2014/main" id="{F880E90E-372B-47E5-9800-B932D903CDA8}"/>
                      </a:ext>
                    </a:extLst>
                  </p:cNvPr>
                  <p:cNvSpPr/>
                  <p:nvPr/>
                </p:nvSpPr>
                <p:spPr>
                  <a:xfrm>
                    <a:off x="2174305" y="4268102"/>
                    <a:ext cx="117514" cy="67482"/>
                  </a:xfrm>
                  <a:custGeom>
                    <a:avLst/>
                    <a:gdLst>
                      <a:gd name="connsiteX0" fmla="*/ 117389 w 117514"/>
                      <a:gd name="connsiteY0" fmla="*/ 67464 h 67482"/>
                      <a:gd name="connsiteX1" fmla="*/ 103980 w 117514"/>
                      <a:gd name="connsiteY1" fmla="*/ 50752 h 67482"/>
                      <a:gd name="connsiteX2" fmla="*/ 82604 w 117514"/>
                      <a:gd name="connsiteY2" fmla="*/ 44048 h 67482"/>
                      <a:gd name="connsiteX3" fmla="*/ 68904 w 117514"/>
                      <a:gd name="connsiteY3" fmla="*/ 46574 h 67482"/>
                      <a:gd name="connsiteX4" fmla="*/ 52192 w 117514"/>
                      <a:gd name="connsiteY4" fmla="*/ 45602 h 67482"/>
                      <a:gd name="connsiteX5" fmla="*/ 41796 w 117514"/>
                      <a:gd name="connsiteY5" fmla="*/ 32388 h 67482"/>
                      <a:gd name="connsiteX6" fmla="*/ 37132 w 117514"/>
                      <a:gd name="connsiteY6" fmla="*/ 18980 h 67482"/>
                      <a:gd name="connsiteX7" fmla="*/ 21100 w 117514"/>
                      <a:gd name="connsiteY7" fmla="*/ 4405 h 67482"/>
                      <a:gd name="connsiteX8" fmla="*/ 15 w 117514"/>
                      <a:gd name="connsiteY8" fmla="*/ 5085 h 67482"/>
                      <a:gd name="connsiteX9" fmla="*/ 5165 w 117514"/>
                      <a:gd name="connsiteY9" fmla="*/ 1684 h 67482"/>
                      <a:gd name="connsiteX10" fmla="*/ 22071 w 117514"/>
                      <a:gd name="connsiteY10" fmla="*/ 907 h 67482"/>
                      <a:gd name="connsiteX11" fmla="*/ 41407 w 117514"/>
                      <a:gd name="connsiteY11" fmla="*/ 17036 h 67482"/>
                      <a:gd name="connsiteX12" fmla="*/ 46362 w 117514"/>
                      <a:gd name="connsiteY12" fmla="*/ 30542 h 67482"/>
                      <a:gd name="connsiteX13" fmla="*/ 54427 w 117514"/>
                      <a:gd name="connsiteY13" fmla="*/ 41036 h 67482"/>
                      <a:gd name="connsiteX14" fmla="*/ 82410 w 117514"/>
                      <a:gd name="connsiteY14" fmla="*/ 39384 h 67482"/>
                      <a:gd name="connsiteX15" fmla="*/ 106118 w 117514"/>
                      <a:gd name="connsiteY15" fmla="*/ 47934 h 67482"/>
                      <a:gd name="connsiteX16" fmla="*/ 117389 w 117514"/>
                      <a:gd name="connsiteY16" fmla="*/ 67464 h 674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7514" h="67482">
                        <a:moveTo>
                          <a:pt x="117389" y="67464"/>
                        </a:moveTo>
                        <a:cubicBezTo>
                          <a:pt x="116514" y="67950"/>
                          <a:pt x="114765" y="58719"/>
                          <a:pt x="103980" y="50752"/>
                        </a:cubicBezTo>
                        <a:cubicBezTo>
                          <a:pt x="98733" y="46865"/>
                          <a:pt x="91155" y="43659"/>
                          <a:pt x="82604" y="44048"/>
                        </a:cubicBezTo>
                        <a:cubicBezTo>
                          <a:pt x="78426" y="44242"/>
                          <a:pt x="73859" y="45505"/>
                          <a:pt x="68904" y="46574"/>
                        </a:cubicBezTo>
                        <a:cubicBezTo>
                          <a:pt x="64046" y="47546"/>
                          <a:pt x="57925" y="48420"/>
                          <a:pt x="52192" y="45602"/>
                        </a:cubicBezTo>
                        <a:cubicBezTo>
                          <a:pt x="46460" y="42784"/>
                          <a:pt x="43545" y="37149"/>
                          <a:pt x="41796" y="32388"/>
                        </a:cubicBezTo>
                        <a:cubicBezTo>
                          <a:pt x="39949" y="27530"/>
                          <a:pt x="38881" y="22866"/>
                          <a:pt x="37132" y="18980"/>
                        </a:cubicBezTo>
                        <a:cubicBezTo>
                          <a:pt x="34022" y="11012"/>
                          <a:pt x="27221" y="6348"/>
                          <a:pt x="21100" y="4405"/>
                        </a:cubicBezTo>
                        <a:cubicBezTo>
                          <a:pt x="8274" y="421"/>
                          <a:pt x="210" y="6057"/>
                          <a:pt x="15" y="5085"/>
                        </a:cubicBezTo>
                        <a:cubicBezTo>
                          <a:pt x="-179" y="4891"/>
                          <a:pt x="1473" y="3239"/>
                          <a:pt x="5165" y="1684"/>
                        </a:cubicBezTo>
                        <a:cubicBezTo>
                          <a:pt x="8857" y="227"/>
                          <a:pt x="14881" y="-842"/>
                          <a:pt x="22071" y="907"/>
                        </a:cubicBezTo>
                        <a:cubicBezTo>
                          <a:pt x="29067" y="2559"/>
                          <a:pt x="37520" y="7806"/>
                          <a:pt x="41407" y="17036"/>
                        </a:cubicBezTo>
                        <a:cubicBezTo>
                          <a:pt x="43447" y="21409"/>
                          <a:pt x="44613" y="26170"/>
                          <a:pt x="46362" y="30542"/>
                        </a:cubicBezTo>
                        <a:cubicBezTo>
                          <a:pt x="48014" y="35011"/>
                          <a:pt x="50443" y="39092"/>
                          <a:pt x="54427" y="41036"/>
                        </a:cubicBezTo>
                        <a:cubicBezTo>
                          <a:pt x="62589" y="44922"/>
                          <a:pt x="72694" y="39384"/>
                          <a:pt x="82410" y="39384"/>
                        </a:cubicBezTo>
                        <a:cubicBezTo>
                          <a:pt x="92320" y="39189"/>
                          <a:pt x="100579" y="43368"/>
                          <a:pt x="106118" y="47934"/>
                        </a:cubicBezTo>
                        <a:cubicBezTo>
                          <a:pt x="117486" y="57553"/>
                          <a:pt x="117874" y="67755"/>
                          <a:pt x="117389" y="67464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60" name="Freeform: Shape 859">
                    <a:extLst>
                      <a:ext uri="{FF2B5EF4-FFF2-40B4-BE49-F238E27FC236}">
                        <a16:creationId xmlns:a16="http://schemas.microsoft.com/office/drawing/2014/main" id="{2914777B-8471-4694-9BBB-E8550B175322}"/>
                      </a:ext>
                    </a:extLst>
                  </p:cNvPr>
                  <p:cNvSpPr/>
                  <p:nvPr/>
                </p:nvSpPr>
                <p:spPr>
                  <a:xfrm>
                    <a:off x="2121254" y="4596806"/>
                    <a:ext cx="117514" cy="67482"/>
                  </a:xfrm>
                  <a:custGeom>
                    <a:avLst/>
                    <a:gdLst>
                      <a:gd name="connsiteX0" fmla="*/ 117389 w 117514"/>
                      <a:gd name="connsiteY0" fmla="*/ 67464 h 67482"/>
                      <a:gd name="connsiteX1" fmla="*/ 103980 w 117514"/>
                      <a:gd name="connsiteY1" fmla="*/ 50752 h 67482"/>
                      <a:gd name="connsiteX2" fmla="*/ 82604 w 117514"/>
                      <a:gd name="connsiteY2" fmla="*/ 44048 h 67482"/>
                      <a:gd name="connsiteX3" fmla="*/ 68904 w 117514"/>
                      <a:gd name="connsiteY3" fmla="*/ 46574 h 67482"/>
                      <a:gd name="connsiteX4" fmla="*/ 52192 w 117514"/>
                      <a:gd name="connsiteY4" fmla="*/ 45602 h 67482"/>
                      <a:gd name="connsiteX5" fmla="*/ 41796 w 117514"/>
                      <a:gd name="connsiteY5" fmla="*/ 32388 h 67482"/>
                      <a:gd name="connsiteX6" fmla="*/ 37132 w 117514"/>
                      <a:gd name="connsiteY6" fmla="*/ 18979 h 67482"/>
                      <a:gd name="connsiteX7" fmla="*/ 21100 w 117514"/>
                      <a:gd name="connsiteY7" fmla="*/ 4405 h 67482"/>
                      <a:gd name="connsiteX8" fmla="*/ 15 w 117514"/>
                      <a:gd name="connsiteY8" fmla="*/ 5085 h 67482"/>
                      <a:gd name="connsiteX9" fmla="*/ 5165 w 117514"/>
                      <a:gd name="connsiteY9" fmla="*/ 1684 h 67482"/>
                      <a:gd name="connsiteX10" fmla="*/ 22071 w 117514"/>
                      <a:gd name="connsiteY10" fmla="*/ 907 h 67482"/>
                      <a:gd name="connsiteX11" fmla="*/ 41407 w 117514"/>
                      <a:gd name="connsiteY11" fmla="*/ 17036 h 67482"/>
                      <a:gd name="connsiteX12" fmla="*/ 46362 w 117514"/>
                      <a:gd name="connsiteY12" fmla="*/ 30542 h 67482"/>
                      <a:gd name="connsiteX13" fmla="*/ 54427 w 117514"/>
                      <a:gd name="connsiteY13" fmla="*/ 41036 h 67482"/>
                      <a:gd name="connsiteX14" fmla="*/ 82410 w 117514"/>
                      <a:gd name="connsiteY14" fmla="*/ 39384 h 67482"/>
                      <a:gd name="connsiteX15" fmla="*/ 106118 w 117514"/>
                      <a:gd name="connsiteY15" fmla="*/ 47934 h 67482"/>
                      <a:gd name="connsiteX16" fmla="*/ 117389 w 117514"/>
                      <a:gd name="connsiteY16" fmla="*/ 67464 h 674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17514" h="67482">
                        <a:moveTo>
                          <a:pt x="117389" y="67464"/>
                        </a:moveTo>
                        <a:cubicBezTo>
                          <a:pt x="116514" y="67950"/>
                          <a:pt x="114765" y="58719"/>
                          <a:pt x="103980" y="50752"/>
                        </a:cubicBezTo>
                        <a:cubicBezTo>
                          <a:pt x="98733" y="46865"/>
                          <a:pt x="91155" y="43659"/>
                          <a:pt x="82604" y="44048"/>
                        </a:cubicBezTo>
                        <a:cubicBezTo>
                          <a:pt x="78426" y="44242"/>
                          <a:pt x="73860" y="45505"/>
                          <a:pt x="68904" y="46574"/>
                        </a:cubicBezTo>
                        <a:cubicBezTo>
                          <a:pt x="64046" y="47545"/>
                          <a:pt x="57925" y="48420"/>
                          <a:pt x="52192" y="45602"/>
                        </a:cubicBezTo>
                        <a:cubicBezTo>
                          <a:pt x="46459" y="42784"/>
                          <a:pt x="43544" y="37149"/>
                          <a:pt x="41796" y="32388"/>
                        </a:cubicBezTo>
                        <a:cubicBezTo>
                          <a:pt x="39949" y="27530"/>
                          <a:pt x="38881" y="22866"/>
                          <a:pt x="37132" y="18979"/>
                        </a:cubicBezTo>
                        <a:cubicBezTo>
                          <a:pt x="34022" y="11012"/>
                          <a:pt x="27221" y="6348"/>
                          <a:pt x="21100" y="4405"/>
                        </a:cubicBezTo>
                        <a:cubicBezTo>
                          <a:pt x="8274" y="421"/>
                          <a:pt x="210" y="6057"/>
                          <a:pt x="15" y="5085"/>
                        </a:cubicBezTo>
                        <a:cubicBezTo>
                          <a:pt x="-179" y="4891"/>
                          <a:pt x="1473" y="3239"/>
                          <a:pt x="5165" y="1684"/>
                        </a:cubicBezTo>
                        <a:cubicBezTo>
                          <a:pt x="8857" y="227"/>
                          <a:pt x="14881" y="-842"/>
                          <a:pt x="22071" y="907"/>
                        </a:cubicBezTo>
                        <a:cubicBezTo>
                          <a:pt x="29067" y="2559"/>
                          <a:pt x="37520" y="7806"/>
                          <a:pt x="41407" y="17036"/>
                        </a:cubicBezTo>
                        <a:cubicBezTo>
                          <a:pt x="43447" y="21408"/>
                          <a:pt x="44613" y="26170"/>
                          <a:pt x="46362" y="30542"/>
                        </a:cubicBezTo>
                        <a:cubicBezTo>
                          <a:pt x="48014" y="35011"/>
                          <a:pt x="50443" y="39092"/>
                          <a:pt x="54427" y="41036"/>
                        </a:cubicBezTo>
                        <a:cubicBezTo>
                          <a:pt x="62589" y="44922"/>
                          <a:pt x="72693" y="39384"/>
                          <a:pt x="82410" y="39384"/>
                        </a:cubicBezTo>
                        <a:cubicBezTo>
                          <a:pt x="92320" y="39189"/>
                          <a:pt x="100579" y="43367"/>
                          <a:pt x="106118" y="47934"/>
                        </a:cubicBezTo>
                        <a:cubicBezTo>
                          <a:pt x="117486" y="57553"/>
                          <a:pt x="117875" y="67756"/>
                          <a:pt x="117389" y="67464"/>
                        </a:cubicBezTo>
                        <a:close/>
                      </a:path>
                    </a:pathLst>
                  </a:custGeom>
                  <a:solidFill>
                    <a:srgbClr val="FAFAFA"/>
                  </a:solidFill>
                  <a:ln w="971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888" name="Slide Number Placeholder 3">
            <a:extLst>
              <a:ext uri="{FF2B5EF4-FFF2-40B4-BE49-F238E27FC236}">
                <a16:creationId xmlns:a16="http://schemas.microsoft.com/office/drawing/2014/main" id="{D534F3B4-BE4B-4B2C-83FC-B5EA98D83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7303" y="6368175"/>
            <a:ext cx="415472" cy="365125"/>
          </a:xfrm>
        </p:spPr>
        <p:txBody>
          <a:bodyPr/>
          <a:lstStyle/>
          <a:p>
            <a:fld id="{16DD451E-2FAD-41AD-BDC0-8D1DCE3571CD}" type="slidenum">
              <a:rPr lang="en-ID" smtClean="0"/>
              <a:t>6</a:t>
            </a:fld>
            <a:endParaRPr lang="en-ID" dirty="0"/>
          </a:p>
        </p:txBody>
      </p:sp>
      <p:grpSp>
        <p:nvGrpSpPr>
          <p:cNvPr id="927" name="Group 926">
            <a:extLst>
              <a:ext uri="{FF2B5EF4-FFF2-40B4-BE49-F238E27FC236}">
                <a16:creationId xmlns:a16="http://schemas.microsoft.com/office/drawing/2014/main" id="{F0089677-8751-4B34-9200-1A22295ADBB3}"/>
              </a:ext>
            </a:extLst>
          </p:cNvPr>
          <p:cNvGrpSpPr/>
          <p:nvPr/>
        </p:nvGrpSpPr>
        <p:grpSpPr>
          <a:xfrm>
            <a:off x="4321757" y="1431611"/>
            <a:ext cx="7590189" cy="6250260"/>
            <a:chOff x="6115852" y="1324030"/>
            <a:chExt cx="5330767" cy="4478494"/>
          </a:xfrm>
        </p:grpSpPr>
        <p:grpSp>
          <p:nvGrpSpPr>
            <p:cNvPr id="922" name="Group 921">
              <a:extLst>
                <a:ext uri="{FF2B5EF4-FFF2-40B4-BE49-F238E27FC236}">
                  <a16:creationId xmlns:a16="http://schemas.microsoft.com/office/drawing/2014/main" id="{93D3A4C9-A33F-4001-8E1D-4ACC78AC0B69}"/>
                </a:ext>
              </a:extLst>
            </p:cNvPr>
            <p:cNvGrpSpPr/>
            <p:nvPr/>
          </p:nvGrpSpPr>
          <p:grpSpPr>
            <a:xfrm>
              <a:off x="6115852" y="3021520"/>
              <a:ext cx="5330767" cy="1781950"/>
              <a:chOff x="6115852" y="2924230"/>
              <a:chExt cx="5330767" cy="1781950"/>
            </a:xfrm>
          </p:grpSpPr>
          <p:sp>
            <p:nvSpPr>
              <p:cNvPr id="872" name="Rectangle: Top Corners Rounded 871">
                <a:extLst>
                  <a:ext uri="{FF2B5EF4-FFF2-40B4-BE49-F238E27FC236}">
                    <a16:creationId xmlns:a16="http://schemas.microsoft.com/office/drawing/2014/main" id="{67841B90-0127-451A-BD68-379CB4C0DCB8}"/>
                  </a:ext>
                </a:extLst>
              </p:cNvPr>
              <p:cNvSpPr/>
              <p:nvPr/>
            </p:nvSpPr>
            <p:spPr>
              <a:xfrm>
                <a:off x="6115852" y="3106776"/>
                <a:ext cx="1164365" cy="1289543"/>
              </a:xfrm>
              <a:prstGeom prst="round2SameRect">
                <a:avLst>
                  <a:gd name="adj1" fmla="val 11886"/>
                  <a:gd name="adj2" fmla="val 11609"/>
                </a:avLst>
              </a:prstGeom>
              <a:solidFill>
                <a:srgbClr val="287192"/>
              </a:solidFill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/>
                <a:endParaRPr lang="en-US" sz="36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873" name="Group 872">
                <a:extLst>
                  <a:ext uri="{FF2B5EF4-FFF2-40B4-BE49-F238E27FC236}">
                    <a16:creationId xmlns:a16="http://schemas.microsoft.com/office/drawing/2014/main" id="{DB451EA3-6947-493C-B418-9D7F0349B97B}"/>
                  </a:ext>
                </a:extLst>
              </p:cNvPr>
              <p:cNvGrpSpPr/>
              <p:nvPr/>
            </p:nvGrpSpPr>
            <p:grpSpPr>
              <a:xfrm>
                <a:off x="6273788" y="2924230"/>
                <a:ext cx="187970" cy="407550"/>
                <a:chOff x="685892" y="1335315"/>
                <a:chExt cx="225425" cy="488759"/>
              </a:xfrm>
            </p:grpSpPr>
            <p:sp>
              <p:nvSpPr>
                <p:cNvPr id="874" name="Oval 873">
                  <a:extLst>
                    <a:ext uri="{FF2B5EF4-FFF2-40B4-BE49-F238E27FC236}">
                      <a16:creationId xmlns:a16="http://schemas.microsoft.com/office/drawing/2014/main" id="{8120AF2D-F4DE-4F4D-96B1-AEB2563EEB4D}"/>
                    </a:ext>
                  </a:extLst>
                </p:cNvPr>
                <p:cNvSpPr/>
                <p:nvPr/>
              </p:nvSpPr>
              <p:spPr>
                <a:xfrm>
                  <a:off x="685892" y="1598649"/>
                  <a:ext cx="225425" cy="22542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75" name="Rectangle: Rounded Corners 874">
                  <a:extLst>
                    <a:ext uri="{FF2B5EF4-FFF2-40B4-BE49-F238E27FC236}">
                      <a16:creationId xmlns:a16="http://schemas.microsoft.com/office/drawing/2014/main" id="{DA13154E-E57B-4717-B567-27378AEC107D}"/>
                    </a:ext>
                  </a:extLst>
                </p:cNvPr>
                <p:cNvSpPr/>
                <p:nvPr/>
              </p:nvSpPr>
              <p:spPr>
                <a:xfrm rot="5400000">
                  <a:off x="585672" y="1476661"/>
                  <a:ext cx="423965" cy="14127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95B7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 dirty="0"/>
                </a:p>
              </p:txBody>
            </p:sp>
          </p:grpSp>
          <p:grpSp>
            <p:nvGrpSpPr>
              <p:cNvPr id="876" name="Group 875">
                <a:extLst>
                  <a:ext uri="{FF2B5EF4-FFF2-40B4-BE49-F238E27FC236}">
                    <a16:creationId xmlns:a16="http://schemas.microsoft.com/office/drawing/2014/main" id="{2D26232B-78CA-494A-99DD-04DB7F1D04C8}"/>
                  </a:ext>
                </a:extLst>
              </p:cNvPr>
              <p:cNvGrpSpPr/>
              <p:nvPr/>
            </p:nvGrpSpPr>
            <p:grpSpPr>
              <a:xfrm>
                <a:off x="6934311" y="2924230"/>
                <a:ext cx="187970" cy="407552"/>
                <a:chOff x="1554649" y="1324391"/>
                <a:chExt cx="225425" cy="488761"/>
              </a:xfrm>
            </p:grpSpPr>
            <p:sp>
              <p:nvSpPr>
                <p:cNvPr id="877" name="Oval 876">
                  <a:extLst>
                    <a:ext uri="{FF2B5EF4-FFF2-40B4-BE49-F238E27FC236}">
                      <a16:creationId xmlns:a16="http://schemas.microsoft.com/office/drawing/2014/main" id="{842091FF-CDA4-4465-B793-B5977842311C}"/>
                    </a:ext>
                  </a:extLst>
                </p:cNvPr>
                <p:cNvSpPr/>
                <p:nvPr/>
              </p:nvSpPr>
              <p:spPr>
                <a:xfrm>
                  <a:off x="1554649" y="1587727"/>
                  <a:ext cx="225425" cy="22542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78" name="Rectangle: Rounded Corners 877">
                  <a:extLst>
                    <a:ext uri="{FF2B5EF4-FFF2-40B4-BE49-F238E27FC236}">
                      <a16:creationId xmlns:a16="http://schemas.microsoft.com/office/drawing/2014/main" id="{46052AD1-5880-4956-AD9C-6FC19BDA5B27}"/>
                    </a:ext>
                  </a:extLst>
                </p:cNvPr>
                <p:cNvSpPr/>
                <p:nvPr/>
              </p:nvSpPr>
              <p:spPr>
                <a:xfrm rot="5400000">
                  <a:off x="1460257" y="1465737"/>
                  <a:ext cx="423965" cy="14127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95B7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879" name="Text Placeholder 2">
                <a:extLst>
                  <a:ext uri="{FF2B5EF4-FFF2-40B4-BE49-F238E27FC236}">
                    <a16:creationId xmlns:a16="http://schemas.microsoft.com/office/drawing/2014/main" id="{8364F781-3332-46E5-9E4C-DF38167186F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72444" y="3022208"/>
                <a:ext cx="3974175" cy="168397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</a:pPr>
                <a:r>
                  <a:rPr lang="en-US" sz="1800" b="1" u="sng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chnical Aspects:</a:t>
                </a:r>
                <a:r>
                  <a:rPr lang="en-US" sz="1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develop, test, and evaluate all the functionalities of the website</a:t>
                </a: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endParaRPr lang="en-US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hand over a well-tested Moodle to the client. </a:t>
                </a: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endParaRPr lang="en-US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design an interactive element for Moodle, by using H5P and relevant technologies.</a:t>
                </a:r>
                <a:endParaRPr 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889" name="Group 888">
                <a:extLst>
                  <a:ext uri="{FF2B5EF4-FFF2-40B4-BE49-F238E27FC236}">
                    <a16:creationId xmlns:a16="http://schemas.microsoft.com/office/drawing/2014/main" id="{0AF0B5B5-D39F-4A6E-94A5-77DBC082D64C}"/>
                  </a:ext>
                </a:extLst>
              </p:cNvPr>
              <p:cNvGrpSpPr/>
              <p:nvPr/>
            </p:nvGrpSpPr>
            <p:grpSpPr>
              <a:xfrm>
                <a:off x="6520577" y="3495351"/>
                <a:ext cx="354915" cy="512393"/>
                <a:chOff x="8077200" y="5059363"/>
                <a:chExt cx="239713" cy="346075"/>
              </a:xfrm>
              <a:noFill/>
            </p:grpSpPr>
            <p:sp>
              <p:nvSpPr>
                <p:cNvPr id="890" name="Freeform 255">
                  <a:extLst>
                    <a:ext uri="{FF2B5EF4-FFF2-40B4-BE49-F238E27FC236}">
                      <a16:creationId xmlns:a16="http://schemas.microsoft.com/office/drawing/2014/main" id="{ED15C2BA-6FF6-4063-8030-CFEA11714B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7525" y="5307013"/>
                  <a:ext cx="120650" cy="98425"/>
                </a:xfrm>
                <a:custGeom>
                  <a:avLst/>
                  <a:gdLst>
                    <a:gd name="T0" fmla="*/ 76 w 76"/>
                    <a:gd name="T1" fmla="*/ 0 h 62"/>
                    <a:gd name="T2" fmla="*/ 76 w 76"/>
                    <a:gd name="T3" fmla="*/ 62 h 62"/>
                    <a:gd name="T4" fmla="*/ 38 w 76"/>
                    <a:gd name="T5" fmla="*/ 24 h 62"/>
                    <a:gd name="T6" fmla="*/ 0 w 76"/>
                    <a:gd name="T7" fmla="*/ 62 h 62"/>
                    <a:gd name="T8" fmla="*/ 0 w 76"/>
                    <a:gd name="T9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62">
                      <a:moveTo>
                        <a:pt x="76" y="0"/>
                      </a:moveTo>
                      <a:lnTo>
                        <a:pt x="76" y="62"/>
                      </a:lnTo>
                      <a:lnTo>
                        <a:pt x="38" y="24"/>
                      </a:lnTo>
                      <a:lnTo>
                        <a:pt x="0" y="6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91" name="Freeform 256">
                  <a:extLst>
                    <a:ext uri="{FF2B5EF4-FFF2-40B4-BE49-F238E27FC236}">
                      <a16:creationId xmlns:a16="http://schemas.microsoft.com/office/drawing/2014/main" id="{0469E5C8-E335-4B2C-8FC0-3105EF8B4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5463" y="5130800"/>
                  <a:ext cx="104775" cy="93663"/>
                </a:xfrm>
                <a:custGeom>
                  <a:avLst/>
                  <a:gdLst>
                    <a:gd name="T0" fmla="*/ 33 w 66"/>
                    <a:gd name="T1" fmla="*/ 0 h 59"/>
                    <a:gd name="T2" fmla="*/ 45 w 66"/>
                    <a:gd name="T3" fmla="*/ 21 h 59"/>
                    <a:gd name="T4" fmla="*/ 66 w 66"/>
                    <a:gd name="T5" fmla="*/ 21 h 59"/>
                    <a:gd name="T6" fmla="*/ 47 w 66"/>
                    <a:gd name="T7" fmla="*/ 35 h 59"/>
                    <a:gd name="T8" fmla="*/ 54 w 66"/>
                    <a:gd name="T9" fmla="*/ 59 h 59"/>
                    <a:gd name="T10" fmla="*/ 33 w 66"/>
                    <a:gd name="T11" fmla="*/ 45 h 59"/>
                    <a:gd name="T12" fmla="*/ 11 w 66"/>
                    <a:gd name="T13" fmla="*/ 59 h 59"/>
                    <a:gd name="T14" fmla="*/ 19 w 66"/>
                    <a:gd name="T15" fmla="*/ 35 h 59"/>
                    <a:gd name="T16" fmla="*/ 0 w 66"/>
                    <a:gd name="T17" fmla="*/ 21 h 59"/>
                    <a:gd name="T18" fmla="*/ 21 w 66"/>
                    <a:gd name="T19" fmla="*/ 21 h 59"/>
                    <a:gd name="T20" fmla="*/ 33 w 66"/>
                    <a:gd name="T21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6" h="59">
                      <a:moveTo>
                        <a:pt x="33" y="0"/>
                      </a:moveTo>
                      <a:lnTo>
                        <a:pt x="45" y="21"/>
                      </a:lnTo>
                      <a:lnTo>
                        <a:pt x="66" y="21"/>
                      </a:lnTo>
                      <a:lnTo>
                        <a:pt x="47" y="35"/>
                      </a:lnTo>
                      <a:lnTo>
                        <a:pt x="54" y="59"/>
                      </a:lnTo>
                      <a:lnTo>
                        <a:pt x="33" y="45"/>
                      </a:lnTo>
                      <a:lnTo>
                        <a:pt x="11" y="59"/>
                      </a:lnTo>
                      <a:lnTo>
                        <a:pt x="19" y="35"/>
                      </a:lnTo>
                      <a:lnTo>
                        <a:pt x="0" y="21"/>
                      </a:lnTo>
                      <a:lnTo>
                        <a:pt x="21" y="21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92" name="Oval 257">
                  <a:extLst>
                    <a:ext uri="{FF2B5EF4-FFF2-40B4-BE49-F238E27FC236}">
                      <a16:creationId xmlns:a16="http://schemas.microsoft.com/office/drawing/2014/main" id="{DDCFE062-98FB-437F-AA7A-B2BD9230F6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77200" y="5059363"/>
                  <a:ext cx="239713" cy="239713"/>
                </a:xfrm>
                <a:prstGeom prst="ellipse">
                  <a:avLst/>
                </a:prstGeom>
                <a:grp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93" name="Oval 258">
                  <a:extLst>
                    <a:ext uri="{FF2B5EF4-FFF2-40B4-BE49-F238E27FC236}">
                      <a16:creationId xmlns:a16="http://schemas.microsoft.com/office/drawing/2014/main" id="{3FF921B4-7420-4670-B55A-C797F65EF8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15300" y="5097463"/>
                  <a:ext cx="165100" cy="165100"/>
                </a:xfrm>
                <a:prstGeom prst="ellipse">
                  <a:avLst/>
                </a:prstGeom>
                <a:grp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921" name="Group 920">
              <a:extLst>
                <a:ext uri="{FF2B5EF4-FFF2-40B4-BE49-F238E27FC236}">
                  <a16:creationId xmlns:a16="http://schemas.microsoft.com/office/drawing/2014/main" id="{E73964C9-6898-4095-B643-6183FD6893A9}"/>
                </a:ext>
              </a:extLst>
            </p:cNvPr>
            <p:cNvGrpSpPr/>
            <p:nvPr/>
          </p:nvGrpSpPr>
          <p:grpSpPr>
            <a:xfrm>
              <a:off x="6273788" y="4938589"/>
              <a:ext cx="848493" cy="863935"/>
              <a:chOff x="6273788" y="4792135"/>
              <a:chExt cx="848493" cy="863935"/>
            </a:xfrm>
          </p:grpSpPr>
          <p:sp>
            <p:nvSpPr>
              <p:cNvPr id="882" name="Oval 881">
                <a:extLst>
                  <a:ext uri="{FF2B5EF4-FFF2-40B4-BE49-F238E27FC236}">
                    <a16:creationId xmlns:a16="http://schemas.microsoft.com/office/drawing/2014/main" id="{E839B076-FAD2-463D-9E0E-3009980FFFF0}"/>
                  </a:ext>
                </a:extLst>
              </p:cNvPr>
              <p:cNvSpPr/>
              <p:nvPr/>
            </p:nvSpPr>
            <p:spPr>
              <a:xfrm>
                <a:off x="6273788" y="4792135"/>
                <a:ext cx="187970" cy="1879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885" name="Oval 884">
                <a:extLst>
                  <a:ext uri="{FF2B5EF4-FFF2-40B4-BE49-F238E27FC236}">
                    <a16:creationId xmlns:a16="http://schemas.microsoft.com/office/drawing/2014/main" id="{D24C7DFF-6D34-48D6-8CA5-2C1F5D0C5A1F}"/>
                  </a:ext>
                </a:extLst>
              </p:cNvPr>
              <p:cNvSpPr/>
              <p:nvPr/>
            </p:nvSpPr>
            <p:spPr>
              <a:xfrm>
                <a:off x="6934311" y="4792136"/>
                <a:ext cx="187970" cy="1879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grpSp>
            <p:nvGrpSpPr>
              <p:cNvPr id="894" name="Group 893">
                <a:extLst>
                  <a:ext uri="{FF2B5EF4-FFF2-40B4-BE49-F238E27FC236}">
                    <a16:creationId xmlns:a16="http://schemas.microsoft.com/office/drawing/2014/main" id="{1C9CB874-8531-4306-9630-74D514B473B9}"/>
                  </a:ext>
                </a:extLst>
              </p:cNvPr>
              <p:cNvGrpSpPr/>
              <p:nvPr/>
            </p:nvGrpSpPr>
            <p:grpSpPr>
              <a:xfrm>
                <a:off x="6441838" y="5143676"/>
                <a:ext cx="512392" cy="512394"/>
                <a:chOff x="5562601" y="1811338"/>
                <a:chExt cx="346075" cy="346076"/>
              </a:xfrm>
              <a:noFill/>
            </p:grpSpPr>
            <p:sp>
              <p:nvSpPr>
                <p:cNvPr id="897" name="Freeform 20">
                  <a:extLst>
                    <a:ext uri="{FF2B5EF4-FFF2-40B4-BE49-F238E27FC236}">
                      <a16:creationId xmlns:a16="http://schemas.microsoft.com/office/drawing/2014/main" id="{ED72423E-3CB4-4EC8-B7D6-A960D4276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2476" y="1833563"/>
                  <a:ext cx="76200" cy="68263"/>
                </a:xfrm>
                <a:custGeom>
                  <a:avLst/>
                  <a:gdLst>
                    <a:gd name="T0" fmla="*/ 20 w 20"/>
                    <a:gd name="T1" fmla="*/ 0 h 18"/>
                    <a:gd name="T2" fmla="*/ 20 w 20"/>
                    <a:gd name="T3" fmla="*/ 12 h 18"/>
                    <a:gd name="T4" fmla="*/ 10 w 20"/>
                    <a:gd name="T5" fmla="*/ 18 h 18"/>
                    <a:gd name="T6" fmla="*/ 0 w 20"/>
                    <a:gd name="T7" fmla="*/ 12 h 18"/>
                    <a:gd name="T8" fmla="*/ 0 w 20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8">
                      <a:moveTo>
                        <a:pt x="20" y="0"/>
                      </a:move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5"/>
                        <a:pt x="16" y="18"/>
                        <a:pt x="10" y="18"/>
                      </a:cubicBezTo>
                      <a:cubicBezTo>
                        <a:pt x="4" y="18"/>
                        <a:pt x="0" y="15"/>
                        <a:pt x="0" y="12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98" name="Oval 21">
                  <a:extLst>
                    <a:ext uri="{FF2B5EF4-FFF2-40B4-BE49-F238E27FC236}">
                      <a16:creationId xmlns:a16="http://schemas.microsoft.com/office/drawing/2014/main" id="{9710D3CA-6E10-41D5-B05C-B41490192D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62601" y="1811338"/>
                  <a:ext cx="74613" cy="44450"/>
                </a:xfrm>
                <a:prstGeom prst="ellips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99" name="Freeform 22">
                  <a:extLst>
                    <a:ext uri="{FF2B5EF4-FFF2-40B4-BE49-F238E27FC236}">
                      <a16:creationId xmlns:a16="http://schemas.microsoft.com/office/drawing/2014/main" id="{8D8024F2-4645-48C9-B572-4474F3516E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2601" y="1833563"/>
                  <a:ext cx="74613" cy="68263"/>
                </a:xfrm>
                <a:custGeom>
                  <a:avLst/>
                  <a:gdLst>
                    <a:gd name="T0" fmla="*/ 20 w 20"/>
                    <a:gd name="T1" fmla="*/ 0 h 18"/>
                    <a:gd name="T2" fmla="*/ 20 w 20"/>
                    <a:gd name="T3" fmla="*/ 12 h 18"/>
                    <a:gd name="T4" fmla="*/ 10 w 20"/>
                    <a:gd name="T5" fmla="*/ 18 h 18"/>
                    <a:gd name="T6" fmla="*/ 0 w 20"/>
                    <a:gd name="T7" fmla="*/ 12 h 18"/>
                    <a:gd name="T8" fmla="*/ 0 w 20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8">
                      <a:moveTo>
                        <a:pt x="20" y="0"/>
                      </a:move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5"/>
                        <a:pt x="16" y="18"/>
                        <a:pt x="10" y="18"/>
                      </a:cubicBezTo>
                      <a:cubicBezTo>
                        <a:pt x="4" y="18"/>
                        <a:pt x="0" y="15"/>
                        <a:pt x="0" y="12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dirty="0"/>
                </a:p>
              </p:txBody>
            </p:sp>
            <p:sp>
              <p:nvSpPr>
                <p:cNvPr id="900" name="Oval 23">
                  <a:extLst>
                    <a:ext uri="{FF2B5EF4-FFF2-40B4-BE49-F238E27FC236}">
                      <a16:creationId xmlns:a16="http://schemas.microsoft.com/office/drawing/2014/main" id="{7728636C-5D6B-4102-98EF-42F92F9497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32476" y="2066926"/>
                  <a:ext cx="76200" cy="44450"/>
                </a:xfrm>
                <a:prstGeom prst="ellips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1" name="Freeform 24">
                  <a:extLst>
                    <a:ext uri="{FF2B5EF4-FFF2-40B4-BE49-F238E27FC236}">
                      <a16:creationId xmlns:a16="http://schemas.microsoft.com/office/drawing/2014/main" id="{3DE8226A-6820-46A2-A466-5B88A47701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2476" y="2089151"/>
                  <a:ext cx="76200" cy="68263"/>
                </a:xfrm>
                <a:custGeom>
                  <a:avLst/>
                  <a:gdLst>
                    <a:gd name="T0" fmla="*/ 20 w 20"/>
                    <a:gd name="T1" fmla="*/ 0 h 18"/>
                    <a:gd name="T2" fmla="*/ 20 w 20"/>
                    <a:gd name="T3" fmla="*/ 12 h 18"/>
                    <a:gd name="T4" fmla="*/ 10 w 20"/>
                    <a:gd name="T5" fmla="*/ 18 h 18"/>
                    <a:gd name="T6" fmla="*/ 0 w 20"/>
                    <a:gd name="T7" fmla="*/ 12 h 18"/>
                    <a:gd name="T8" fmla="*/ 0 w 20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8">
                      <a:moveTo>
                        <a:pt x="20" y="0"/>
                      </a:move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5"/>
                        <a:pt x="16" y="18"/>
                        <a:pt x="10" y="18"/>
                      </a:cubicBezTo>
                      <a:cubicBezTo>
                        <a:pt x="4" y="18"/>
                        <a:pt x="0" y="15"/>
                        <a:pt x="0" y="12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2" name="Oval 25">
                  <a:extLst>
                    <a:ext uri="{FF2B5EF4-FFF2-40B4-BE49-F238E27FC236}">
                      <a16:creationId xmlns:a16="http://schemas.microsoft.com/office/drawing/2014/main" id="{3EE29914-FAAE-42D8-9F4D-11702C4210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62601" y="2066926"/>
                  <a:ext cx="74613" cy="44450"/>
                </a:xfrm>
                <a:prstGeom prst="ellips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3" name="Freeform 26">
                  <a:extLst>
                    <a:ext uri="{FF2B5EF4-FFF2-40B4-BE49-F238E27FC236}">
                      <a16:creationId xmlns:a16="http://schemas.microsoft.com/office/drawing/2014/main" id="{01D2D519-7F73-4FA5-B24B-F0588C52B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2601" y="2089151"/>
                  <a:ext cx="74613" cy="68263"/>
                </a:xfrm>
                <a:custGeom>
                  <a:avLst/>
                  <a:gdLst>
                    <a:gd name="T0" fmla="*/ 20 w 20"/>
                    <a:gd name="T1" fmla="*/ 0 h 18"/>
                    <a:gd name="T2" fmla="*/ 20 w 20"/>
                    <a:gd name="T3" fmla="*/ 12 h 18"/>
                    <a:gd name="T4" fmla="*/ 10 w 20"/>
                    <a:gd name="T5" fmla="*/ 18 h 18"/>
                    <a:gd name="T6" fmla="*/ 0 w 20"/>
                    <a:gd name="T7" fmla="*/ 12 h 18"/>
                    <a:gd name="T8" fmla="*/ 0 w 20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8">
                      <a:moveTo>
                        <a:pt x="20" y="0"/>
                      </a:move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5"/>
                        <a:pt x="16" y="18"/>
                        <a:pt x="10" y="18"/>
                      </a:cubicBezTo>
                      <a:cubicBezTo>
                        <a:pt x="4" y="18"/>
                        <a:pt x="0" y="15"/>
                        <a:pt x="0" y="12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4" name="Freeform 27">
                  <a:extLst>
                    <a:ext uri="{FF2B5EF4-FFF2-40B4-BE49-F238E27FC236}">
                      <a16:creationId xmlns:a16="http://schemas.microsoft.com/office/drawing/2014/main" id="{2D894B32-5D31-4E8B-B228-994E52598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3088" y="1984376"/>
                  <a:ext cx="165100" cy="38100"/>
                </a:xfrm>
                <a:custGeom>
                  <a:avLst/>
                  <a:gdLst>
                    <a:gd name="T0" fmla="*/ 44 w 44"/>
                    <a:gd name="T1" fmla="*/ 0 h 10"/>
                    <a:gd name="T2" fmla="*/ 22 w 44"/>
                    <a:gd name="T3" fmla="*/ 10 h 10"/>
                    <a:gd name="T4" fmla="*/ 0 w 44"/>
                    <a:gd name="T5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4" h="10">
                      <a:moveTo>
                        <a:pt x="44" y="0"/>
                      </a:moveTo>
                      <a:cubicBezTo>
                        <a:pt x="44" y="6"/>
                        <a:pt x="34" y="10"/>
                        <a:pt x="22" y="10"/>
                      </a:cubicBezTo>
                      <a:cubicBezTo>
                        <a:pt x="10" y="10"/>
                        <a:pt x="0" y="6"/>
                        <a:pt x="0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5" name="Freeform 28">
                  <a:extLst>
                    <a:ext uri="{FF2B5EF4-FFF2-40B4-BE49-F238E27FC236}">
                      <a16:creationId xmlns:a16="http://schemas.microsoft.com/office/drawing/2014/main" id="{046F17FC-AC49-4A3C-8899-B865515EC4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3088" y="1924051"/>
                  <a:ext cx="165100" cy="157163"/>
                </a:xfrm>
                <a:custGeom>
                  <a:avLst/>
                  <a:gdLst>
                    <a:gd name="T0" fmla="*/ 0 w 44"/>
                    <a:gd name="T1" fmla="*/ 0 h 42"/>
                    <a:gd name="T2" fmla="*/ 0 w 44"/>
                    <a:gd name="T3" fmla="*/ 32 h 42"/>
                    <a:gd name="T4" fmla="*/ 22 w 44"/>
                    <a:gd name="T5" fmla="*/ 42 h 42"/>
                    <a:gd name="T6" fmla="*/ 44 w 44"/>
                    <a:gd name="T7" fmla="*/ 32 h 42"/>
                    <a:gd name="T8" fmla="*/ 44 w 44"/>
                    <a:gd name="T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2">
                      <a:moveTo>
                        <a:pt x="0" y="0"/>
                      </a:move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8"/>
                        <a:pt x="10" y="42"/>
                        <a:pt x="22" y="42"/>
                      </a:cubicBezTo>
                      <a:cubicBezTo>
                        <a:pt x="34" y="42"/>
                        <a:pt x="44" y="38"/>
                        <a:pt x="44" y="32"/>
                      </a:cubicBezTo>
                      <a:cubicBezTo>
                        <a:pt x="44" y="0"/>
                        <a:pt x="44" y="0"/>
                        <a:pt x="44" y="0"/>
                      </a:cubicBezTo>
                    </a:path>
                  </a:pathLst>
                </a:cu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7" name="Line 30">
                  <a:extLst>
                    <a:ext uri="{FF2B5EF4-FFF2-40B4-BE49-F238E27FC236}">
                      <a16:creationId xmlns:a16="http://schemas.microsoft.com/office/drawing/2014/main" id="{9D9EBF94-F556-40A9-A30D-D698A1C5F9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600701" y="2014538"/>
                  <a:ext cx="52388" cy="52388"/>
                </a:xfrm>
                <a:prstGeom prst="lin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8" name="Line 31">
                  <a:extLst>
                    <a:ext uri="{FF2B5EF4-FFF2-40B4-BE49-F238E27FC236}">
                      <a16:creationId xmlns:a16="http://schemas.microsoft.com/office/drawing/2014/main" id="{384DCE44-C4F2-4CCC-8A75-A9C602A74D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818188" y="1901826"/>
                  <a:ext cx="52388" cy="52388"/>
                </a:xfrm>
                <a:prstGeom prst="lin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9" name="Line 32">
                  <a:extLst>
                    <a:ext uri="{FF2B5EF4-FFF2-40B4-BE49-F238E27FC236}">
                      <a16:creationId xmlns:a16="http://schemas.microsoft.com/office/drawing/2014/main" id="{F2116AA4-12ED-401B-87FB-E2F7F67D02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818188" y="2014538"/>
                  <a:ext cx="52388" cy="52388"/>
                </a:xfrm>
                <a:prstGeom prst="line">
                  <a:avLst/>
                </a:prstGeom>
                <a:grp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923" name="Group 922">
              <a:extLst>
                <a:ext uri="{FF2B5EF4-FFF2-40B4-BE49-F238E27FC236}">
                  <a16:creationId xmlns:a16="http://schemas.microsoft.com/office/drawing/2014/main" id="{F4AD3D9B-AAEC-4DB2-AEFB-1B4467781BC7}"/>
                </a:ext>
              </a:extLst>
            </p:cNvPr>
            <p:cNvGrpSpPr/>
            <p:nvPr/>
          </p:nvGrpSpPr>
          <p:grpSpPr>
            <a:xfrm>
              <a:off x="6115852" y="1324030"/>
              <a:ext cx="5330367" cy="1539317"/>
              <a:chOff x="6115852" y="1324030"/>
              <a:chExt cx="5330367" cy="1539317"/>
            </a:xfrm>
          </p:grpSpPr>
          <p:sp>
            <p:nvSpPr>
              <p:cNvPr id="864" name="Rectangle: Top Corners Rounded 863">
                <a:extLst>
                  <a:ext uri="{FF2B5EF4-FFF2-40B4-BE49-F238E27FC236}">
                    <a16:creationId xmlns:a16="http://schemas.microsoft.com/office/drawing/2014/main" id="{374E3CB3-6FE7-4470-A0D8-87D9B6CBA4BF}"/>
                  </a:ext>
                </a:extLst>
              </p:cNvPr>
              <p:cNvSpPr/>
              <p:nvPr/>
            </p:nvSpPr>
            <p:spPr>
              <a:xfrm>
                <a:off x="6115852" y="1506576"/>
                <a:ext cx="1164365" cy="1289543"/>
              </a:xfrm>
              <a:prstGeom prst="round2SameRect">
                <a:avLst>
                  <a:gd name="adj1" fmla="val 11886"/>
                  <a:gd name="adj2" fmla="val 11609"/>
                </a:avLst>
              </a:prstGeom>
              <a:solidFill>
                <a:srgbClr val="287192"/>
              </a:solidFill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/>
                <a:endParaRPr lang="en-US" sz="36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865" name="Group 864">
                <a:extLst>
                  <a:ext uri="{FF2B5EF4-FFF2-40B4-BE49-F238E27FC236}">
                    <a16:creationId xmlns:a16="http://schemas.microsoft.com/office/drawing/2014/main" id="{8D628AE2-8085-4415-8EFF-86846123CD5D}"/>
                  </a:ext>
                </a:extLst>
              </p:cNvPr>
              <p:cNvGrpSpPr/>
              <p:nvPr/>
            </p:nvGrpSpPr>
            <p:grpSpPr>
              <a:xfrm>
                <a:off x="6273788" y="1324030"/>
                <a:ext cx="187970" cy="407551"/>
                <a:chOff x="685892" y="1335314"/>
                <a:chExt cx="225425" cy="488760"/>
              </a:xfrm>
            </p:grpSpPr>
            <p:sp>
              <p:nvSpPr>
                <p:cNvPr id="869" name="Oval 868">
                  <a:extLst>
                    <a:ext uri="{FF2B5EF4-FFF2-40B4-BE49-F238E27FC236}">
                      <a16:creationId xmlns:a16="http://schemas.microsoft.com/office/drawing/2014/main" id="{D6C4D22A-B09F-4B31-BE68-E067476ACF8B}"/>
                    </a:ext>
                  </a:extLst>
                </p:cNvPr>
                <p:cNvSpPr/>
                <p:nvPr/>
              </p:nvSpPr>
              <p:spPr>
                <a:xfrm>
                  <a:off x="685892" y="1598649"/>
                  <a:ext cx="225425" cy="22542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70" name="Rectangle: Rounded Corners 869">
                  <a:extLst>
                    <a:ext uri="{FF2B5EF4-FFF2-40B4-BE49-F238E27FC236}">
                      <a16:creationId xmlns:a16="http://schemas.microsoft.com/office/drawing/2014/main" id="{1B0BBFCD-6EA3-4E94-95BE-74D7091000C1}"/>
                    </a:ext>
                  </a:extLst>
                </p:cNvPr>
                <p:cNvSpPr/>
                <p:nvPr/>
              </p:nvSpPr>
              <p:spPr>
                <a:xfrm rot="5400000">
                  <a:off x="585672" y="1476660"/>
                  <a:ext cx="423965" cy="14127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95B7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866" name="Group 865">
                <a:extLst>
                  <a:ext uri="{FF2B5EF4-FFF2-40B4-BE49-F238E27FC236}">
                    <a16:creationId xmlns:a16="http://schemas.microsoft.com/office/drawing/2014/main" id="{4797B2E0-19A0-40B9-BA3F-C2ADB421A675}"/>
                  </a:ext>
                </a:extLst>
              </p:cNvPr>
              <p:cNvGrpSpPr/>
              <p:nvPr/>
            </p:nvGrpSpPr>
            <p:grpSpPr>
              <a:xfrm>
                <a:off x="6934311" y="1324030"/>
                <a:ext cx="187970" cy="407551"/>
                <a:chOff x="1554649" y="1324392"/>
                <a:chExt cx="225425" cy="488760"/>
              </a:xfrm>
            </p:grpSpPr>
            <p:sp>
              <p:nvSpPr>
                <p:cNvPr id="867" name="Oval 866">
                  <a:extLst>
                    <a:ext uri="{FF2B5EF4-FFF2-40B4-BE49-F238E27FC236}">
                      <a16:creationId xmlns:a16="http://schemas.microsoft.com/office/drawing/2014/main" id="{68A01317-D7DB-4949-A6EF-8AC145C10F35}"/>
                    </a:ext>
                  </a:extLst>
                </p:cNvPr>
                <p:cNvSpPr/>
                <p:nvPr/>
              </p:nvSpPr>
              <p:spPr>
                <a:xfrm>
                  <a:off x="1554649" y="1587727"/>
                  <a:ext cx="225425" cy="22542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68" name="Rectangle: Rounded Corners 867">
                  <a:extLst>
                    <a:ext uri="{FF2B5EF4-FFF2-40B4-BE49-F238E27FC236}">
                      <a16:creationId xmlns:a16="http://schemas.microsoft.com/office/drawing/2014/main" id="{A022933C-0C52-476E-B3FF-2083834D6095}"/>
                    </a:ext>
                  </a:extLst>
                </p:cNvPr>
                <p:cNvSpPr/>
                <p:nvPr/>
              </p:nvSpPr>
              <p:spPr>
                <a:xfrm rot="5400000">
                  <a:off x="1460257" y="1465738"/>
                  <a:ext cx="423965" cy="14127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95B7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871" name="Text Placeholder 2">
                <a:extLst>
                  <a:ext uri="{FF2B5EF4-FFF2-40B4-BE49-F238E27FC236}">
                    <a16:creationId xmlns:a16="http://schemas.microsoft.com/office/drawing/2014/main" id="{6B691AE3-ACEB-4312-B11A-0313D426BFE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72044" y="1366830"/>
                <a:ext cx="3974175" cy="149651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34000" indent="-23400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</a:pPr>
                <a:r>
                  <a:rPr lang="en-US" sz="1800" b="1" u="sng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ain Specific:</a:t>
                </a:r>
                <a:r>
                  <a:rPr lang="en-US" sz="1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aim is to identify the improvement areas of current website by examining all the attributes.</a:t>
                </a:r>
              </a:p>
              <a:p>
                <a:pPr marL="171450" indent="-1714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endParaRPr lang="en-US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750" indent="-285750" algn="just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v"/>
                </a:pP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urnishing the clients with relevant recommendations to enhance the student engagement.</a:t>
                </a:r>
                <a:endPara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910" name="Group 909">
                <a:extLst>
                  <a:ext uri="{FF2B5EF4-FFF2-40B4-BE49-F238E27FC236}">
                    <a16:creationId xmlns:a16="http://schemas.microsoft.com/office/drawing/2014/main" id="{6121C69A-704E-4472-B433-04956AEF2421}"/>
                  </a:ext>
                </a:extLst>
              </p:cNvPr>
              <p:cNvGrpSpPr/>
              <p:nvPr/>
            </p:nvGrpSpPr>
            <p:grpSpPr>
              <a:xfrm>
                <a:off x="6436339" y="1882449"/>
                <a:ext cx="523391" cy="537796"/>
                <a:chOff x="7027863" y="3251201"/>
                <a:chExt cx="346075" cy="355600"/>
              </a:xfrm>
              <a:noFill/>
            </p:grpSpPr>
            <p:sp>
              <p:nvSpPr>
                <p:cNvPr id="911" name="Rectangle 910">
                  <a:extLst>
                    <a:ext uri="{FF2B5EF4-FFF2-40B4-BE49-F238E27FC236}">
                      <a16:creationId xmlns:a16="http://schemas.microsoft.com/office/drawing/2014/main" id="{B4A6AEC1-A03A-4CE3-85B4-C1320B99C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27863" y="3467101"/>
                  <a:ext cx="134938" cy="139700"/>
                </a:xfrm>
                <a:prstGeom prst="rect">
                  <a:avLst/>
                </a:prstGeom>
                <a:grp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2" name="Rectangle 911">
                  <a:extLst>
                    <a:ext uri="{FF2B5EF4-FFF2-40B4-BE49-F238E27FC236}">
                      <a16:creationId xmlns:a16="http://schemas.microsoft.com/office/drawing/2014/main" id="{710363EA-4175-42FF-A718-4C9471618A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37413" y="3467101"/>
                  <a:ext cx="136525" cy="139700"/>
                </a:xfrm>
                <a:prstGeom prst="rect">
                  <a:avLst/>
                </a:prstGeom>
                <a:grp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3" name="Rectangle 912">
                  <a:extLst>
                    <a:ext uri="{FF2B5EF4-FFF2-40B4-BE49-F238E27FC236}">
                      <a16:creationId xmlns:a16="http://schemas.microsoft.com/office/drawing/2014/main" id="{E148456D-F4BC-413F-B552-703C34D4C9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8513" y="3251201"/>
                  <a:ext cx="134938" cy="139700"/>
                </a:xfrm>
                <a:prstGeom prst="rect">
                  <a:avLst/>
                </a:prstGeom>
                <a:grpFill/>
                <a:ln w="15875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4" name="Freeform 43">
                  <a:extLst>
                    <a:ext uri="{FF2B5EF4-FFF2-40B4-BE49-F238E27FC236}">
                      <a16:creationId xmlns:a16="http://schemas.microsoft.com/office/drawing/2014/main" id="{3756C337-4A9F-47AD-84A2-F808294421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2313" y="3421063"/>
                  <a:ext cx="255588" cy="46038"/>
                </a:xfrm>
                <a:custGeom>
                  <a:avLst/>
                  <a:gdLst>
                    <a:gd name="T0" fmla="*/ 161 w 161"/>
                    <a:gd name="T1" fmla="*/ 29 h 29"/>
                    <a:gd name="T2" fmla="*/ 161 w 161"/>
                    <a:gd name="T3" fmla="*/ 0 h 29"/>
                    <a:gd name="T4" fmla="*/ 0 w 161"/>
                    <a:gd name="T5" fmla="*/ 0 h 29"/>
                    <a:gd name="T6" fmla="*/ 0 w 161"/>
                    <a:gd name="T7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1" h="29">
                      <a:moveTo>
                        <a:pt x="161" y="29"/>
                      </a:moveTo>
                      <a:lnTo>
                        <a:pt x="161" y="0"/>
                      </a:lnTo>
                      <a:lnTo>
                        <a:pt x="0" y="0"/>
                      </a:lnTo>
                      <a:lnTo>
                        <a:pt x="0" y="29"/>
                      </a:lnTo>
                    </a:path>
                  </a:pathLst>
                </a:cu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5" name="Line 44">
                  <a:extLst>
                    <a:ext uri="{FF2B5EF4-FFF2-40B4-BE49-F238E27FC236}">
                      <a16:creationId xmlns:a16="http://schemas.microsoft.com/office/drawing/2014/main" id="{A74E42B5-70C1-4AC7-81AA-820949BF02E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223125" y="3390901"/>
                  <a:ext cx="0" cy="30163"/>
                </a:xfrm>
                <a:prstGeom prst="lin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6" name="Line 45">
                  <a:extLst>
                    <a:ext uri="{FF2B5EF4-FFF2-40B4-BE49-F238E27FC236}">
                      <a16:creationId xmlns:a16="http://schemas.microsoft.com/office/drawing/2014/main" id="{3C7D761F-F8F0-489A-A7B8-8BAACC3017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178675" y="3281363"/>
                  <a:ext cx="74613" cy="0"/>
                </a:xfrm>
                <a:prstGeom prst="lin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 dirty="0"/>
                </a:p>
              </p:txBody>
            </p:sp>
            <p:sp>
              <p:nvSpPr>
                <p:cNvPr id="917" name="Line 46">
                  <a:extLst>
                    <a:ext uri="{FF2B5EF4-FFF2-40B4-BE49-F238E27FC236}">
                      <a16:creationId xmlns:a16="http://schemas.microsoft.com/office/drawing/2014/main" id="{926C795B-6B99-4C42-AB8E-057B880964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267575" y="3498851"/>
                  <a:ext cx="76200" cy="0"/>
                </a:xfrm>
                <a:prstGeom prst="lin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8" name="Line 47">
                  <a:extLst>
                    <a:ext uri="{FF2B5EF4-FFF2-40B4-BE49-F238E27FC236}">
                      <a16:creationId xmlns:a16="http://schemas.microsoft.com/office/drawing/2014/main" id="{EB6AA1C2-8133-475F-A78B-038982E6983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058025" y="3498851"/>
                  <a:ext cx="74613" cy="0"/>
                </a:xfrm>
                <a:prstGeom prst="line">
                  <a:avLst/>
                </a:prstGeom>
                <a:grpFill/>
                <a:ln w="158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2895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454223" y="2743238"/>
            <a:ext cx="4016332" cy="21940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algn="just">
              <a:lnSpc>
                <a:spcPct val="115000"/>
              </a:lnSpc>
              <a:spcAft>
                <a:spcPts val="1000"/>
              </a:spcAft>
            </a:pPr>
            <a:r>
              <a:rPr lang="en-AU" sz="1800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IN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v"/>
            </a:pPr>
            <a:r>
              <a:rPr lang="en-AU" sz="2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given image </a:t>
            </a:r>
            <a:r>
              <a:rPr lang="en-AU" sz="2000" dirty="0">
                <a:solidFill>
                  <a:schemeClr val="bg2">
                    <a:lumMod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monstrates, that all the five group members of the project have created a project repository on the GitHub.</a:t>
            </a:r>
            <a:endParaRPr lang="en-IN" sz="2000" dirty="0">
              <a:solidFill>
                <a:schemeClr val="bg2">
                  <a:lumMod val="1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21D4AFE-AB23-D1CE-507F-06535EFC0B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647" y="2559547"/>
            <a:ext cx="6532130" cy="3617733"/>
          </a:xfrm>
          <a:prstGeom prst="rect">
            <a:avLst/>
          </a:prstGeom>
          <a:ln w="28575">
            <a:solidFill>
              <a:schemeClr val="bg2">
                <a:lumMod val="10000"/>
              </a:schemeClr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DF719D3-7DDB-F247-6FC3-CDE1025CD8A7}"/>
              </a:ext>
            </a:extLst>
          </p:cNvPr>
          <p:cNvSpPr/>
          <p:nvPr/>
        </p:nvSpPr>
        <p:spPr>
          <a:xfrm>
            <a:off x="0" y="40298"/>
            <a:ext cx="12192000" cy="2111433"/>
          </a:xfrm>
          <a:prstGeom prst="round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2" name="Rectangle: Top Corners Rounded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2283247" y="291521"/>
            <a:ext cx="7305368" cy="1298981"/>
          </a:xfrm>
          <a:prstGeom prst="round2Same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Standards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e and Document management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5FFDFE-4131-24EA-9805-E9DD75552243}"/>
              </a:ext>
            </a:extLst>
          </p:cNvPr>
          <p:cNvSpPr txBox="1"/>
          <p:nvPr/>
        </p:nvSpPr>
        <p:spPr>
          <a:xfrm>
            <a:off x="18921" y="6328893"/>
            <a:ext cx="11182100" cy="496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333754" y="2560104"/>
            <a:ext cx="4340798" cy="26445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algn="just">
              <a:lnSpc>
                <a:spcPct val="115000"/>
              </a:lnSpc>
              <a:spcAft>
                <a:spcPts val="1000"/>
              </a:spcAft>
            </a:pPr>
            <a:r>
              <a:rPr lang="en-AU" sz="1800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IN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v"/>
            </a:pPr>
            <a:r>
              <a:rPr lang="en-AU" sz="2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given image </a:t>
            </a:r>
            <a:r>
              <a:rPr lang="en-AU" sz="2000" dirty="0">
                <a:solidFill>
                  <a:schemeClr val="bg2">
                    <a:lumMod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scribes that the project named E-Learning Product Development – Influence has been created on GitHub</a:t>
            </a:r>
            <a:r>
              <a:rPr lang="en-AU" sz="20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with the </a:t>
            </a:r>
            <a:r>
              <a:rPr lang="en-AU" sz="2000" dirty="0">
                <a:solidFill>
                  <a:schemeClr val="bg2">
                    <a:lumMod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-do </a:t>
            </a:r>
            <a:r>
              <a:rPr lang="en-IN" sz="2000" dirty="0">
                <a:solidFill>
                  <a:schemeClr val="bg2">
                    <a:lumMod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st, and product backlog.</a:t>
            </a:r>
            <a:endParaRPr lang="en-IN" sz="2000" dirty="0">
              <a:solidFill>
                <a:schemeClr val="bg2">
                  <a:lumMod val="1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v"/>
            </a:pPr>
            <a:endParaRPr lang="en-IN" sz="1800" dirty="0">
              <a:solidFill>
                <a:schemeClr val="bg2">
                  <a:lumMod val="1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DF719D3-7DDB-F247-6FC3-CDE1025CD8A7}"/>
              </a:ext>
            </a:extLst>
          </p:cNvPr>
          <p:cNvSpPr/>
          <p:nvPr/>
        </p:nvSpPr>
        <p:spPr>
          <a:xfrm>
            <a:off x="0" y="40298"/>
            <a:ext cx="12192000" cy="2111433"/>
          </a:xfrm>
          <a:prstGeom prst="round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2" name="Rectangle: Top Corners Rounded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2283247" y="291521"/>
            <a:ext cx="7305368" cy="1298981"/>
          </a:xfrm>
          <a:prstGeom prst="round2Same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Standards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e and Document management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729E074-3760-0ED0-22E6-B779F7D228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155" y="2383290"/>
            <a:ext cx="6291456" cy="3604124"/>
          </a:xfrm>
          <a:prstGeom prst="rect">
            <a:avLst/>
          </a:prstGeom>
          <a:ln w="28575">
            <a:solidFill>
              <a:schemeClr val="bg2">
                <a:lumMod val="10000"/>
              </a:schemeClr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5082C4-7481-4A5F-6401-B785D712E14C}"/>
              </a:ext>
            </a:extLst>
          </p:cNvPr>
          <p:cNvSpPr txBox="1"/>
          <p:nvPr/>
        </p:nvSpPr>
        <p:spPr>
          <a:xfrm>
            <a:off x="18921" y="6328893"/>
            <a:ext cx="11182100" cy="496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946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315999" y="3077535"/>
            <a:ext cx="4016332" cy="18438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742950" indent="-285750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v"/>
            </a:pPr>
            <a:r>
              <a:rPr lang="en-AU" sz="2000" dirty="0">
                <a:solidFill>
                  <a:schemeClr val="bg2">
                    <a:lumMod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image display shows all the other three sprints of the project, along with the specifications for the same.</a:t>
            </a:r>
            <a:endParaRPr lang="en-IN" sz="2000" dirty="0">
              <a:solidFill>
                <a:schemeClr val="bg2">
                  <a:lumMod val="1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15000"/>
              </a:lnSpc>
              <a:spcAft>
                <a:spcPts val="1000"/>
              </a:spcAft>
            </a:pPr>
            <a:endParaRPr lang="en-IN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DF719D3-7DDB-F247-6FC3-CDE1025CD8A7}"/>
              </a:ext>
            </a:extLst>
          </p:cNvPr>
          <p:cNvSpPr/>
          <p:nvPr/>
        </p:nvSpPr>
        <p:spPr>
          <a:xfrm>
            <a:off x="0" y="40298"/>
            <a:ext cx="12192000" cy="2111433"/>
          </a:xfrm>
          <a:prstGeom prst="round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2" name="Rectangle: Top Corners Rounded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2283247" y="291521"/>
            <a:ext cx="7305368" cy="1298981"/>
          </a:xfrm>
          <a:prstGeom prst="round2Same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Standards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6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e and Document management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E409A4D-2B0B-EA73-7122-6F5F6B59C4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4999" y="2514935"/>
            <a:ext cx="6334218" cy="3360097"/>
          </a:xfrm>
          <a:prstGeom prst="rect">
            <a:avLst/>
          </a:prstGeom>
          <a:ln w="28575">
            <a:solidFill>
              <a:schemeClr val="bg2">
                <a:lumMod val="10000"/>
              </a:schemeClr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4E3FA60-B4F8-7C16-C214-1C63B4E4754D}"/>
              </a:ext>
            </a:extLst>
          </p:cNvPr>
          <p:cNvSpPr txBox="1"/>
          <p:nvPr/>
        </p:nvSpPr>
        <p:spPr>
          <a:xfrm>
            <a:off x="18921" y="6328893"/>
            <a:ext cx="11182100" cy="496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9348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4</TotalTime>
  <Words>949</Words>
  <Application>Microsoft Office PowerPoint</Application>
  <PresentationFormat>Widescreen</PresentationFormat>
  <Paragraphs>190</Paragraphs>
  <Slides>23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-apple-system</vt:lpstr>
      <vt:lpstr>Arial</vt:lpstr>
      <vt:lpstr>Calibri</vt:lpstr>
      <vt:lpstr>Courier New</vt:lpstr>
      <vt:lpstr>Dubai Light</vt:lpstr>
      <vt:lpstr>EquipExtended-Light</vt:lpstr>
      <vt:lpstr>Segoe UI</vt:lpstr>
      <vt:lpstr>Segoe UI Light</vt:lpstr>
      <vt:lpstr>Times New Roman</vt:lpstr>
      <vt:lpstr>Wingdings</vt:lpstr>
      <vt:lpstr>Office Theme</vt:lpstr>
      <vt:lpstr>1_Office Theme</vt:lpstr>
      <vt:lpstr>think-cell Slide</vt:lpstr>
      <vt:lpstr>PowerPoint Presentation</vt:lpstr>
      <vt:lpstr>Team Organization:</vt:lpstr>
      <vt:lpstr>PowerPoint Presentation</vt:lpstr>
      <vt:lpstr>Roles and Responsibilities:</vt:lpstr>
      <vt:lpstr>PowerPoint Presentation</vt:lpstr>
      <vt:lpstr>Overview &amp; Description of Project:</vt:lpstr>
      <vt:lpstr>PowerPoint Presentation</vt:lpstr>
      <vt:lpstr>PowerPoint Presentation</vt:lpstr>
      <vt:lpstr>PowerPoint Presentation</vt:lpstr>
      <vt:lpstr>Work Done:      Reasonable justification for choice of product backlog items</vt:lpstr>
      <vt:lpstr>Short Demo:</vt:lpstr>
      <vt:lpstr>Demo (Design Specification): </vt:lpstr>
      <vt:lpstr>Demo (Design Specification): </vt:lpstr>
      <vt:lpstr>Demo (Design Specification): </vt:lpstr>
      <vt:lpstr>Demo (Design Specification): </vt:lpstr>
      <vt:lpstr>Demo (Design Specification): </vt:lpstr>
      <vt:lpstr>Wireframe: </vt:lpstr>
      <vt:lpstr>Wireframe: </vt:lpstr>
      <vt:lpstr>Wireframe: </vt:lpstr>
      <vt:lpstr>Wireframe: </vt:lpstr>
      <vt:lpstr>Wireframe: </vt:lpstr>
      <vt:lpstr>Critical Reflection: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H Patel</cp:lastModifiedBy>
  <cp:revision>157</cp:revision>
  <dcterms:created xsi:type="dcterms:W3CDTF">2021-10-01T02:40:42Z</dcterms:created>
  <dcterms:modified xsi:type="dcterms:W3CDTF">2022-05-12T03:13:25Z</dcterms:modified>
</cp:coreProperties>
</file>